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ags/tag3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rts/chart1.xml" ContentType="application/vnd.openxmlformats-officedocument.drawingml.chart+xml"/>
  <Override PartName="/ppt/tags/tag7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7" r:id="rId2"/>
    <p:sldMasterId id="2147484178" r:id="rId3"/>
    <p:sldMasterId id="2147484269" r:id="rId4"/>
    <p:sldMasterId id="2147484442" r:id="rId5"/>
    <p:sldMasterId id="2147484623" r:id="rId6"/>
  </p:sldMasterIdLst>
  <p:notesMasterIdLst>
    <p:notesMasterId r:id="rId16"/>
  </p:notesMasterIdLst>
  <p:handoutMasterIdLst>
    <p:handoutMasterId r:id="rId17"/>
  </p:handoutMasterIdLst>
  <p:sldIdLst>
    <p:sldId id="655" r:id="rId7"/>
    <p:sldId id="695" r:id="rId8"/>
    <p:sldId id="552" r:id="rId9"/>
    <p:sldId id="715" r:id="rId10"/>
    <p:sldId id="671" r:id="rId11"/>
    <p:sldId id="656" r:id="rId12"/>
    <p:sldId id="677" r:id="rId13"/>
    <p:sldId id="704" r:id="rId14"/>
    <p:sldId id="708" r:id="rId15"/>
  </p:sldIdLst>
  <p:sldSz cx="9144000" cy="6858000" type="screen4x3"/>
  <p:notesSz cx="6807200" cy="9906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8">
          <p15:clr>
            <a:srgbClr val="A4A3A4"/>
          </p15:clr>
        </p15:guide>
        <p15:guide id="2" orient="horz" pos="331">
          <p15:clr>
            <a:srgbClr val="A4A3A4"/>
          </p15:clr>
        </p15:guide>
        <p15:guide id="3" orient="horz" pos="2098">
          <p15:clr>
            <a:srgbClr val="A4A3A4"/>
          </p15:clr>
        </p15:guide>
        <p15:guide id="4" orient="horz" pos="4067">
          <p15:clr>
            <a:srgbClr val="A4A3A4"/>
          </p15:clr>
        </p15:guide>
        <p15:guide id="5" orient="horz" pos="3374">
          <p15:clr>
            <a:srgbClr val="A4A3A4"/>
          </p15:clr>
        </p15:guide>
        <p15:guide id="6" orient="horz" pos="420">
          <p15:clr>
            <a:srgbClr val="A4A3A4"/>
          </p15:clr>
        </p15:guide>
        <p15:guide id="7" orient="horz" pos="495">
          <p15:clr>
            <a:srgbClr val="A4A3A4"/>
          </p15:clr>
        </p15:guide>
        <p15:guide id="8" orient="horz" pos="528">
          <p15:clr>
            <a:srgbClr val="A4A3A4"/>
          </p15:clr>
        </p15:guide>
        <p15:guide id="9" orient="horz" pos="1264">
          <p15:clr>
            <a:srgbClr val="A4A3A4"/>
          </p15:clr>
        </p15:guide>
        <p15:guide id="10" orient="horz" pos="3574">
          <p15:clr>
            <a:srgbClr val="A4A3A4"/>
          </p15:clr>
        </p15:guide>
        <p15:guide id="11" pos="308">
          <p15:clr>
            <a:srgbClr val="A4A3A4"/>
          </p15:clr>
        </p15:guide>
        <p15:guide id="12" pos="4597">
          <p15:clr>
            <a:srgbClr val="A4A3A4"/>
          </p15:clr>
        </p15:guide>
        <p15:guide id="13" pos="2135">
          <p15:clr>
            <a:srgbClr val="A4A3A4"/>
          </p15:clr>
        </p15:guide>
        <p15:guide id="14" pos="5468">
          <p15:clr>
            <a:srgbClr val="A4A3A4"/>
          </p15:clr>
        </p15:guide>
        <p15:guide id="15" pos="2951">
          <p15:clr>
            <a:srgbClr val="A4A3A4"/>
          </p15:clr>
        </p15:guide>
        <p15:guide id="16" pos="2881">
          <p15:clr>
            <a:srgbClr val="A4A3A4"/>
          </p15:clr>
        </p15:guide>
        <p15:guide id="17" pos="281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34588" autoAdjust="0"/>
    <p:restoredTop sz="94660" autoAdjust="0"/>
  </p:normalViewPr>
  <p:slideViewPr>
    <p:cSldViewPr snapToGrid="0" snapToObjects="1">
      <p:cViewPr varScale="1">
        <p:scale>
          <a:sx n="74" d="100"/>
          <a:sy n="74" d="100"/>
        </p:scale>
        <p:origin x="624" y="72"/>
      </p:cViewPr>
      <p:guideLst>
        <p:guide orient="horz" pos="4038"/>
        <p:guide orient="horz" pos="331"/>
        <p:guide orient="horz" pos="2098"/>
        <p:guide orient="horz" pos="4067"/>
        <p:guide orient="horz" pos="3374"/>
        <p:guide orient="horz" pos="420"/>
        <p:guide orient="horz" pos="495"/>
        <p:guide orient="horz" pos="528"/>
        <p:guide orient="horz" pos="1264"/>
        <p:guide orient="horz" pos="3574"/>
        <p:guide pos="308"/>
        <p:guide pos="4597"/>
        <p:guide pos="2135"/>
        <p:guide pos="5468"/>
        <p:guide pos="2951"/>
        <p:guide pos="2881"/>
        <p:guide pos="281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46" d="100"/>
          <a:sy n="46" d="100"/>
        </p:scale>
        <p:origin x="-3030" y="-114"/>
      </p:cViewPr>
      <p:guideLst>
        <p:guide orient="horz" pos="312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041881094478224E-4"/>
          <c:y val="5.9905169080449766E-2"/>
          <c:w val="0.94082712470451968"/>
          <c:h val="0.782703445280120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0.1206384357963225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0.1576532281221414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0.2482523096561516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6181227711791026E-3"/>
                  <c:y val="-0.3924353472828772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tx1"/>
                    </a:solidFill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2011 (pilot)</c:v>
                </c:pt>
                <c:pt idx="1">
                  <c:v>2012</c:v>
                </c:pt>
                <c:pt idx="2">
                  <c:v>2013</c:v>
                </c:pt>
                <c:pt idx="3">
                  <c:v>2014/15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</c:v>
                </c:pt>
                <c:pt idx="1">
                  <c:v>7</c:v>
                </c:pt>
                <c:pt idx="2">
                  <c:v>14</c:v>
                </c:pt>
                <c:pt idx="3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160557888"/>
        <c:axId val="161192128"/>
      </c:barChart>
      <c:catAx>
        <c:axId val="1605578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aseline="0">
                <a:solidFill>
                  <a:schemeClr val="tx1"/>
                </a:solidFill>
              </a:defRPr>
            </a:pPr>
            <a:endParaRPr lang="fr-FR"/>
          </a:p>
        </c:txPr>
        <c:crossAx val="161192128"/>
        <c:crosses val="autoZero"/>
        <c:auto val="1"/>
        <c:lblAlgn val="ctr"/>
        <c:lblOffset val="100"/>
        <c:noMultiLvlLbl val="0"/>
      </c:catAx>
      <c:valAx>
        <c:axId val="16119212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crossAx val="160557888"/>
        <c:crosses val="autoZero"/>
        <c:crossBetween val="between"/>
      </c:valAx>
      <c:spPr>
        <a:noFill/>
        <a:ln>
          <a:noFill/>
        </a:ln>
      </c:spPr>
    </c:plotArea>
    <c:plotVisOnly val="1"/>
    <c:dispBlanksAs val="zero"/>
    <c:showDLblsOverMax val="0"/>
  </c:chart>
  <c:spPr>
    <a:ln>
      <a:noFill/>
    </a:ln>
  </c:spPr>
  <c:txPr>
    <a:bodyPr/>
    <a:lstStyle/>
    <a:p>
      <a:pPr>
        <a:defRPr sz="1400" baseline="0">
          <a:solidFill>
            <a:schemeClr val="tx2"/>
          </a:solidFill>
        </a:defRPr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7" descr="Verlauf_laengs_large_RGB.png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2"/>
            <a:ext cx="6807200" cy="792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287466" cy="506999"/>
          </a:xfrm>
          <a:prstGeom prst="rect">
            <a:avLst/>
          </a:prstGeom>
        </p:spPr>
        <p:txBody>
          <a:bodyPr vert="horz" lIns="179213" tIns="179213" rIns="179213" bIns="0" rtlCol="0"/>
          <a:lstStyle>
            <a:lvl1pPr algn="l">
              <a:defRPr sz="1200"/>
            </a:lvl1pPr>
          </a:lstStyle>
          <a:p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19734" y="0"/>
            <a:ext cx="3287466" cy="506999"/>
          </a:xfrm>
          <a:prstGeom prst="rect">
            <a:avLst/>
          </a:prstGeom>
        </p:spPr>
        <p:txBody>
          <a:bodyPr vert="horz" lIns="179213" tIns="179213" rIns="179213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1/17/2017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321001"/>
            <a:ext cx="3287466" cy="585001"/>
          </a:xfrm>
          <a:prstGeom prst="rect">
            <a:avLst/>
          </a:prstGeom>
        </p:spPr>
        <p:txBody>
          <a:bodyPr vert="horz" lIns="179213" tIns="0" rIns="179213" bIns="179213" rtlCol="0" anchor="b"/>
          <a:lstStyle>
            <a:lvl1pPr algn="l">
              <a:defRPr sz="1200"/>
            </a:lvl1pPr>
          </a:lstStyle>
          <a:p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19734" y="9321001"/>
            <a:ext cx="3287466" cy="585001"/>
          </a:xfrm>
          <a:prstGeom prst="rect">
            <a:avLst/>
          </a:prstGeom>
        </p:spPr>
        <p:txBody>
          <a:bodyPr vert="horz" lIns="179213" tIns="0" rIns="179213" bIns="179213" rtlCol="0" anchor="b"/>
          <a:lstStyle>
            <a:lvl1pPr algn="r">
              <a:defRPr sz="1200"/>
            </a:lvl1pPr>
          </a:lstStyle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b="1" smtClean="0">
                <a:latin typeface="Arial" pitchFamily="34" charset="0"/>
                <a:cs typeface="Arial" pitchFamily="34" charset="0"/>
              </a:rPr>
              <a:pPr/>
              <a:t>‹N°›</a:t>
            </a:fld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Verlauf_laengs_large_RGB.png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 flipV="1">
            <a:off x="0" y="9111802"/>
            <a:ext cx="6807200" cy="792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287466" cy="585001"/>
          </a:xfrm>
          <a:prstGeom prst="rect">
            <a:avLst/>
          </a:prstGeom>
        </p:spPr>
        <p:txBody>
          <a:bodyPr vert="horz" lIns="179213" tIns="179213" rIns="179213" bIns="0" rtlCol="0"/>
          <a:lstStyle>
            <a:lvl1pPr algn="l">
              <a:defRPr sz="1200" b="1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19734" y="1"/>
            <a:ext cx="3287466" cy="585001"/>
          </a:xfrm>
          <a:prstGeom prst="rect">
            <a:avLst/>
          </a:prstGeom>
        </p:spPr>
        <p:txBody>
          <a:bodyPr vert="horz" lIns="179213" tIns="179213" rIns="179213" bIns="0" rtlCol="0"/>
          <a:lstStyle>
            <a:lvl1pPr algn="r">
              <a:defRPr sz="1200"/>
            </a:lvl1pPr>
          </a:lstStyle>
          <a:p>
            <a:fld id="{2636F879-443D-410F-A2CF-15E984F48DC2}" type="datetimeFigureOut">
              <a:rPr lang="en-US" smtClean="0"/>
              <a:pPr/>
              <a:t>11/17/2017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710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40" tIns="45520" rIns="91040" bIns="455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720" y="4705351"/>
            <a:ext cx="5445760" cy="4457700"/>
          </a:xfrm>
          <a:prstGeom prst="rect">
            <a:avLst/>
          </a:prstGeom>
        </p:spPr>
        <p:txBody>
          <a:bodyPr vert="horz" lIns="91040" tIns="45520" rIns="91040" bIns="455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319282"/>
            <a:ext cx="3287466" cy="585001"/>
          </a:xfrm>
          <a:prstGeom prst="rect">
            <a:avLst/>
          </a:prstGeom>
        </p:spPr>
        <p:txBody>
          <a:bodyPr vert="horz" lIns="179213" tIns="0" rIns="179213" bIns="179213" rtlCol="0" anchor="b"/>
          <a:lstStyle>
            <a:lvl1pPr algn="l">
              <a:defRPr sz="1200" b="1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19734" y="9319282"/>
            <a:ext cx="3287466" cy="585001"/>
          </a:xfrm>
          <a:prstGeom prst="rect">
            <a:avLst/>
          </a:prstGeom>
        </p:spPr>
        <p:txBody>
          <a:bodyPr vert="horz" lIns="179213" tIns="0" rIns="179213" bIns="179213" rtlCol="0" anchor="b"/>
          <a:lstStyle>
            <a:lvl1pPr algn="r">
              <a:defRPr sz="1200" b="1"/>
            </a:lvl1pPr>
          </a:lstStyle>
          <a:p>
            <a:r>
              <a:rPr lang="en-US" b="0" dirty="0" smtClean="0"/>
              <a:t>Notice </a:t>
            </a:r>
            <a:fld id="{AE19FBA5-BE7F-4824-B54D-C07EBA2A4967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CC6924-9DEA-4B0E-9467-9BC7F5F94AC7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967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1205" indent="-285079" defTabSz="92967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0314" indent="-228063" defTabSz="92967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96441" indent="-228063" defTabSz="92967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2567" indent="-228063" defTabSz="92967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08692" indent="-228063" defTabSz="92967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64819" indent="-228063" defTabSz="92967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0944" indent="-228063" defTabSz="92967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77070" indent="-228063" defTabSz="92967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A8D9606-7BA9-43D7-950B-A40FF16BA937}" type="slidenum">
              <a:rPr lang="en-US" altLang="en-US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7</a:t>
            </a:fld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74688" y="552450"/>
            <a:ext cx="5461000" cy="4095750"/>
          </a:xfrm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262" y="4861278"/>
            <a:ext cx="4990677" cy="4459598"/>
          </a:xfrm>
          <a:noFill/>
        </p:spPr>
        <p:txBody>
          <a:bodyPr/>
          <a:lstStyle/>
          <a:p>
            <a:pPr eaLnBrk="1" hangingPunct="1"/>
            <a:endParaRPr lang="de-DE" altLang="en-US" smtClean="0"/>
          </a:p>
        </p:txBody>
      </p:sp>
    </p:spTree>
    <p:extLst>
      <p:ext uri="{BB962C8B-B14F-4D97-AF65-F5344CB8AC3E}">
        <p14:creationId xmlns:p14="http://schemas.microsoft.com/office/powerpoint/2010/main" val="3573502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nfo on </a:t>
            </a:r>
            <a:r>
              <a:rPr lang="de-DE" dirty="0" err="1" smtClean="0"/>
              <a:t>YouthCan</a:t>
            </a:r>
            <a:r>
              <a:rPr lang="de-DE" dirty="0" smtClean="0"/>
              <a:t>!</a:t>
            </a:r>
            <a:r>
              <a:rPr lang="de-DE" baseline="0" dirty="0" smtClean="0"/>
              <a:t> global </a:t>
            </a:r>
            <a:r>
              <a:rPr lang="de-DE" baseline="0" dirty="0" err="1" smtClean="0"/>
              <a:t>partner</a:t>
            </a:r>
            <a:r>
              <a:rPr lang="de-DE" baseline="0" dirty="0" smtClean="0"/>
              <a:t>(</a:t>
            </a:r>
            <a:r>
              <a:rPr lang="de-DE" baseline="0" dirty="0" err="1" smtClean="0"/>
              <a:t>ships</a:t>
            </a:r>
            <a:r>
              <a:rPr lang="de-DE" baseline="0" dirty="0" smtClean="0"/>
              <a:t>):</a:t>
            </a:r>
          </a:p>
          <a:p>
            <a:endParaRPr lang="en-US" dirty="0" smtClean="0">
              <a:effectLst/>
            </a:endParaRPr>
          </a:p>
          <a:p>
            <a:endParaRPr lang="de-DE" baseline="0" dirty="0" smtClean="0"/>
          </a:p>
          <a:p>
            <a:r>
              <a:rPr lang="de-DE" b="1" baseline="0" dirty="0" smtClean="0"/>
              <a:t>Allianz </a:t>
            </a:r>
            <a:r>
              <a:rPr lang="de-DE" baseline="0" dirty="0" smtClean="0"/>
              <a:t>–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In 2015, SOS Children’s Villages International joined global risk expert, insurance and financial services provider Allianz as international partner. After a successful first year, the partnership was extended to a period of another three years as of mid-2016.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The collaboration aims to empower young people to shape a secure future by building a resilient future generation that is able to overcome challenges and grasp opportunities to be fully integrated members of society. 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In order to fulfil this vision, the partnership focusses on the following topics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b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Safety and Preparednes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b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Youth Particip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b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Youth Development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 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AkzoNobel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 - </a:t>
            </a:r>
            <a:r>
              <a:rPr lang="en-GB" sz="1200" kern="1200" dirty="0" err="1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AkzoNobel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 provides the opportunity for our young people to become ready for the job market and lead independent lives. The partnership</a:t>
            </a:r>
            <a:r>
              <a:rPr lang="en-GB" sz="1200" kern="1200" baseline="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mainly focuses on </a:t>
            </a:r>
            <a:r>
              <a:rPr lang="en-GB" sz="1200" u="sng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organizing painter trainings followed by a range of other activities jointly developed with </a:t>
            </a:r>
            <a:r>
              <a:rPr lang="en-GB" sz="1200" u="sng" kern="1200" dirty="0" err="1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AkzoNobel</a:t>
            </a:r>
            <a:r>
              <a:rPr lang="en-GB" sz="1200" u="sng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 and SOS on local level, 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ensuring that the needs of the young people are me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1200" kern="1200" dirty="0" smtClean="0"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  <a:p>
            <a:endParaRPr lang="en-GB" sz="1200" kern="1200" dirty="0" smtClean="0"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212901-8644-4CDA-A7EA-D9645A6E2995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91433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gnaci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5DD32C-4B1E-4075-8B3C-7762D4A60BBA}" type="slidenum">
              <a:rPr lang="de-DE" altLang="en-US"/>
              <a:pPr/>
              <a:t>9</a:t>
            </a:fld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1554185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0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5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6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7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8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0.bin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4.w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white font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67789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  <a:ln>
            <a:noFill/>
          </a:ln>
        </p:spPr>
        <p:txBody>
          <a:bodyPr lIns="180000" tIns="180000" rIns="180000" bIns="2880000" anchor="b" anchorCtr="1"/>
          <a:lstStyle>
            <a:lvl1pPr>
              <a:defRPr baseline="0"/>
            </a:lvl1pPr>
          </a:lstStyle>
          <a:p>
            <a:r>
              <a:rPr lang="en-US" dirty="0" smtClean="0"/>
              <a:t>Click to insert image - Recommendations for images can be found in the Layout area.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467999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19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pic>
        <p:nvPicPr>
          <p:cNvPr id="11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platzhalter 14"/>
          <p:cNvSpPr txBox="1">
            <a:spLocks/>
          </p:cNvSpPr>
          <p:nvPr userDrawn="1"/>
        </p:nvSpPr>
        <p:spPr>
          <a:xfrm>
            <a:off x="467999" y="6142963"/>
            <a:ext cx="39960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ristoph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eli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4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151" y="6169026"/>
            <a:ext cx="18875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630800"/>
            <a:ext cx="8784000" cy="504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5138" y="1774825"/>
            <a:ext cx="6374862" cy="1861175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pic>
        <p:nvPicPr>
          <p:cNvPr id="9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4400" y="1764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0570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1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7999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5138" y="985838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8693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7999" y="1941699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5138" y="1368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899911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4" cy="1306825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7999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5138" y="1764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01759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630800"/>
            <a:ext cx="8784000" cy="504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7704000" cy="4320000"/>
          </a:xfrm>
        </p:spPr>
        <p:txBody>
          <a:bodyPr lIns="972000" anchor="ctr"/>
          <a:lstStyle>
            <a:lvl1pPr>
              <a:lnSpc>
                <a:spcPts val="3500"/>
              </a:lnSpc>
              <a:defRPr sz="3000" cap="none" baseline="0"/>
            </a:lvl1pPr>
          </a:lstStyle>
          <a:p>
            <a:r>
              <a:rPr lang="en-US" noProof="0" dirty="0" smtClean="0"/>
              <a:t>Click here to insert a quote</a:t>
            </a:r>
            <a:endParaRPr lang="en-US" noProof="0" dirty="0"/>
          </a:p>
        </p:txBody>
      </p:sp>
      <p:pic>
        <p:nvPicPr>
          <p:cNvPr id="10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58290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en-US" smtClean="0"/>
              <a:t>Click here to insert a imag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65138" y="5533750"/>
            <a:ext cx="5256000" cy="722588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180000" rIns="180000" bIns="180000" anchor="b" anchorCtr="0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dirty="0" smtClean="0"/>
              <a:t>Click here to insert a qu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71081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transparent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>
              <a:defRPr baseline="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5138" y="5533750"/>
            <a:ext cx="5256000" cy="722588"/>
          </a:xfrm>
          <a:solidFill>
            <a:srgbClr val="FFCC00">
              <a:alpha val="92000"/>
            </a:srgbClr>
          </a:solidFill>
        </p:spPr>
        <p:txBody>
          <a:bodyPr lIns="180000" tIns="180000" rIns="180000" bIns="180000" anchor="b" anchorCtr="0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dirty="0" smtClean="0"/>
              <a:t>Click here to insert a qu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76106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2 graphic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6" name="Rechteck 15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0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Graphic headline</a:t>
            </a:r>
            <a:endParaRPr lang="en-US" noProof="0" dirty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Graphic headline</a:t>
            </a:r>
            <a:endParaRPr lang="en-US" noProof="0" dirty="0"/>
          </a:p>
        </p:txBody>
      </p:sp>
      <p:sp>
        <p:nvSpPr>
          <p:cNvPr id="24" name="Diagrammplatzhalter 11"/>
          <p:cNvSpPr>
            <a:spLocks noGrp="1"/>
          </p:cNvSpPr>
          <p:nvPr>
            <p:ph type="chart" sz="quarter" idx="15" hasCustomPrompt="1"/>
          </p:nvPr>
        </p:nvSpPr>
        <p:spPr>
          <a:xfrm>
            <a:off x="4176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lIns="0" tIns="0" rIns="0" bIns="0" anchor="ctr" anchorCtr="1"/>
          <a:lstStyle>
            <a:lvl1pPr algn="ctr">
              <a:defRPr b="1"/>
            </a:lvl1pPr>
          </a:lstStyle>
          <a:p>
            <a:r>
              <a:rPr lang="en-US" dirty="0" smtClean="0"/>
              <a:t>Click here to insert a graph</a:t>
            </a:r>
            <a:endParaRPr lang="en-US" dirty="0"/>
          </a:p>
        </p:txBody>
      </p:sp>
      <p:sp>
        <p:nvSpPr>
          <p:cNvPr id="25" name="Diagrammplatzhalter 11"/>
          <p:cNvSpPr>
            <a:spLocks noGrp="1"/>
          </p:cNvSpPr>
          <p:nvPr>
            <p:ph type="chart" sz="quarter" idx="16" hasCustomPrompt="1"/>
          </p:nvPr>
        </p:nvSpPr>
        <p:spPr>
          <a:xfrm>
            <a:off x="6480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lIns="0" tIns="0" rIns="0" bIns="0" anchor="ctr" anchorCtr="1"/>
          <a:lstStyle>
            <a:lvl1pPr algn="ctr">
              <a:defRPr b="1"/>
            </a:lvl1pPr>
          </a:lstStyle>
          <a:p>
            <a:r>
              <a:rPr lang="en-US" dirty="0" smtClean="0"/>
              <a:t>Click here to insert a graph</a:t>
            </a:r>
            <a:endParaRPr lang="en-US" dirty="0"/>
          </a:p>
        </p:txBody>
      </p:sp>
      <p:cxnSp>
        <p:nvCxnSpPr>
          <p:cNvPr id="26" name="Gerade Verbindung 25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246453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1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0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 hasCustomPrompt="1"/>
          </p:nvPr>
        </p:nvSpPr>
        <p:spPr>
          <a:xfrm>
            <a:off x="468000" y="3356925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lIns="0" tIns="0" rIns="0" bIns="0" anchor="ctr" anchorCtr="1"/>
          <a:lstStyle>
            <a:lvl1pPr>
              <a:defRPr b="1"/>
            </a:lvl1pPr>
          </a:lstStyle>
          <a:p>
            <a:r>
              <a:rPr lang="en-US" dirty="0" smtClean="0"/>
              <a:t>Click here to insert a graph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2996925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Graphic headline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8244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table on image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7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1245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pic>
        <p:nvPicPr>
          <p:cNvPr id="15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hteck 16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0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4" hasCustomPrompt="1"/>
          </p:nvPr>
        </p:nvSpPr>
        <p:spPr>
          <a:xfrm>
            <a:off x="468000" y="2088000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anchor="ctr" anchorCtr="1"/>
          <a:lstStyle>
            <a:lvl1pPr>
              <a:defRPr baseline="0"/>
            </a:lvl1pPr>
          </a:lstStyle>
          <a:p>
            <a:r>
              <a:rPr lang="en-US" dirty="0" smtClean="0"/>
              <a:t>Click here to insert a table 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28000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Table headline</a:t>
            </a:r>
            <a:endParaRPr lang="en-US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6617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8208000" cy="517839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54338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2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13680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46164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: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5776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89741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5328000"/>
            <a:ext cx="7740000" cy="720000"/>
          </a:xfrm>
        </p:spPr>
        <p:txBody>
          <a:bodyPr/>
          <a:lstStyle>
            <a:lvl1pPr>
              <a:lnSpc>
                <a:spcPts val="5500"/>
              </a:lnSpc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Thank YOU!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8518199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2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 smtClean="0"/>
          </a:p>
        </p:txBody>
      </p:sp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00" y="170602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297738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19999" y="720000"/>
            <a:ext cx="7740000" cy="720000"/>
          </a:xfrm>
        </p:spPr>
        <p:txBody>
          <a:bodyPr/>
          <a:lstStyle>
            <a:lvl1pPr>
              <a:lnSpc>
                <a:spcPts val="5500"/>
              </a:lnSpc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Thank YOU!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500496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ontac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999" y="1774825"/>
            <a:ext cx="3992875" cy="3600000"/>
          </a:xfrm>
        </p:spPr>
        <p:txBody>
          <a:bodyPr/>
          <a:lstStyle>
            <a:lvl1pPr>
              <a:spcBef>
                <a:spcPts val="1400"/>
              </a:spcBef>
              <a:spcAft>
                <a:spcPts val="0"/>
              </a:spcAft>
              <a:defRPr baseline="0"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noProof="0" dirty="0" smtClean="0"/>
              <a:t>Insert here copy text bold (first level)</a:t>
            </a:r>
          </a:p>
          <a:p>
            <a:pPr lvl="1"/>
            <a:r>
              <a:rPr lang="en-US" noProof="0" dirty="0" smtClean="0"/>
              <a:t>Insert here copy text (second level)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87411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630800"/>
            <a:ext cx="8784000" cy="504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58959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51169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9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3999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pt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 smtClean="0"/>
              <a:t>Subline</a:t>
            </a:r>
            <a:r>
              <a:rPr lang="en-US" dirty="0" smtClean="0"/>
              <a:t> in one or two lines, Arial, 20 pt</a:t>
            </a:r>
          </a:p>
        </p:txBody>
      </p:sp>
      <p:sp>
        <p:nvSpPr>
          <p:cNvPr id="18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2" name="Text Placeholder 27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875688" y="6213600"/>
            <a:ext cx="1800000" cy="18416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0" y="2434818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pt</a:t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498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31186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1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pt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3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6875688" y="457200"/>
            <a:ext cx="1800000" cy="18416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327982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 smtClean="0"/>
              <a:t>Subline</a:t>
            </a:r>
            <a:r>
              <a:rPr lang="en-US" dirty="0" smtClean="0"/>
              <a:t> in one or two lines, Arial, 20 pt</a:t>
            </a:r>
          </a:p>
        </p:txBody>
      </p:sp>
      <p:sp>
        <p:nvSpPr>
          <p:cNvPr id="14" name="Textplatzhalt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2732081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pt</a:t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9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56452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3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74200" y="6269390"/>
            <a:ext cx="1800000" cy="185735"/>
          </a:xfrm>
          <a:prstGeom prst="rect">
            <a:avLst/>
          </a:prstGeom>
          <a:noFill/>
        </p:spPr>
      </p:pic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pt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0" y="3105712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pt</a:t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  <p:sp>
        <p:nvSpPr>
          <p:cNvPr id="1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703511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 smtClean="0"/>
              <a:t>Subline</a:t>
            </a:r>
            <a:r>
              <a:rPr lang="en-US" dirty="0" smtClean="0"/>
              <a:t> in one or two lines, Arial, 20 pt</a:t>
            </a:r>
          </a:p>
        </p:txBody>
      </p:sp>
    </p:spTree>
    <p:extLst>
      <p:ext uri="{BB962C8B-B14F-4D97-AF65-F5344CB8AC3E}">
        <p14:creationId xmlns:p14="http://schemas.microsoft.com/office/powerpoint/2010/main" val="1191014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13680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32065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6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fld id="{31BFEC3E-84CF-48ED-9C8C-36C748C4BEDF}" type="slidenum">
              <a:rPr>
                <a:solidFill>
                  <a:srgbClr val="000000"/>
                </a:solidFill>
              </a:rPr>
              <a:pPr/>
              <a:t>‹N°›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3" name="Text Placeholder 27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414000" y="63216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097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0626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960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985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91709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1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pic>
        <p:nvPicPr>
          <p:cNvPr id="8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3965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3018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8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060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5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Corporate Citizenship at DPDHL | Bonn| 28 October 2014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42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31110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8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4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466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45943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10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471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99789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21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51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359974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5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33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13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54450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17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20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85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: 2 columns - 1 lined headlin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120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820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0264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97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 userDrawn="1"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7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93056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5284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01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975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1566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2" name="Text Placeholder 27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414000" y="63216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67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3423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960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046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696237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2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5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84013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Corporate Citizenship at DPDHL | Bonn | 28 October 2014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B9E2B8-A205-4970-8658-BB76BCCA7427}" type="slidenum">
              <a:rPr lang="de-DE">
                <a:solidFill>
                  <a:srgbClr val="000000"/>
                </a:solidFill>
              </a:rPr>
              <a:pPr/>
              <a:t>‹N°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2245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57FB44-6093-4272-8194-A71BA281968A}" type="slidenum">
              <a:rPr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435180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525" y="1798638"/>
            <a:ext cx="8823325" cy="48879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62164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: 2 columns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4400" y="13680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1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5" cy="517839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5138" y="985838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941698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4400" y="1368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4400" y="1764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1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7999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5138" y="985838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7999" y="1941699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5138" y="1368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724064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6102000"/>
            <a:ext cx="3996000" cy="288000"/>
          </a:xfrm>
        </p:spPr>
        <p:txBody>
          <a:bodyPr anchor="b"/>
          <a:lstStyle>
            <a:lvl1pPr>
              <a:defRPr sz="12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Name of the presenter</a:t>
            </a:r>
            <a:endParaRPr lang="en-US" noProof="0" dirty="0"/>
          </a:p>
        </p:txBody>
      </p:sp>
      <p:pic>
        <p:nvPicPr>
          <p:cNvPr id="10" name="Bild 4" descr="Verlauf_laengs_large_RGB.pn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180000" y="180000"/>
            <a:ext cx="8784000" cy="1468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151" y="404819"/>
            <a:ext cx="18875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985838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4" cy="1306825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7999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465138" y="1764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630800"/>
            <a:ext cx="8784000" cy="504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7704000" cy="4320000"/>
          </a:xfrm>
        </p:spPr>
        <p:txBody>
          <a:bodyPr lIns="972000" anchor="ctr"/>
          <a:lstStyle>
            <a:lvl1pPr>
              <a:lnSpc>
                <a:spcPts val="3500"/>
              </a:lnSpc>
              <a:defRPr sz="3000" cap="none" baseline="0"/>
            </a:lvl1pPr>
          </a:lstStyle>
          <a:p>
            <a:r>
              <a:rPr lang="en-US" noProof="0" dirty="0" smtClean="0"/>
              <a:t>Click here to insert a quote</a:t>
            </a:r>
            <a:endParaRPr lang="en-US" noProof="0" dirty="0"/>
          </a:p>
        </p:txBody>
      </p:sp>
      <p:pic>
        <p:nvPicPr>
          <p:cNvPr id="10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en-US" smtClean="0"/>
              <a:t>Click here to insert a imag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465138" y="5533750"/>
            <a:ext cx="5256000" cy="722588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180000" rIns="180000" bIns="180000" anchor="b" anchorCtr="0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dirty="0" smtClean="0"/>
              <a:t>Click here to insert a qu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transparent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>
              <a:defRPr baseline="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5138" y="5533750"/>
            <a:ext cx="5256000" cy="722588"/>
          </a:xfrm>
          <a:solidFill>
            <a:srgbClr val="FFCC00">
              <a:alpha val="92000"/>
            </a:srgbClr>
          </a:solidFill>
        </p:spPr>
        <p:txBody>
          <a:bodyPr lIns="180000" tIns="180000" rIns="180000" bIns="180000" anchor="b" anchorCtr="0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dirty="0" smtClean="0"/>
              <a:t>Click here to insert a qu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2 graphic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6" name="Rechteck 15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eck 16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esentation title | Location | xx month 20xx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76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Graphic headline</a:t>
            </a:r>
            <a:endParaRPr lang="en-US" noProof="0" dirty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Graphic headline</a:t>
            </a:r>
            <a:endParaRPr lang="en-US" noProof="0" dirty="0"/>
          </a:p>
        </p:txBody>
      </p:sp>
      <p:sp>
        <p:nvSpPr>
          <p:cNvPr id="24" name="Diagrammplatzhalter 11"/>
          <p:cNvSpPr>
            <a:spLocks noGrp="1"/>
          </p:cNvSpPr>
          <p:nvPr>
            <p:ph type="chart" sz="quarter" idx="15" hasCustomPrompt="1"/>
          </p:nvPr>
        </p:nvSpPr>
        <p:spPr>
          <a:xfrm>
            <a:off x="4176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lIns="0" tIns="0" rIns="0" bIns="0" anchor="ctr" anchorCtr="1"/>
          <a:lstStyle>
            <a:lvl1pPr algn="ctr">
              <a:defRPr b="1"/>
            </a:lvl1pPr>
          </a:lstStyle>
          <a:p>
            <a:r>
              <a:rPr lang="en-US" dirty="0" smtClean="0"/>
              <a:t>Click here to insert a graph</a:t>
            </a:r>
            <a:endParaRPr lang="en-US" dirty="0"/>
          </a:p>
        </p:txBody>
      </p:sp>
      <p:sp>
        <p:nvSpPr>
          <p:cNvPr id="25" name="Diagrammplatzhalter 11"/>
          <p:cNvSpPr>
            <a:spLocks noGrp="1"/>
          </p:cNvSpPr>
          <p:nvPr>
            <p:ph type="chart" sz="quarter" idx="16" hasCustomPrompt="1"/>
          </p:nvPr>
        </p:nvSpPr>
        <p:spPr>
          <a:xfrm>
            <a:off x="6480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lIns="0" tIns="0" rIns="0" bIns="0" anchor="ctr" anchorCtr="1"/>
          <a:lstStyle>
            <a:lvl1pPr algn="ctr">
              <a:defRPr b="1"/>
            </a:lvl1pPr>
          </a:lstStyle>
          <a:p>
            <a:r>
              <a:rPr lang="en-US" dirty="0" smtClean="0"/>
              <a:t>Click here to insert a graph</a:t>
            </a:r>
            <a:endParaRPr lang="en-US" dirty="0"/>
          </a:p>
        </p:txBody>
      </p:sp>
      <p:cxnSp>
        <p:nvCxnSpPr>
          <p:cNvPr id="26" name="Gerade Verbindung 25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1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esentation title | Location | xx month 20xx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 hasCustomPrompt="1"/>
          </p:nvPr>
        </p:nvSpPr>
        <p:spPr>
          <a:xfrm>
            <a:off x="468000" y="3356925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lIns="0" tIns="0" rIns="0" bIns="0" anchor="ctr" anchorCtr="1"/>
          <a:lstStyle>
            <a:lvl1pPr>
              <a:defRPr b="1"/>
            </a:lvl1pPr>
          </a:lstStyle>
          <a:p>
            <a:r>
              <a:rPr lang="en-US" dirty="0" smtClean="0"/>
              <a:t>Click here to insert a graph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2996925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Graphic headline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table on image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1245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pic>
        <p:nvPicPr>
          <p:cNvPr id="15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hteck 16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esentation title | Location | xx month 20xx</a:t>
            </a:r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4" hasCustomPrompt="1"/>
          </p:nvPr>
        </p:nvSpPr>
        <p:spPr>
          <a:xfrm>
            <a:off x="468000" y="2088000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anchor="ctr" anchorCtr="1"/>
          <a:lstStyle>
            <a:lvl1pPr>
              <a:defRPr baseline="0"/>
            </a:lvl1pPr>
          </a:lstStyle>
          <a:p>
            <a:r>
              <a:rPr lang="en-US" dirty="0" smtClean="0"/>
              <a:t>Click here to insert a table 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28000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 anchorCtr="0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dirty="0" smtClean="0"/>
              <a:t>Table headline</a:t>
            </a:r>
            <a:endParaRPr lang="en-US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2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13680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: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238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630800"/>
            <a:ext cx="8784000" cy="504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8" name="Textplatzhalter 14"/>
          <p:cNvSpPr txBox="1">
            <a:spLocks/>
          </p:cNvSpPr>
          <p:nvPr userDrawn="1"/>
        </p:nvSpPr>
        <p:spPr>
          <a:xfrm>
            <a:off x="467999" y="6142963"/>
            <a:ext cx="39960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ristoph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Seli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151" y="6169026"/>
            <a:ext cx="18875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4503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5328000"/>
            <a:ext cx="7740000" cy="720000"/>
          </a:xfrm>
        </p:spPr>
        <p:txBody>
          <a:bodyPr/>
          <a:lstStyle>
            <a:lvl1pPr>
              <a:lnSpc>
                <a:spcPts val="5500"/>
              </a:lnSpc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Thank YOU!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 smtClean="0"/>
          </a:p>
        </p:txBody>
      </p:sp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00" y="170602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297738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19999" y="720000"/>
            <a:ext cx="7740000" cy="720000"/>
          </a:xfrm>
        </p:spPr>
        <p:txBody>
          <a:bodyPr/>
          <a:lstStyle>
            <a:lvl1pPr>
              <a:lnSpc>
                <a:spcPts val="5500"/>
              </a:lnSpc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Thank YOU!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ontact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999" y="1774825"/>
            <a:ext cx="3992875" cy="3600000"/>
          </a:xfrm>
        </p:spPr>
        <p:txBody>
          <a:bodyPr/>
          <a:lstStyle>
            <a:lvl1pPr>
              <a:spcBef>
                <a:spcPts val="1400"/>
              </a:spcBef>
              <a:spcAft>
                <a:spcPts val="0"/>
              </a:spcAft>
              <a:defRPr baseline="0"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noProof="0" dirty="0" smtClean="0"/>
              <a:t>Insert here copy text bold (first level)</a:t>
            </a:r>
          </a:p>
          <a:p>
            <a:pPr lvl="1"/>
            <a:r>
              <a:rPr lang="en-US" noProof="0" dirty="0" smtClean="0"/>
              <a:t>Insert here copy text (second level)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511026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0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4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406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52662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4253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67165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3670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51531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2723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ontent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03810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438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4601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7183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14627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50928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0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3999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pt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 smtClean="0"/>
              <a:t>Subline</a:t>
            </a:r>
            <a:r>
              <a:rPr lang="en-US" dirty="0" smtClean="0"/>
              <a:t> in one or two lines, Arial, 20 pt</a:t>
            </a:r>
          </a:p>
        </p:txBody>
      </p:sp>
      <p:sp>
        <p:nvSpPr>
          <p:cNvPr id="18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2" name="Text Placeholder 27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6875688" y="6213600"/>
            <a:ext cx="1800000" cy="18416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0" y="2434818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pt</a:t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358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79200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3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pt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3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6875688" y="457200"/>
            <a:ext cx="1800000" cy="18416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327982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 smtClean="0"/>
              <a:t>Subline</a:t>
            </a:r>
            <a:r>
              <a:rPr lang="en-US" dirty="0" smtClean="0"/>
              <a:t> in one or two lines, Arial, 20 pt</a:t>
            </a:r>
          </a:p>
        </p:txBody>
      </p:sp>
      <p:sp>
        <p:nvSpPr>
          <p:cNvPr id="14" name="Textplatzhalt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2732081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pt</a:t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649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63902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5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74200" y="6269390"/>
            <a:ext cx="1800000" cy="185735"/>
          </a:xfrm>
          <a:prstGeom prst="rect">
            <a:avLst/>
          </a:prstGeom>
          <a:noFill/>
        </p:spPr>
      </p:pic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pt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0" y="3105712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pt</a:t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  <p:sp>
        <p:nvSpPr>
          <p:cNvPr id="1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2703511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err="1" smtClean="0"/>
              <a:t>Subline</a:t>
            </a:r>
            <a:r>
              <a:rPr lang="en-US" dirty="0" smtClean="0"/>
              <a:t> in one or two lines, Arial, 20 pt</a:t>
            </a:r>
          </a:p>
        </p:txBody>
      </p:sp>
    </p:spTree>
    <p:extLst>
      <p:ext uri="{BB962C8B-B14F-4D97-AF65-F5344CB8AC3E}">
        <p14:creationId xmlns:p14="http://schemas.microsoft.com/office/powerpoint/2010/main" val="181788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91138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8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fld id="{31BFEC3E-84CF-48ED-9C8C-36C748C4BEDF}" type="slidenum">
              <a:rPr>
                <a:solidFill>
                  <a:srgbClr val="000000"/>
                </a:solidFill>
              </a:rPr>
              <a:pPr/>
              <a:t>‹N°›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3" name="Text Placeholder 27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414000" y="63216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601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06758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0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960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025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1 column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ontents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1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9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1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463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 hasCustomPrompt="1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1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2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dirty="0" smtClean="0"/>
              <a:t>Chapter</a:t>
            </a:r>
            <a:endParaRPr lang="en-US" noProof="0" dirty="0"/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5699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pic>
        <p:nvPicPr>
          <p:cNvPr id="8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2223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1471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5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994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545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Corporate Citizenship at DPDHL | Bonn| 28 October 2014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08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94053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4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650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49524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2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83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7367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21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496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76902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7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33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7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621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685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20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86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40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32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6445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025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4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 userDrawn="1"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7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5590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2 columns,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ontents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</a:t>
            </a:r>
            <a:r>
              <a:rPr lang="en-US" noProof="0" dirty="0" err="1" smtClean="0"/>
              <a:t>secondl</a:t>
            </a:r>
            <a:r>
              <a:rPr lang="en-US" noProof="0" dirty="0" smtClean="0"/>
              <a:t> </a:t>
            </a:r>
            <a:r>
              <a:rPr lang="en-US" noProof="0" dirty="0" err="1" smtClean="0"/>
              <a:t>evel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9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463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 hasCustomPrompt="1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2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2133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133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20" hasCustomPrompt="1"/>
          </p:nvPr>
        </p:nvSpPr>
        <p:spPr>
          <a:xfrm>
            <a:off x="46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96372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6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01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554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452221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9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2" name="Text Placeholder 27"/>
          <p:cNvSpPr>
            <a:spLocks noGrp="1" noChangeAspect="1"/>
          </p:cNvSpPr>
          <p:nvPr>
            <p:ph type="body" sz="quarter" idx="21" hasCustomPrompt="1"/>
          </p:nvPr>
        </p:nvSpPr>
        <p:spPr bwMode="gray">
          <a:xfrm>
            <a:off x="414000" y="63216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265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760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41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96000"/>
            <a:ext cx="1260000" cy="1289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18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07229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5" name="Picture 2" descr="C:\MyData\Docs\01_Presentations in Progress\27183_Template2010\DP_DHL_Black_Bg_150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000" y="6318000"/>
            <a:ext cx="1260000" cy="1300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6350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Corporate Citizenship at DPDHL | Bonn | 28 October 2014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B9E2B8-A205-4970-8658-BB76BCCA7427}" type="slidenum">
              <a:rPr lang="de-DE">
                <a:solidFill>
                  <a:srgbClr val="000000"/>
                </a:solidFill>
              </a:rPr>
              <a:pPr/>
              <a:t>‹N°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9995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itle 36"/>
          <p:cNvSpPr>
            <a:spLocks noGrp="1"/>
          </p:cNvSpPr>
          <p:nvPr userDrawn="1">
            <p:ph type="title" hasCustomPrompt="1"/>
          </p:nvPr>
        </p:nvSpPr>
        <p:spPr bwMode="invGray">
          <a:xfrm>
            <a:off x="413999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 userDrawn="1">
            <p:ph type="body" sz="quarter" idx="4" hasCustomPrompt="1"/>
          </p:nvPr>
        </p:nvSpPr>
        <p:spPr bwMode="gray">
          <a:xfrm>
            <a:off x="414000" y="6267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5" name="meta-subline"/>
          <p:cNvSpPr>
            <a:spLocks noGrp="1"/>
          </p:cNvSpPr>
          <p:nvPr userDrawn="1"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" name="meta-classification"/>
          <p:cNvSpPr>
            <a:spLocks noGrp="1"/>
          </p:cNvSpPr>
          <p:nvPr userDrawn="1"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6" name="Text Placeholder 27"/>
          <p:cNvSpPr>
            <a:spLocks noGrp="1"/>
          </p:cNvSpPr>
          <p:nvPr userDrawn="1">
            <p:ph type="body" sz="quarter" idx="6"/>
          </p:nvPr>
        </p:nvSpPr>
        <p:spPr bwMode="gray">
          <a:xfrm>
            <a:off x="6954842" y="6023675"/>
            <a:ext cx="1800000" cy="482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" name="meta-project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14000" y="2434818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360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itle 3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 userDrawn="1">
            <p:ph type="body" sz="quarter" idx="4" hasCustomPrompt="1"/>
          </p:nvPr>
        </p:nvSpPr>
        <p:spPr bwMode="gray">
          <a:xfrm>
            <a:off x="403200" y="3312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 userDrawn="1"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5" name="meta-subline"/>
          <p:cNvSpPr>
            <a:spLocks noGrp="1"/>
          </p:cNvSpPr>
          <p:nvPr userDrawn="1">
            <p:ph type="body" sz="quarter" idx="5" hasCustomPrompt="1"/>
          </p:nvPr>
        </p:nvSpPr>
        <p:spPr>
          <a:xfrm>
            <a:off x="414000" y="2327982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14000" y="2732081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  <p:sp>
        <p:nvSpPr>
          <p:cNvPr id="16" name="Text Placeholder 27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6954842" y="399640"/>
            <a:ext cx="1800000" cy="4824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71973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 userDrawn="1">
            <p:ph type="body" sz="quarter" idx="4" hasCustomPrompt="1"/>
          </p:nvPr>
        </p:nvSpPr>
        <p:spPr bwMode="gray">
          <a:xfrm>
            <a:off x="414000" y="6328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3" name="meta-project"/>
          <p:cNvSpPr>
            <a:spLocks noGrp="1"/>
          </p:cNvSpPr>
          <p:nvPr userDrawn="1">
            <p:ph type="body" sz="quarter" idx="3" hasCustomPrompt="1"/>
          </p:nvPr>
        </p:nvSpPr>
        <p:spPr>
          <a:xfrm>
            <a:off x="414000" y="3105712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 userDrawn="1">
            <p:ph type="body" sz="quarter" idx="5" hasCustomPrompt="1"/>
          </p:nvPr>
        </p:nvSpPr>
        <p:spPr>
          <a:xfrm>
            <a:off x="414000" y="2703511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pic>
        <p:nvPicPr>
          <p:cNvPr id="246937" name="Picture 15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120" y="6059557"/>
            <a:ext cx="1818000" cy="49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6432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fld id="{31BFEC3E-84CF-48ED-9C8C-36C748C4BEDF}" type="slidenum">
              <a:rPr>
                <a:solidFill>
                  <a:srgbClr val="000000"/>
                </a:solidFill>
              </a:rPr>
              <a:pPr/>
              <a:t>‹N°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3" name="Text Placeholder 2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4476" y="6238784"/>
            <a:ext cx="1202400" cy="324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875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99714" y="303629"/>
            <a:ext cx="1202400" cy="324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2339546" y="3484605"/>
            <a:ext cx="1202400" cy="324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597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dirty="0" smtClean="0"/>
              <a:t>Click to insert image - Recommendations for images can be found in the Layout area.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24" y="985838"/>
            <a:ext cx="3992875" cy="2002162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pic>
        <p:nvPicPr>
          <p:cNvPr id="7" name="Bild 2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7124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36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 userDrawn="1"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234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pic>
        <p:nvPicPr>
          <p:cNvPr id="13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157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1752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4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pic>
        <p:nvPicPr>
          <p:cNvPr id="21" name="Picture 100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9052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34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pic>
        <p:nvPicPr>
          <p:cNvPr id="10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9873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pic>
        <p:nvPicPr>
          <p:cNvPr id="11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3639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pic>
        <p:nvPicPr>
          <p:cNvPr id="14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3650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 smtClean="0"/>
          </a:p>
        </p:txBody>
      </p:sp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pic>
        <p:nvPicPr>
          <p:cNvPr id="11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9250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pic>
        <p:nvPicPr>
          <p:cNvPr id="16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216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7238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9984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2553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pic>
        <p:nvPicPr>
          <p:cNvPr id="7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00" y="170602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297738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720000"/>
            <a:ext cx="6374862" cy="2022237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smtClean="0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01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en-US" sz="1000" smtClean="0">
                <a:solidFill>
                  <a:srgbClr val="000000"/>
                </a:solidFill>
              </a:rPr>
              <a:pPr algn="r"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pic>
        <p:nvPicPr>
          <p:cNvPr id="13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31970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3" name="Text Placeholder 2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4476" y="6238784"/>
            <a:ext cx="1202400" cy="324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236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99714" y="303629"/>
            <a:ext cx="1202400" cy="324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660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1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20" y="6238784"/>
            <a:ext cx="1185756" cy="3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3378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white font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80795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75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  <a:ln>
            <a:noFill/>
          </a:ln>
        </p:spPr>
        <p:txBody>
          <a:bodyPr lIns="180000" tIns="180000" rIns="180000" bIns="2880000" anchor="b" anchorCtr="1"/>
          <a:lstStyle>
            <a:lvl1pPr>
              <a:defRPr baseline="0"/>
            </a:lvl1pPr>
          </a:lstStyle>
          <a:p>
            <a:r>
              <a:rPr lang="en-US" dirty="0" smtClean="0"/>
              <a:t>Click to insert image - Recommendations for images can be found in the Layout area.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467999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19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pic>
        <p:nvPicPr>
          <p:cNvPr id="11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platzhalter 14"/>
          <p:cNvSpPr txBox="1">
            <a:spLocks/>
          </p:cNvSpPr>
          <p:nvPr userDrawn="1"/>
        </p:nvSpPr>
        <p:spPr>
          <a:xfrm>
            <a:off x="467999" y="6142963"/>
            <a:ext cx="39960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>
              <a:spcAft>
                <a:spcPts val="500"/>
              </a:spcAft>
              <a:buFont typeface="Arial" pitchFamily="34" charset="0"/>
              <a:buNone/>
              <a:defRPr/>
            </a:pPr>
            <a:r>
              <a:rPr lang="en-US" dirty="0" err="1" smtClean="0">
                <a:solidFill>
                  <a:srgbClr val="000000"/>
                </a:solidFill>
              </a:rPr>
              <a:t>Christoph</a:t>
            </a:r>
            <a:r>
              <a:rPr lang="en-US" dirty="0" smtClean="0">
                <a:solidFill>
                  <a:srgbClr val="000000"/>
                </a:solidFill>
              </a:rPr>
              <a:t> Selig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4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151" y="6169026"/>
            <a:ext cx="18875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60015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78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2724064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6102000"/>
            <a:ext cx="3996000" cy="288000"/>
          </a:xfrm>
        </p:spPr>
        <p:txBody>
          <a:bodyPr anchor="b"/>
          <a:lstStyle>
            <a:lvl1pPr>
              <a:defRPr sz="12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Name of the presenter</a:t>
            </a:r>
            <a:endParaRPr lang="en-US" noProof="0" dirty="0"/>
          </a:p>
        </p:txBody>
      </p:sp>
      <p:pic>
        <p:nvPicPr>
          <p:cNvPr id="10" name="Bild 4" descr="Verlauf_laengs_large_RGB.pn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180000" y="180000"/>
            <a:ext cx="8784000" cy="1468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151" y="404819"/>
            <a:ext cx="18875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985838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64095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630800"/>
            <a:ext cx="8784000" cy="504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55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Insert here the name of the event</a:t>
            </a:r>
            <a:br>
              <a:rPr lang="en-US" noProof="0" dirty="0" smtClean="0"/>
            </a:br>
            <a:r>
              <a:rPr lang="en-US" noProof="0" dirty="0" smtClean="0"/>
              <a:t>Location, date</a:t>
            </a:r>
            <a:endParaRPr lang="en-US" noProof="0" dirty="0"/>
          </a:p>
        </p:txBody>
      </p:sp>
      <p:sp>
        <p:nvSpPr>
          <p:cNvPr id="8" name="Textplatzhalter 14"/>
          <p:cNvSpPr txBox="1">
            <a:spLocks/>
          </p:cNvSpPr>
          <p:nvPr userDrawn="1"/>
        </p:nvSpPr>
        <p:spPr>
          <a:xfrm>
            <a:off x="467999" y="6142963"/>
            <a:ext cx="39960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1200" b="0"/>
            </a:lvl1pPr>
          </a:lstStyle>
          <a:p>
            <a:pPr>
              <a:spcAft>
                <a:spcPts val="500"/>
              </a:spcAft>
              <a:buFont typeface="Arial" pitchFamily="34" charset="0"/>
              <a:buNone/>
              <a:defRPr/>
            </a:pPr>
            <a:r>
              <a:rPr lang="en-US" dirty="0" err="1" smtClean="0">
                <a:solidFill>
                  <a:srgbClr val="000000"/>
                </a:solidFill>
              </a:rPr>
              <a:t>Christoph</a:t>
            </a:r>
            <a:r>
              <a:rPr lang="en-US" dirty="0" smtClean="0">
                <a:solidFill>
                  <a:srgbClr val="000000"/>
                </a:solidFill>
              </a:rPr>
              <a:t> Selig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151" y="6169026"/>
            <a:ext cx="18875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761783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ontent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6374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1 column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ontents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1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9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1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463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 hasCustomPrompt="1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1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2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dirty="0" smtClean="0"/>
              <a:t>Chapter</a:t>
            </a:r>
            <a:endParaRPr lang="en-US" noProof="0" dirty="0"/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0275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2 columns,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ontents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</a:t>
            </a:r>
            <a:r>
              <a:rPr lang="en-US" noProof="0" dirty="0" err="1" smtClean="0"/>
              <a:t>secondl</a:t>
            </a:r>
            <a:r>
              <a:rPr lang="en-US" noProof="0" dirty="0" smtClean="0"/>
              <a:t> </a:t>
            </a:r>
            <a:r>
              <a:rPr lang="en-US" noProof="0" dirty="0" err="1" smtClean="0"/>
              <a:t>evel</a:t>
            </a:r>
            <a:r>
              <a:rPr lang="en-US" noProof="0" dirty="0" smtClean="0"/>
              <a:t>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1	Insert here the copy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  <a:endParaRPr lang="en-US" noProof="0" dirty="0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2" hasCustomPrompt="1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9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463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 hasCustomPrompt="1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712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2133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r>
              <a:rPr lang="en-US" dirty="0" smtClean="0"/>
              <a:t>Click here to insert a image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2133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20" hasCustomPrompt="1"/>
          </p:nvPr>
        </p:nvSpPr>
        <p:spPr>
          <a:xfrm>
            <a:off x="468000" y="4788000"/>
            <a:ext cx="1548000" cy="1080000"/>
          </a:xfr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468000" y="4428000"/>
            <a:ext cx="1548000" cy="360000"/>
          </a:xfrm>
        </p:spPr>
        <p:txBody>
          <a:bodyPr bIns="72000" anchor="b" anchorCtr="0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hapter</a:t>
            </a:r>
            <a:endParaRPr lang="en-US" noProof="0"/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90968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no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24" y="985838"/>
            <a:ext cx="3997325" cy="1800000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FFCC00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resentation title | Location 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dirty="0" smtClean="0"/>
              <a:t>Click to insert image - Recommendations for images can be found in the Layout area.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24" y="985838"/>
            <a:ext cx="3992875" cy="2002162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pic>
        <p:nvPicPr>
          <p:cNvPr id="7" name="Bild 2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41292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563918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8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pic>
        <p:nvPicPr>
          <p:cNvPr id="7" name="Bild 21" descr="Verlauf_laengs_large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00" y="170602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34" descr="DP_DHL_Black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297738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720000"/>
            <a:ext cx="6374862" cy="2022237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11877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no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anchor="b" anchorCtr="1"/>
          <a:lstStyle>
            <a:lvl1pPr>
              <a:defRPr/>
            </a:lvl1pPr>
          </a:lstStyle>
          <a:p>
            <a:r>
              <a:rPr lang="en-US" smtClean="0"/>
              <a:t>Click to insert image - Recommendations for images can be found in the Layout area.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3124" y="985838"/>
            <a:ext cx="3997325" cy="1800000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FFCC00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FFFFFF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FFFFFF"/>
              </a:solidFill>
            </a:endParaRPr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828000" y="6253678"/>
            <a:ext cx="6319560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00" smtClean="0">
                <a:solidFill>
                  <a:srgbClr val="FFFFFF"/>
                </a:solidFill>
              </a:rPr>
              <a:t>Presentation title | Location 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0820793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1" descr="Verlauf_laengs_large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1630800"/>
            <a:ext cx="8784000" cy="5048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5138" y="1774825"/>
            <a:ext cx="6374862" cy="1861175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pic>
        <p:nvPicPr>
          <p:cNvPr id="9" name="Picture 234" descr="DP_DHL_Black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160" y="6313273"/>
            <a:ext cx="13319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 userDrawn="1"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7184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8208000" cy="517839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5138" y="985838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25692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464400" y="13680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75633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: 2 columns - 1 lined headlin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4400" y="9864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6216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: 2 columns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8208000" cy="900000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464400" y="1368000"/>
            <a:ext cx="8208000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41559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1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5" cy="517839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5138" y="985838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425123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8000" y="1941698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Insert here the subtitle text bold (first level)</a:t>
            </a:r>
          </a:p>
          <a:p>
            <a:pPr lvl="1"/>
            <a:r>
              <a:rPr lang="en-US" noProof="0" dirty="0" smtClean="0"/>
              <a:t>Insert here the copy text (second level)</a:t>
            </a:r>
          </a:p>
          <a:p>
            <a:pPr lvl="2"/>
            <a:r>
              <a:rPr lang="en-US" noProof="0" dirty="0" smtClean="0"/>
              <a:t>Insert here the bullet text (third level)</a:t>
            </a:r>
          </a:p>
          <a:p>
            <a:pPr lvl="3"/>
            <a:r>
              <a:rPr lang="en-US" noProof="0" dirty="0" smtClean="0"/>
              <a:t>Insert here the bullet text (fourth level)</a:t>
            </a:r>
          </a:p>
          <a:p>
            <a:pPr lvl="4"/>
            <a:r>
              <a:rPr lang="en-US" noProof="0" dirty="0" smtClean="0"/>
              <a:t>Insert here the bullet text (fifth level)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/>
          <a:lstStyle>
            <a:lvl1pPr>
              <a:defRPr/>
            </a:lvl1pPr>
          </a:lstStyle>
          <a:p>
            <a:r>
              <a:rPr lang="en-US" dirty="0" smtClean="0"/>
              <a:t>Click here to insert a image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64400" y="1368000"/>
            <a:ext cx="3988425" cy="0"/>
          </a:xfrm>
          <a:prstGeom prst="line">
            <a:avLst/>
          </a:prstGeom>
          <a:ln w="12700" cmpd="sng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2774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oleObject" Target="../embeddings/oleObject11.bin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tags" Target="../tags/tag12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vmlDrawing" Target="../drawings/vmlDrawing1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10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37" Type="http://schemas.openxmlformats.org/officeDocument/2006/relationships/oleObject" Target="../embeddings/oleObject32.bin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tags" Target="../tags/tag33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vmlDrawing" Target="../drawings/vmlDrawing32.vml"/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oleObject" Target="../embeddings/oleObject41.bin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tags" Target="../tags/tag42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vmlDrawing" Target="../drawings/vmlDrawing41.v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800718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99" name="think-cell Folie" r:id="rId37" imgW="360" imgH="360" progId="">
                  <p:embed/>
                </p:oleObj>
              </mc:Choice>
              <mc:Fallback>
                <p:oleObj name="think-cell Folie" r:id="rId37" imgW="360" imgH="360" progId="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000" y="1547999"/>
            <a:ext cx="8208000" cy="457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Insert here copy text bold (first level)</a:t>
            </a:r>
          </a:p>
          <a:p>
            <a:pPr lvl="1"/>
            <a:r>
              <a:rPr lang="en-US" noProof="0" dirty="0" smtClean="0"/>
              <a:t>Insert here copy text (second level)</a:t>
            </a:r>
          </a:p>
          <a:p>
            <a:pPr lvl="2"/>
            <a:r>
              <a:rPr lang="en-US" noProof="0" dirty="0" smtClean="0"/>
              <a:t>Insert here bullet text (third level)</a:t>
            </a:r>
          </a:p>
          <a:p>
            <a:pPr lvl="3"/>
            <a:r>
              <a:rPr lang="en-US" noProof="0" dirty="0" smtClean="0"/>
              <a:t>Insert here bullet text (fourth level)</a:t>
            </a:r>
          </a:p>
          <a:p>
            <a:pPr lvl="4"/>
            <a:r>
              <a:rPr lang="en-US" noProof="0" dirty="0" smtClean="0"/>
              <a:t>Insert here bullet text (fifth level)</a:t>
            </a:r>
            <a:endParaRPr lang="en-US" noProof="0" dirty="0"/>
          </a:p>
        </p:txBody>
      </p:sp>
      <p:sp>
        <p:nvSpPr>
          <p:cNvPr id="9" name="Rechteck 8"/>
          <p:cNvSpPr/>
          <p:nvPr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N°›</a:t>
            </a:fld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76" r:id="rId7"/>
    <p:sldLayoutId id="2147483678" r:id="rId8"/>
    <p:sldLayoutId id="2147483677" r:id="rId9"/>
    <p:sldLayoutId id="2147483661" r:id="rId10"/>
    <p:sldLayoutId id="2147483680" r:id="rId11"/>
    <p:sldLayoutId id="2147483650" r:id="rId12"/>
    <p:sldLayoutId id="2147483652" r:id="rId13"/>
    <p:sldLayoutId id="2147483681" r:id="rId14"/>
    <p:sldLayoutId id="2147483682" r:id="rId15"/>
    <p:sldLayoutId id="2147483685" r:id="rId16"/>
    <p:sldLayoutId id="2147483665" r:id="rId17"/>
    <p:sldLayoutId id="2147483666" r:id="rId18"/>
    <p:sldLayoutId id="2147483684" r:id="rId19"/>
    <p:sldLayoutId id="2147483683" r:id="rId20"/>
    <p:sldLayoutId id="2147483667" r:id="rId21"/>
    <p:sldLayoutId id="2147483668" r:id="rId22"/>
    <p:sldLayoutId id="2147483669" r:id="rId23"/>
    <p:sldLayoutId id="2147483670" r:id="rId24"/>
    <p:sldLayoutId id="2147483671" r:id="rId25"/>
    <p:sldLayoutId id="2147483672" r:id="rId26"/>
    <p:sldLayoutId id="2147483654" r:id="rId27"/>
    <p:sldLayoutId id="2147483679" r:id="rId28"/>
    <p:sldLayoutId id="2147483655" r:id="rId29"/>
    <p:sldLayoutId id="2147483674" r:id="rId30"/>
    <p:sldLayoutId id="2147483675" r:id="rId31"/>
    <p:sldLayoutId id="2147483673" r:id="rId32"/>
    <p:sldLayoutId id="2147484517" r:id="rId3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None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0"/>
        </a:spcBef>
        <a:spcAft>
          <a:spcPts val="50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5FC3F3-CB30-4DDD-B145-EF4E0E1C09D2}" type="datetimeFigureOut">
              <a:rPr lang="de-DE" smtClean="0"/>
              <a:pPr/>
              <a:t>17.11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09D970-8663-4926-A89C-6BCB560D602D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6923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85" name="think-cell Folie" r:id="rId24" imgW="360" imgH="360" progId="">
                  <p:embed/>
                </p:oleObj>
              </mc:Choice>
              <mc:Fallback>
                <p:oleObj name="think-cell Folie" r:id="rId24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Corporate Citizenship at DPDHL | Bonn | 28 October 2014</a:t>
            </a: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fld id="{79B9E2B8-A205-4970-8658-BB76BCCA7427}" type="slidenum">
              <a:rPr lang="de-DE">
                <a:solidFill>
                  <a:srgbClr val="000000"/>
                </a:solidFill>
              </a:rPr>
              <a:pPr/>
              <a:t>‹N°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85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9" r:id="rId1"/>
    <p:sldLayoutId id="2147484180" r:id="rId2"/>
    <p:sldLayoutId id="2147484181" r:id="rId3"/>
    <p:sldLayoutId id="2147484182" r:id="rId4"/>
    <p:sldLayoutId id="2147484183" r:id="rId5"/>
    <p:sldLayoutId id="2147484184" r:id="rId6"/>
    <p:sldLayoutId id="2147484185" r:id="rId7"/>
    <p:sldLayoutId id="2147484186" r:id="rId8"/>
    <p:sldLayoutId id="2147484187" r:id="rId9"/>
    <p:sldLayoutId id="2147484188" r:id="rId10"/>
    <p:sldLayoutId id="2147484189" r:id="rId11"/>
    <p:sldLayoutId id="2147484190" r:id="rId12"/>
    <p:sldLayoutId id="2147484191" r:id="rId13"/>
    <p:sldLayoutId id="2147484192" r:id="rId14"/>
    <p:sldLayoutId id="2147484193" r:id="rId15"/>
    <p:sldLayoutId id="2147484194" r:id="rId16"/>
    <p:sldLayoutId id="2147484195" r:id="rId17"/>
    <p:sldLayoutId id="2147484196" r:id="rId18"/>
    <p:sldLayoutId id="2147484197" r:id="rId19"/>
    <p:sldLayoutId id="2147484198" r:id="rId2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33" name="dpic_guideLines" hidden="1"/>
          <p:cNvGrpSpPr/>
          <p:nvPr/>
        </p:nvGrpSpPr>
        <p:grpSpPr>
          <a:xfrm>
            <a:off x="0" y="0"/>
            <a:ext cx="9145587" cy="6858000"/>
            <a:chOff x="-1587" y="0"/>
            <a:chExt cx="9145587" cy="6858000"/>
          </a:xfrm>
        </p:grpSpPr>
        <p:cxnSp>
          <p:nvCxnSpPr>
            <p:cNvPr id="37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Connector 53" hidden="1"/>
            <p:cNvCxnSpPr/>
            <p:nvPr/>
          </p:nvCxnSpPr>
          <p:spPr bwMode="gray">
            <a:xfrm>
              <a:off x="8971143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Straight Connector 44" hidden="1"/>
            <p:cNvCxnSpPr/>
            <p:nvPr/>
          </p:nvCxnSpPr>
          <p:spPr bwMode="gray">
            <a:xfrm>
              <a:off x="4471143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Straight Connector 46" hidden="1"/>
            <p:cNvCxnSpPr/>
            <p:nvPr/>
          </p:nvCxnSpPr>
          <p:spPr bwMode="gray">
            <a:xfrm flipH="1">
              <a:off x="-1587" y="6514136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Straight Connector 47" hidden="1"/>
            <p:cNvCxnSpPr/>
            <p:nvPr/>
          </p:nvCxnSpPr>
          <p:spPr bwMode="gray">
            <a:xfrm flipH="1">
              <a:off x="-1587" y="6003975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9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Straight Connector 52" hidden="1"/>
            <p:cNvCxnSpPr/>
            <p:nvPr/>
          </p:nvCxnSpPr>
          <p:spPr bwMode="gray">
            <a:xfrm flipH="1">
              <a:off x="-1587" y="56260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38" hidden="1"/>
            <p:cNvCxnSpPr/>
            <p:nvPr/>
          </p:nvCxnSpPr>
          <p:spPr bwMode="gray">
            <a:xfrm>
              <a:off x="2088000" y="61833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3" name="Straight Connector 57" hidden="1"/>
            <p:cNvCxnSpPr/>
            <p:nvPr/>
          </p:nvCxnSpPr>
          <p:spPr bwMode="gray">
            <a:xfrm>
              <a:off x="8379525" y="6174647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4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5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6" name="Straight Connector 55" hidden="1"/>
            <p:cNvCxnSpPr/>
            <p:nvPr/>
          </p:nvCxnSpPr>
          <p:spPr bwMode="gray">
            <a:xfrm>
              <a:off x="418763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0" y="6296400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96400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fld id="{79B9E2B8-A205-4970-8658-BB76BCCA7427}" type="slidenum">
              <a:rPr lang="de-DE">
                <a:solidFill>
                  <a:srgbClr val="000000"/>
                </a:solidFill>
              </a:rPr>
              <a:pPr/>
              <a:t>‹N°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98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  <p:sldLayoutId id="2147484280" r:id="rId11"/>
    <p:sldLayoutId id="2147484281" r:id="rId12"/>
    <p:sldLayoutId id="2147484282" r:id="rId13"/>
    <p:sldLayoutId id="2147484283" r:id="rId14"/>
    <p:sldLayoutId id="2147484284" r:id="rId15"/>
    <p:sldLayoutId id="2147484285" r:id="rId16"/>
    <p:sldLayoutId id="2147484286" r:id="rId17"/>
    <p:sldLayoutId id="2147484287" r:id="rId18"/>
    <p:sldLayoutId id="2147484288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58601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34" name="think-cell Folie" r:id="rId37" imgW="360" imgH="360" progId="">
                  <p:embed/>
                </p:oleObj>
              </mc:Choice>
              <mc:Fallback>
                <p:oleObj name="think-cell Folie" r:id="rId37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000" y="1547999"/>
            <a:ext cx="8208000" cy="457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Insert here copy text bold (first level)</a:t>
            </a:r>
          </a:p>
          <a:p>
            <a:pPr lvl="1"/>
            <a:r>
              <a:rPr lang="en-US" noProof="0" dirty="0" smtClean="0"/>
              <a:t>Insert here copy text (second level)</a:t>
            </a:r>
          </a:p>
          <a:p>
            <a:pPr lvl="2"/>
            <a:r>
              <a:rPr lang="en-US" noProof="0" dirty="0" smtClean="0"/>
              <a:t>Insert here bullet text (third level)</a:t>
            </a:r>
          </a:p>
          <a:p>
            <a:pPr lvl="3"/>
            <a:r>
              <a:rPr lang="en-US" noProof="0" dirty="0" smtClean="0"/>
              <a:t>Insert here bullet text (fourth level)</a:t>
            </a:r>
          </a:p>
          <a:p>
            <a:pPr lvl="4"/>
            <a:r>
              <a:rPr lang="en-US" noProof="0" dirty="0" smtClean="0"/>
              <a:t>Insert here bullet text (fifth level)</a:t>
            </a:r>
            <a:endParaRPr lang="en-US" noProof="0" dirty="0"/>
          </a:p>
        </p:txBody>
      </p:sp>
      <p:pic>
        <p:nvPicPr>
          <p:cNvPr id="7" name="Bild 21" descr="Verlauf_laengs_large_RGB.png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80000" y="5580000"/>
            <a:ext cx="8784000" cy="109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8"/>
          <p:cNvSpPr/>
          <p:nvPr/>
        </p:nvSpPr>
        <p:spPr bwMode="auto">
          <a:xfrm>
            <a:off x="465138" y="6253678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fld id="{2E45E626-985F-4F96-B1C4-178AC390C14C}" type="slidenum">
              <a:rPr lang="de-DE" sz="1000" smtClean="0">
                <a:solidFill>
                  <a:srgbClr val="000000"/>
                </a:solidFill>
              </a:rPr>
              <a:pPr defTabSz="995363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de-DE" sz="1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17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  <p:sldLayoutId id="2147484455" r:id="rId13"/>
    <p:sldLayoutId id="2147484456" r:id="rId14"/>
    <p:sldLayoutId id="2147484457" r:id="rId15"/>
    <p:sldLayoutId id="2147484458" r:id="rId16"/>
    <p:sldLayoutId id="2147484459" r:id="rId17"/>
    <p:sldLayoutId id="2147484460" r:id="rId18"/>
    <p:sldLayoutId id="2147484461" r:id="rId19"/>
    <p:sldLayoutId id="2147484462" r:id="rId20"/>
    <p:sldLayoutId id="2147484463" r:id="rId21"/>
    <p:sldLayoutId id="2147484464" r:id="rId22"/>
    <p:sldLayoutId id="2147484465" r:id="rId23"/>
    <p:sldLayoutId id="2147484466" r:id="rId24"/>
    <p:sldLayoutId id="2147484467" r:id="rId25"/>
    <p:sldLayoutId id="2147484468" r:id="rId26"/>
    <p:sldLayoutId id="2147484469" r:id="rId27"/>
    <p:sldLayoutId id="2147484470" r:id="rId28"/>
    <p:sldLayoutId id="2147484471" r:id="rId29"/>
    <p:sldLayoutId id="2147484472" r:id="rId30"/>
    <p:sldLayoutId id="2147484473" r:id="rId31"/>
    <p:sldLayoutId id="2147484474" r:id="rId32"/>
    <p:sldLayoutId id="2147484475" r:id="rId3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None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0"/>
        </a:spcBef>
        <a:spcAft>
          <a:spcPts val="50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spcBef>
          <a:spcPts val="0"/>
        </a:spcBef>
        <a:spcAft>
          <a:spcPts val="500"/>
        </a:spcAft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67" name="think-cell Folie" r:id="rId26" imgW="360" imgH="360" progId="">
                  <p:embed/>
                </p:oleObj>
              </mc:Choice>
              <mc:Fallback>
                <p:oleObj name="think-cell Folie" r:id="rId26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Corporate Citizenship at DPDHL | Bonn | 28 October 2014</a:t>
            </a: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fld id="{79B9E2B8-A205-4970-8658-BB76BCCA7427}" type="slidenum">
              <a:rPr lang="de-DE">
                <a:solidFill>
                  <a:srgbClr val="000000"/>
                </a:solidFill>
              </a:rPr>
              <a:pPr/>
              <a:t>‹N°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246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4" r:id="rId1"/>
    <p:sldLayoutId id="2147484625" r:id="rId2"/>
    <p:sldLayoutId id="2147484626" r:id="rId3"/>
    <p:sldLayoutId id="2147484627" r:id="rId4"/>
    <p:sldLayoutId id="2147484628" r:id="rId5"/>
    <p:sldLayoutId id="2147484629" r:id="rId6"/>
    <p:sldLayoutId id="2147484630" r:id="rId7"/>
    <p:sldLayoutId id="2147484631" r:id="rId8"/>
    <p:sldLayoutId id="2147484632" r:id="rId9"/>
    <p:sldLayoutId id="2147484633" r:id="rId10"/>
    <p:sldLayoutId id="2147484634" r:id="rId11"/>
    <p:sldLayoutId id="2147484635" r:id="rId12"/>
    <p:sldLayoutId id="2147484636" r:id="rId13"/>
    <p:sldLayoutId id="2147484637" r:id="rId14"/>
    <p:sldLayoutId id="2147484638" r:id="rId15"/>
    <p:sldLayoutId id="2147484639" r:id="rId16"/>
    <p:sldLayoutId id="2147484640" r:id="rId17"/>
    <p:sldLayoutId id="2147484641" r:id="rId18"/>
    <p:sldLayoutId id="2147484642" r:id="rId19"/>
    <p:sldLayoutId id="2147484643" r:id="rId20"/>
    <p:sldLayoutId id="2147484644" r:id="rId21"/>
    <p:sldLayoutId id="2147484800" r:id="rId2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16.xml"/><Relationship Id="rId7" Type="http://schemas.openxmlformats.org/officeDocument/2006/relationships/image" Target="../media/image18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5.jpeg"/><Relationship Id="rId3" Type="http://schemas.openxmlformats.org/officeDocument/2006/relationships/slideLayout" Target="../slideLayouts/slideLayout73.xml"/><Relationship Id="rId7" Type="http://schemas.openxmlformats.org/officeDocument/2006/relationships/hyperlink" Target="https://www.google.de/url?q=http://sustainabledevelopment.un.org/index.php?page=view&amp;type=6&amp;nr=1475&amp;menu=1549&amp;template=375&amp;sa=U&amp;ei=IOsmU-msEYGVyAPWiIGYBA&amp;ved=0CDEQ9QEwAg&amp;usg=AFQjCNFL4cs_xPQ9eM2xO-Dz0d-JC3ttTw" TargetMode="External"/><Relationship Id="rId12" Type="http://schemas.openxmlformats.org/officeDocument/2006/relationships/image" Target="../media/image24.png"/><Relationship Id="rId2" Type="http://schemas.openxmlformats.org/officeDocument/2006/relationships/tags" Target="../tags/tag6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0.jpeg"/><Relationship Id="rId11" Type="http://schemas.openxmlformats.org/officeDocument/2006/relationships/image" Target="../media/image23.jpeg"/><Relationship Id="rId5" Type="http://schemas.openxmlformats.org/officeDocument/2006/relationships/image" Target="../media/image19.emf"/><Relationship Id="rId10" Type="http://schemas.openxmlformats.org/officeDocument/2006/relationships/image" Target="../media/image22.jpeg"/><Relationship Id="rId4" Type="http://schemas.openxmlformats.org/officeDocument/2006/relationships/oleObject" Target="../embeddings/oleObject62.bin"/><Relationship Id="rId9" Type="http://schemas.openxmlformats.org/officeDocument/2006/relationships/hyperlink" Target="https://www.google.de/url?q=http://www.jposc.org/&amp;sa=U&amp;ei=cScoU6GAI6Ou7Aa-xYHYDA&amp;ved=0CC0Q9QEwAA&amp;usg=AFQjCNHCs4DAXwF2aOZQxhXQZXp-QTDxyw" TargetMode="External"/><Relationship Id="rId1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67.xml"/><Relationship Id="rId7" Type="http://schemas.openxmlformats.org/officeDocument/2006/relationships/image" Target="../media/image28.jpe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27.jpeg"/><Relationship Id="rId5" Type="http://schemas.openxmlformats.org/officeDocument/2006/relationships/image" Target="../media/image23.jpeg"/><Relationship Id="rId4" Type="http://schemas.openxmlformats.org/officeDocument/2006/relationships/slideLayout" Target="../slideLayouts/slideLayout53.xml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7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Relationship Id="rId9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7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6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jpeg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7.xml"/><Relationship Id="rId7" Type="http://schemas.openxmlformats.org/officeDocument/2006/relationships/image" Target="../media/image28.jpeg"/><Relationship Id="rId2" Type="http://schemas.openxmlformats.org/officeDocument/2006/relationships/tags" Target="../tags/tag7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7.jpeg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13" Type="http://schemas.openxmlformats.org/officeDocument/2006/relationships/image" Target="../media/image42.jpeg"/><Relationship Id="rId18" Type="http://schemas.openxmlformats.org/officeDocument/2006/relationships/image" Target="../media/image47.png"/><Relationship Id="rId3" Type="http://schemas.openxmlformats.org/officeDocument/2006/relationships/image" Target="../media/image34.png"/><Relationship Id="rId21" Type="http://schemas.openxmlformats.org/officeDocument/2006/relationships/image" Target="../media/image50.png"/><Relationship Id="rId7" Type="http://schemas.microsoft.com/office/2007/relationships/hdphoto" Target="../media/hdphoto3.wdp"/><Relationship Id="rId12" Type="http://schemas.openxmlformats.org/officeDocument/2006/relationships/image" Target="../media/image41.gif"/><Relationship Id="rId17" Type="http://schemas.openxmlformats.org/officeDocument/2006/relationships/image" Target="../media/image46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1" Type="http://schemas.openxmlformats.org/officeDocument/2006/relationships/slideLayout" Target="../slideLayouts/slideLayout138.xml"/><Relationship Id="rId6" Type="http://schemas.openxmlformats.org/officeDocument/2006/relationships/image" Target="../media/image37.png"/><Relationship Id="rId11" Type="http://schemas.openxmlformats.org/officeDocument/2006/relationships/image" Target="../media/image40.jpeg"/><Relationship Id="rId24" Type="http://schemas.openxmlformats.org/officeDocument/2006/relationships/image" Target="../media/image53.jpg"/><Relationship Id="rId5" Type="http://schemas.openxmlformats.org/officeDocument/2006/relationships/image" Target="../media/image36.png"/><Relationship Id="rId15" Type="http://schemas.openxmlformats.org/officeDocument/2006/relationships/image" Target="../media/image44.png"/><Relationship Id="rId23" Type="http://schemas.openxmlformats.org/officeDocument/2006/relationships/image" Target="../media/image52.jpeg"/><Relationship Id="rId10" Type="http://schemas.openxmlformats.org/officeDocument/2006/relationships/image" Target="../media/image39.png"/><Relationship Id="rId19" Type="http://schemas.openxmlformats.org/officeDocument/2006/relationships/image" Target="../media/image48.jpeg"/><Relationship Id="rId4" Type="http://schemas.openxmlformats.org/officeDocument/2006/relationships/image" Target="../media/image35.jpeg"/><Relationship Id="rId9" Type="http://schemas.microsoft.com/office/2007/relationships/hdphoto" Target="../media/hdphoto4.wdp"/><Relationship Id="rId14" Type="http://schemas.openxmlformats.org/officeDocument/2006/relationships/image" Target="../media/image43.png"/><Relationship Id="rId22" Type="http://schemas.openxmlformats.org/officeDocument/2006/relationships/image" Target="../media/image5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s4lmJa6f1V8&amp;feature=youtu.be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8.xml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949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</p:spPr>
      </p:pic>
      <p:sp>
        <p:nvSpPr>
          <p:cNvPr id="16" name="Titel 15"/>
          <p:cNvSpPr>
            <a:spLocks noGrp="1"/>
          </p:cNvSpPr>
          <p:nvPr>
            <p:ph type="ctrTitle"/>
          </p:nvPr>
        </p:nvSpPr>
        <p:spPr>
          <a:xfrm>
            <a:off x="84749" y="246803"/>
            <a:ext cx="7212989" cy="15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600" dirty="0" smtClean="0"/>
              <a:t>GoTeach Partnership between </a:t>
            </a:r>
            <a:r>
              <a:rPr lang="en-US" sz="3600" dirty="0" err="1" smtClean="0"/>
              <a:t>Dpdhl</a:t>
            </a:r>
            <a:r>
              <a:rPr lang="en-US" sz="3600" dirty="0" smtClean="0"/>
              <a:t> &amp;</a:t>
            </a:r>
            <a:br>
              <a:rPr lang="en-US" sz="3600" dirty="0" smtClean="0"/>
            </a:br>
            <a:r>
              <a:rPr lang="en-US" sz="3600" dirty="0" smtClean="0"/>
              <a:t>SOS Children’s Villages</a:t>
            </a:r>
            <a:r>
              <a:rPr lang="en-US" sz="4000" dirty="0"/>
              <a:t/>
            </a:r>
            <a:br>
              <a:rPr lang="en-US" sz="4000" dirty="0"/>
            </a:b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865584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202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48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smtClean="0"/>
              <a:t>Corporate Citizenship </a:t>
            </a:r>
            <a:r>
              <a:rPr lang="de-DE" dirty="0" err="1" smtClean="0"/>
              <a:t>priorities</a:t>
            </a:r>
            <a:endParaRPr lang="de-DE" dirty="0"/>
          </a:p>
        </p:txBody>
      </p:sp>
      <p:sp>
        <p:nvSpPr>
          <p:cNvPr id="5" name="Titel 2"/>
          <p:cNvSpPr>
            <a:spLocks noGrp="1"/>
          </p:cNvSpPr>
          <p:nvPr/>
        </p:nvSpPr>
        <p:spPr>
          <a:xfrm>
            <a:off x="245494" y="440935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 cap="none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550296" y="2043027"/>
            <a:ext cx="7928022" cy="1327369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522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50296" y="3435016"/>
            <a:ext cx="7928022" cy="121994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522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550296" y="4717406"/>
            <a:ext cx="7928022" cy="121994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522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</a:endParaRPr>
          </a:p>
        </p:txBody>
      </p:sp>
      <p:pic>
        <p:nvPicPr>
          <p:cNvPr id="10" name="Picture 129" descr="GVD in Singapur"/>
          <p:cNvPicPr>
            <a:picLocks noChangeAspect="1" noChangeArrowheads="1"/>
          </p:cNvPicPr>
          <p:nvPr/>
        </p:nvPicPr>
        <p:blipFill>
          <a:blip r:embed="rId6" cstate="print">
            <a:grayscl/>
          </a:blip>
          <a:srcRect/>
          <a:stretch>
            <a:fillRect/>
          </a:stretch>
        </p:blipFill>
        <p:spPr bwMode="gray">
          <a:xfrm>
            <a:off x="614648" y="4876225"/>
            <a:ext cx="1616021" cy="10881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Text Box 21"/>
          <p:cNvSpPr txBox="1">
            <a:spLocks noChangeArrowheads="1"/>
          </p:cNvSpPr>
          <p:nvPr/>
        </p:nvSpPr>
        <p:spPr bwMode="auto">
          <a:xfrm>
            <a:off x="647615" y="3442771"/>
            <a:ext cx="4588469" cy="184666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>
                <a:solidFill>
                  <a:srgbClr val="000000"/>
                </a:solidFill>
              </a:rPr>
              <a:t>GoTeach</a:t>
            </a:r>
            <a:r>
              <a:rPr lang="de-DE" sz="1200" dirty="0">
                <a:solidFill>
                  <a:srgbClr val="696969"/>
                </a:solidFill>
              </a:rPr>
              <a:t> </a:t>
            </a:r>
            <a:r>
              <a:rPr lang="en-US" sz="1000" dirty="0">
                <a:solidFill>
                  <a:srgbClr val="000000"/>
                </a:solidFill>
                <a:cs typeface="Arial" charset="0"/>
              </a:rPr>
              <a:t>–</a:t>
            </a:r>
            <a:r>
              <a:rPr lang="en-US" sz="12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GB" sz="1200" dirty="0" smtClean="0">
                <a:solidFill>
                  <a:srgbClr val="D40511"/>
                </a:solidFill>
              </a:rPr>
              <a:t>Improving </a:t>
            </a:r>
            <a:r>
              <a:rPr lang="en-GB" sz="1200" dirty="0">
                <a:solidFill>
                  <a:srgbClr val="D40511"/>
                </a:solidFill>
              </a:rPr>
              <a:t>educational opportunity &amp; employability</a:t>
            </a:r>
          </a:p>
        </p:txBody>
      </p:sp>
      <p:sp>
        <p:nvSpPr>
          <p:cNvPr id="12" name="Text Box 22"/>
          <p:cNvSpPr txBox="1">
            <a:spLocks noChangeArrowheads="1"/>
          </p:cNvSpPr>
          <p:nvPr/>
        </p:nvSpPr>
        <p:spPr bwMode="auto">
          <a:xfrm>
            <a:off x="647615" y="2070307"/>
            <a:ext cx="2397038" cy="184666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 err="1">
                <a:solidFill>
                  <a:srgbClr val="000000"/>
                </a:solidFill>
              </a:rPr>
              <a:t>GoHelp</a:t>
            </a:r>
            <a:r>
              <a:rPr lang="en-GB" sz="1200" dirty="0" smtClean="0">
                <a:solidFill>
                  <a:srgbClr val="000000"/>
                </a:solidFill>
              </a:rPr>
              <a:t> </a:t>
            </a:r>
            <a:r>
              <a:rPr lang="en-US" sz="1000" dirty="0">
                <a:solidFill>
                  <a:srgbClr val="000000"/>
                </a:solidFill>
                <a:cs typeface="Arial" charset="0"/>
              </a:rPr>
              <a:t>–</a:t>
            </a:r>
            <a:r>
              <a:rPr lang="en-US" sz="12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GB" sz="1200" dirty="0" smtClean="0">
                <a:solidFill>
                  <a:srgbClr val="D40511"/>
                </a:solidFill>
              </a:rPr>
              <a:t>Delivering </a:t>
            </a:r>
            <a:r>
              <a:rPr lang="en-GB" sz="1200" dirty="0">
                <a:solidFill>
                  <a:srgbClr val="D40511"/>
                </a:solidFill>
              </a:rPr>
              <a:t>help </a:t>
            </a:r>
          </a:p>
        </p:txBody>
      </p:sp>
      <p:sp>
        <p:nvSpPr>
          <p:cNvPr id="13" name="Textfeld 13"/>
          <p:cNvSpPr txBox="1"/>
          <p:nvPr/>
        </p:nvSpPr>
        <p:spPr>
          <a:xfrm>
            <a:off x="647615" y="4752089"/>
            <a:ext cx="39867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5363">
              <a:defRPr/>
            </a:pPr>
            <a:r>
              <a:rPr lang="de-DE" sz="1200" b="1" dirty="0">
                <a:solidFill>
                  <a:srgbClr val="000000"/>
                </a:solidFill>
              </a:rPr>
              <a:t>GoGreen</a:t>
            </a:r>
            <a:r>
              <a:rPr lang="de-DE" sz="1200" b="1" dirty="0">
                <a:solidFill>
                  <a:srgbClr val="696969"/>
                </a:solidFill>
              </a:rPr>
              <a:t> </a:t>
            </a:r>
            <a:r>
              <a:rPr lang="en-US" sz="1000" b="1" dirty="0">
                <a:solidFill>
                  <a:srgbClr val="000000"/>
                </a:solidFill>
                <a:cs typeface="Arial" charset="0"/>
              </a:rPr>
              <a:t>–</a:t>
            </a:r>
            <a:r>
              <a:rPr lang="en-US" sz="1200" b="1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GB" sz="1200" dirty="0" smtClean="0">
                <a:solidFill>
                  <a:srgbClr val="D40511"/>
                </a:solidFill>
              </a:rPr>
              <a:t>Protecting </a:t>
            </a:r>
            <a:r>
              <a:rPr lang="en-GB" sz="1200" dirty="0">
                <a:solidFill>
                  <a:srgbClr val="D40511"/>
                </a:solidFill>
              </a:rPr>
              <a:t>the environment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2482013" y="4898902"/>
            <a:ext cx="2003737" cy="1113317"/>
          </a:xfrm>
          <a:prstGeom prst="rect">
            <a:avLst/>
          </a:prstGeom>
          <a:noFill/>
          <a:ln>
            <a:noFill/>
          </a:ln>
          <a:extLst/>
        </p:spPr>
        <p:txBody>
          <a:bodyPr lIns="90000" tIns="90000" rIns="90000" bIns="9000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ct val="30000"/>
              </a:spcAft>
              <a:buClr>
                <a:srgbClr val="000000"/>
              </a:buClr>
              <a:defRPr/>
            </a:pPr>
            <a:r>
              <a:rPr lang="en-GB" sz="1100" kern="0" dirty="0" smtClean="0">
                <a:solidFill>
                  <a:srgbClr val="000000"/>
                </a:solidFill>
                <a:ea typeface="ＭＳ Ｐゴシック" pitchFamily="34" charset="-128"/>
              </a:rPr>
              <a:t>Protecting the environment and biodiversity </a:t>
            </a:r>
            <a:r>
              <a:rPr lang="en-GB" sz="1100" b="1" kern="0" dirty="0" smtClean="0">
                <a:solidFill>
                  <a:srgbClr val="000000"/>
                </a:solidFill>
                <a:ea typeface="ＭＳ Ｐゴシック" pitchFamily="34" charset="-128"/>
              </a:rPr>
              <a:t>in local communities </a:t>
            </a:r>
            <a:r>
              <a:rPr lang="en-GB" sz="1100" kern="0" dirty="0" smtClean="0">
                <a:solidFill>
                  <a:srgbClr val="000000"/>
                </a:solidFill>
                <a:ea typeface="ＭＳ Ｐゴシック" pitchFamily="34" charset="-128"/>
              </a:rPr>
              <a:t>and habitats through hands-on contributions</a:t>
            </a: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2325492" y="2120977"/>
            <a:ext cx="2585898" cy="1192839"/>
          </a:xfrm>
          <a:prstGeom prst="rect">
            <a:avLst/>
          </a:prstGeom>
          <a:noFill/>
          <a:ln>
            <a:noFill/>
          </a:ln>
          <a:extLst/>
        </p:spPr>
        <p:txBody>
          <a:bodyPr lIns="90000" tIns="90000" rIns="72000" bIns="900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400" indent="-152400">
              <a:lnSpc>
                <a:spcPct val="110000"/>
              </a:lnSpc>
              <a:spcAft>
                <a:spcPct val="30000"/>
              </a:spcAft>
              <a:buClr>
                <a:srgbClr val="000000"/>
              </a:buClr>
              <a:buFontTx/>
              <a:buChar char="•"/>
              <a:defRPr/>
            </a:pPr>
            <a:r>
              <a:rPr lang="en-US" sz="1100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Preparing airports with </a:t>
            </a:r>
            <a:r>
              <a:rPr lang="en-US" sz="1100" b="1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Get Airports Ready for Disaster</a:t>
            </a:r>
            <a:r>
              <a:rPr lang="en-US" sz="1100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 and helping after natural disasters with our </a:t>
            </a:r>
            <a:r>
              <a:rPr lang="en-US" sz="1100" b="1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Disaster Response Teams</a:t>
            </a:r>
            <a:r>
              <a:rPr lang="en-US" sz="1100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 at airports </a:t>
            </a:r>
          </a:p>
          <a:p>
            <a:pPr marL="152400" indent="-152400">
              <a:lnSpc>
                <a:spcPct val="110000"/>
              </a:lnSpc>
              <a:spcAft>
                <a:spcPct val="30000"/>
              </a:spcAft>
              <a:buClr>
                <a:srgbClr val="000000"/>
              </a:buClr>
              <a:buFontTx/>
              <a:buChar char="•"/>
              <a:defRPr/>
            </a:pPr>
            <a:r>
              <a:rPr lang="en-US" sz="1100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Providing skill-based help to people in need locally</a:t>
            </a: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2482013" y="3581067"/>
            <a:ext cx="2274082" cy="1173023"/>
          </a:xfrm>
          <a:prstGeom prst="rect">
            <a:avLst/>
          </a:prstGeom>
          <a:noFill/>
          <a:ln>
            <a:noFill/>
          </a:ln>
          <a:extLst/>
        </p:spPr>
        <p:txBody>
          <a:bodyPr lIns="90000" tIns="90000" rIns="90000" bIns="9000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ct val="30000"/>
              </a:spcAft>
              <a:buClr>
                <a:srgbClr val="000000"/>
              </a:buClr>
              <a:defRPr/>
            </a:pPr>
            <a:r>
              <a:rPr lang="en-US" sz="1100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Supporting children and young people from disadvantaged backgrounds to attain an </a:t>
            </a:r>
            <a:r>
              <a:rPr lang="en-US" sz="1100" b="1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excellent education </a:t>
            </a:r>
            <a:r>
              <a:rPr lang="en-US" sz="1100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and enhance their </a:t>
            </a:r>
            <a:r>
              <a:rPr lang="en-US" sz="1100" b="1" kern="0" dirty="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t>employability</a:t>
            </a:r>
          </a:p>
        </p:txBody>
      </p:sp>
      <p:sp>
        <p:nvSpPr>
          <p:cNvPr id="17" name="Rechteck 16"/>
          <p:cNvSpPr/>
          <p:nvPr/>
        </p:nvSpPr>
        <p:spPr bwMode="gray">
          <a:xfrm>
            <a:off x="4841045" y="1788585"/>
            <a:ext cx="3528955" cy="4223634"/>
          </a:xfrm>
          <a:prstGeom prst="rect">
            <a:avLst/>
          </a:prstGeom>
          <a:solidFill>
            <a:schemeClr val="accent3">
              <a:alpha val="5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188000" rIns="72000" bIns="72000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>
              <a:spcBef>
                <a:spcPts val="300"/>
              </a:spcBef>
              <a:spcAft>
                <a:spcPts val="300"/>
              </a:spcAft>
              <a:defRPr/>
            </a:pPr>
            <a:endParaRPr lang="de-DE" sz="1400" dirty="0">
              <a:solidFill>
                <a:srgbClr val="000000"/>
              </a:solidFill>
            </a:endParaRPr>
          </a:p>
        </p:txBody>
      </p:sp>
      <p:sp>
        <p:nvSpPr>
          <p:cNvPr id="19" name="Text Box 22"/>
          <p:cNvSpPr txBox="1">
            <a:spLocks noChangeArrowheads="1"/>
          </p:cNvSpPr>
          <p:nvPr/>
        </p:nvSpPr>
        <p:spPr bwMode="auto">
          <a:xfrm>
            <a:off x="4928785" y="1826614"/>
            <a:ext cx="2397038" cy="184666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 smtClean="0">
                <a:solidFill>
                  <a:srgbClr val="000000"/>
                </a:solidFill>
              </a:rPr>
              <a:t>Corporate Citizenship Instruments</a:t>
            </a:r>
            <a:endParaRPr lang="en-GB" sz="1200" dirty="0">
              <a:solidFill>
                <a:srgbClr val="D40511"/>
              </a:solidFill>
            </a:endParaRPr>
          </a:p>
        </p:txBody>
      </p:sp>
      <p:grpSp>
        <p:nvGrpSpPr>
          <p:cNvPr id="27" name="Group 27"/>
          <p:cNvGrpSpPr>
            <a:grpSpLocks/>
          </p:cNvGrpSpPr>
          <p:nvPr/>
        </p:nvGrpSpPr>
        <p:grpSpPr bwMode="gray">
          <a:xfrm>
            <a:off x="1008198" y="2406694"/>
            <a:ext cx="830108" cy="817451"/>
            <a:chOff x="355" y="1120"/>
            <a:chExt cx="787" cy="775"/>
          </a:xfrm>
        </p:grpSpPr>
        <p:pic>
          <p:nvPicPr>
            <p:cNvPr id="30" name="Picture 46" descr="https://encrypted-tbn3.gstatic.com/images?q=tbn:ANd9GcRPOak-UjY1Gove1Sc4JhPPFI9PeRFxj5jKE9E6Vbrg-WpWLoxaCo2uLw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55" y="1120"/>
              <a:ext cx="462" cy="52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75" descr="https://encrypted-tbn3.gstatic.com/images?q=tbn:ANd9GcSoD0rOsFcr0X21hAYOvUgQmmlo5Hz5cYBsNn2OQaEB0WQt62T8xuzOZQc">
              <a:hlinkClick r:id="rId9"/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24" y="1260"/>
              <a:ext cx="318" cy="63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8" name="Picture 200" descr="SOS-Umbrella-neg-e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997" y="3848346"/>
            <a:ext cx="1070688" cy="2671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1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001" y="4134995"/>
            <a:ext cx="1072452" cy="2968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 Placeholder 28"/>
          <p:cNvSpPr>
            <a:spLocks noGrp="1"/>
          </p:cNvSpPr>
          <p:nvPr>
            <p:ph type="body" sz="quarter" idx="34"/>
          </p:nvPr>
        </p:nvSpPr>
        <p:spPr>
          <a:xfrm>
            <a:off x="414338" y="1192050"/>
            <a:ext cx="8315325" cy="549267"/>
          </a:xfrm>
        </p:spPr>
        <p:txBody>
          <a:bodyPr/>
          <a:lstStyle/>
          <a:p>
            <a:pPr lvl="4">
              <a:lnSpc>
                <a:spcPct val="110000"/>
              </a:lnSpc>
              <a:spcAft>
                <a:spcPts val="500"/>
              </a:spcAft>
              <a:buClrTx/>
            </a:pPr>
            <a:r>
              <a:rPr lang="en-US" dirty="0" smtClean="0"/>
              <a:t>Our CC activities </a:t>
            </a:r>
            <a:r>
              <a:rPr lang="en-US" dirty="0"/>
              <a:t>are based upon strategic Corporate Programs and supported by the volunteering efforts of our employees locally</a:t>
            </a:r>
          </a:p>
        </p:txBody>
      </p:sp>
      <p:sp>
        <p:nvSpPr>
          <p:cNvPr id="33" name="Rechteck 32"/>
          <p:cNvSpPr/>
          <p:nvPr/>
        </p:nvSpPr>
        <p:spPr bwMode="auto">
          <a:xfrm>
            <a:off x="4981295" y="2761077"/>
            <a:ext cx="3145891" cy="75337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dirty="0" err="1" smtClean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4981296" y="3590986"/>
            <a:ext cx="3145891" cy="75848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dirty="0" err="1" smtClean="0">
              <a:solidFill>
                <a:srgbClr val="000000"/>
              </a:solidFill>
            </a:endParaRPr>
          </a:p>
        </p:txBody>
      </p:sp>
      <p:sp>
        <p:nvSpPr>
          <p:cNvPr id="35" name="Rechteck 34"/>
          <p:cNvSpPr/>
          <p:nvPr/>
        </p:nvSpPr>
        <p:spPr bwMode="auto">
          <a:xfrm>
            <a:off x="4981296" y="4450236"/>
            <a:ext cx="3145891" cy="78326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dirty="0" err="1" smtClean="0">
              <a:solidFill>
                <a:srgbClr val="000000"/>
              </a:solidFill>
            </a:endParaRPr>
          </a:p>
        </p:txBody>
      </p:sp>
      <p:sp>
        <p:nvSpPr>
          <p:cNvPr id="24" name="Inhaltsplatzhalter 2"/>
          <p:cNvSpPr txBox="1">
            <a:spLocks/>
          </p:cNvSpPr>
          <p:nvPr/>
        </p:nvSpPr>
        <p:spPr bwMode="gray">
          <a:xfrm>
            <a:off x="5058817" y="4521500"/>
            <a:ext cx="22770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Living </a:t>
            </a:r>
            <a:r>
              <a:rPr lang="en-US" sz="1200" b="1" dirty="0">
                <a:solidFill>
                  <a:srgbClr val="000000"/>
                </a:solidFill>
                <a:cs typeface="Arial" charset="0"/>
              </a:rPr>
              <a:t>Responsibility </a:t>
            </a: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Fund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21" name="Picture 134" descr="GVD 2011"/>
          <p:cNvPicPr>
            <a:picLocks noChangeAspect="1" noChangeArrowheads="1"/>
          </p:cNvPicPr>
          <p:nvPr/>
        </p:nvPicPr>
        <p:blipFill>
          <a:blip r:embed="rId13" cstate="print">
            <a:extLst/>
          </a:blip>
          <a:srcRect/>
          <a:stretch>
            <a:fillRect/>
          </a:stretch>
        </p:blipFill>
        <p:spPr bwMode="gray">
          <a:xfrm>
            <a:off x="6696875" y="3590986"/>
            <a:ext cx="1430311" cy="285825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</a:effectLst>
          <a:extLst/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14" cstate="print">
            <a:extLst/>
          </a:blip>
          <a:stretch>
            <a:fillRect/>
          </a:stretch>
        </p:blipFill>
        <p:spPr bwMode="gray">
          <a:xfrm>
            <a:off x="7610763" y="4349475"/>
            <a:ext cx="516423" cy="907651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26" name="Textfeld 3"/>
          <p:cNvSpPr txBox="1"/>
          <p:nvPr/>
        </p:nvSpPr>
        <p:spPr>
          <a:xfrm>
            <a:off x="5058817" y="3727676"/>
            <a:ext cx="1546705" cy="5042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GB" sz="1200" b="1" dirty="0">
                <a:solidFill>
                  <a:srgbClr val="000000"/>
                </a:solidFill>
              </a:rPr>
              <a:t>Global Volunteer </a:t>
            </a:r>
            <a:r>
              <a:rPr lang="en-GB" sz="1200" b="1" dirty="0" smtClean="0">
                <a:solidFill>
                  <a:srgbClr val="000000"/>
                </a:solidFill>
              </a:rPr>
              <a:t>Day</a:t>
            </a:r>
            <a:endParaRPr lang="en-GB" sz="1200" b="1" dirty="0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de-DE" sz="1400" dirty="0" err="1" smtClean="0">
              <a:solidFill>
                <a:srgbClr val="000000"/>
              </a:solidFill>
            </a:endParaRPr>
          </a:p>
        </p:txBody>
      </p:sp>
      <p:sp>
        <p:nvSpPr>
          <p:cNvPr id="37" name="Textfeld 3"/>
          <p:cNvSpPr txBox="1"/>
          <p:nvPr/>
        </p:nvSpPr>
        <p:spPr>
          <a:xfrm>
            <a:off x="5058816" y="2841755"/>
            <a:ext cx="1639873" cy="5042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GB" sz="1200" b="1" dirty="0" smtClean="0">
                <a:solidFill>
                  <a:srgbClr val="000000"/>
                </a:solidFill>
              </a:rPr>
              <a:t>Strategic Partnerships</a:t>
            </a:r>
            <a:endParaRPr lang="en-GB" sz="1200" b="1" dirty="0">
              <a:solidFill>
                <a:srgbClr val="000000"/>
              </a:solidFill>
            </a:endParaRPr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de-DE" sz="1400" dirty="0" err="1" smtClean="0">
              <a:solidFill>
                <a:srgbClr val="000000"/>
              </a:solidFill>
            </a:endParaRPr>
          </a:p>
        </p:txBody>
      </p:sp>
      <p:sp>
        <p:nvSpPr>
          <p:cNvPr id="23" name="Inhaltsplatzhalter 2"/>
          <p:cNvSpPr txBox="1">
            <a:spLocks/>
          </p:cNvSpPr>
          <p:nvPr/>
        </p:nvSpPr>
        <p:spPr bwMode="gray">
          <a:xfrm>
            <a:off x="5053932" y="3957188"/>
            <a:ext cx="255683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en-US" sz="1200" dirty="0" smtClean="0">
                <a:solidFill>
                  <a:srgbClr val="000000"/>
                </a:solidFill>
              </a:rPr>
              <a:t>…encourage employee volunteering </a:t>
            </a:r>
          </a:p>
        </p:txBody>
      </p:sp>
      <p:sp>
        <p:nvSpPr>
          <p:cNvPr id="38" name="Inhaltsplatzhalter 2"/>
          <p:cNvSpPr txBox="1">
            <a:spLocks/>
          </p:cNvSpPr>
          <p:nvPr/>
        </p:nvSpPr>
        <p:spPr bwMode="gray">
          <a:xfrm>
            <a:off x="5070779" y="4715520"/>
            <a:ext cx="281015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en-US" sz="1200" dirty="0" smtClean="0">
                <a:solidFill>
                  <a:srgbClr val="000000"/>
                </a:solidFill>
              </a:rPr>
              <a:t>…recognize sustainable employee volunteering activities</a:t>
            </a:r>
          </a:p>
        </p:txBody>
      </p:sp>
      <p:sp>
        <p:nvSpPr>
          <p:cNvPr id="39" name="Inhaltsplatzhalter 2"/>
          <p:cNvSpPr txBox="1">
            <a:spLocks/>
          </p:cNvSpPr>
          <p:nvPr/>
        </p:nvSpPr>
        <p:spPr bwMode="gray">
          <a:xfrm>
            <a:off x="5053932" y="3041370"/>
            <a:ext cx="307325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  <a:buClr>
                <a:srgbClr val="000000"/>
              </a:buClr>
              <a:buSzPct val="100000"/>
            </a:pPr>
            <a:r>
              <a:rPr lang="en-US" sz="1200" dirty="0" smtClean="0">
                <a:solidFill>
                  <a:srgbClr val="000000"/>
                </a:solidFill>
              </a:rPr>
              <a:t>… build long-term Corporate Citizenship relations and partnerships</a:t>
            </a:r>
          </a:p>
        </p:txBody>
      </p:sp>
    </p:spTree>
    <p:extLst>
      <p:ext uri="{BB962C8B-B14F-4D97-AF65-F5344CB8AC3E}">
        <p14:creationId xmlns:p14="http://schemas.microsoft.com/office/powerpoint/2010/main" val="246841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3028" y="201600"/>
            <a:ext cx="8316000" cy="712800"/>
          </a:xfrm>
        </p:spPr>
        <p:txBody>
          <a:bodyPr/>
          <a:lstStyle/>
          <a:p>
            <a:r>
              <a:rPr lang="de-DE" dirty="0" err="1" smtClean="0"/>
              <a:t>GoTeach</a:t>
            </a:r>
            <a:r>
              <a:rPr lang="de-DE" dirty="0" smtClean="0"/>
              <a:t> – </a:t>
            </a:r>
            <a:r>
              <a:rPr lang="de-DE" dirty="0" err="1" smtClean="0"/>
              <a:t>Partnership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SOS </a:t>
            </a:r>
            <a:r>
              <a:rPr lang="de-DE" dirty="0" err="1" smtClean="0"/>
              <a:t>Children‘s</a:t>
            </a:r>
            <a:r>
              <a:rPr lang="de-DE" dirty="0" smtClean="0"/>
              <a:t> </a:t>
            </a:r>
            <a:r>
              <a:rPr lang="de-DE" dirty="0" err="1" smtClean="0"/>
              <a:t>Villages</a:t>
            </a:r>
            <a:endParaRPr lang="de-DE" dirty="0"/>
          </a:p>
        </p:txBody>
      </p:sp>
      <p:sp>
        <p:nvSpPr>
          <p:cNvPr id="10" name="AutoShape 36"/>
          <p:cNvSpPr>
            <a:spLocks noChangeArrowheads="1"/>
          </p:cNvSpPr>
          <p:nvPr/>
        </p:nvSpPr>
        <p:spPr bwMode="auto">
          <a:xfrm>
            <a:off x="5381625" y="2610636"/>
            <a:ext cx="3652016" cy="3113889"/>
          </a:xfrm>
          <a:prstGeom prst="roundRect">
            <a:avLst>
              <a:gd name="adj" fmla="val 16667"/>
            </a:avLst>
          </a:prstGeom>
          <a:solidFill>
            <a:schemeClr val="bg1">
              <a:alpha val="75999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4000" tIns="144000" rIns="144000" bIns="144000" anchor="ctr"/>
          <a:lstStyle/>
          <a:p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88267" y="2374696"/>
            <a:ext cx="3165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995363"/>
            <a:r>
              <a:rPr lang="en-GB" b="1" dirty="0" smtClean="0">
                <a:solidFill>
                  <a:srgbClr val="000000"/>
                </a:solidFill>
              </a:rPr>
              <a:t>Mission </a:t>
            </a: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479721" y="4582720"/>
            <a:ext cx="3165475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FCCC1D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36000" bIns="0"/>
          <a:lstStyle/>
          <a:p>
            <a:pPr algn="just"/>
            <a:r>
              <a:rPr lang="en-GB" sz="1400" dirty="0" smtClean="0">
                <a:solidFill>
                  <a:srgbClr val="000000"/>
                </a:solidFill>
              </a:rPr>
              <a:t>Local employees interact with youths and share their experience and expertise to foster their employability. </a:t>
            </a:r>
            <a:r>
              <a:rPr lang="en-US" altLang="de-DE" sz="1400" dirty="0" smtClean="0">
                <a:solidFill>
                  <a:srgbClr val="000000"/>
                </a:solidFill>
              </a:rPr>
              <a:t>We </a:t>
            </a:r>
            <a:r>
              <a:rPr lang="en-US" altLang="de-DE" sz="1400" dirty="0">
                <a:solidFill>
                  <a:srgbClr val="000000"/>
                </a:solidFill>
              </a:rPr>
              <a:t>encourage them to become </a:t>
            </a:r>
            <a:r>
              <a:rPr lang="en-US" altLang="de-DE" sz="1400" b="1" dirty="0">
                <a:solidFill>
                  <a:srgbClr val="000000"/>
                </a:solidFill>
              </a:rPr>
              <a:t>role models </a:t>
            </a:r>
            <a:r>
              <a:rPr lang="en-US" altLang="de-DE" sz="1400" dirty="0">
                <a:solidFill>
                  <a:srgbClr val="000000"/>
                </a:solidFill>
              </a:rPr>
              <a:t>for the young people.</a:t>
            </a:r>
            <a:endParaRPr lang="en-US" sz="1400" b="1" dirty="0">
              <a:solidFill>
                <a:srgbClr val="000000"/>
              </a:solidFill>
            </a:endParaRPr>
          </a:p>
          <a:p>
            <a:pPr defTabSz="863600">
              <a:lnSpc>
                <a:spcPct val="90000"/>
              </a:lnSpc>
              <a:spcAft>
                <a:spcPct val="20000"/>
              </a:spcAft>
              <a:buClr>
                <a:srgbClr val="000000"/>
              </a:buClr>
              <a:buSzPct val="80000"/>
            </a:pPr>
            <a:endParaRPr lang="en-GB" dirty="0" smtClean="0">
              <a:solidFill>
                <a:srgbClr val="000000"/>
              </a:solidFill>
            </a:endParaRPr>
          </a:p>
          <a:p>
            <a:pPr defTabSz="863600">
              <a:lnSpc>
                <a:spcPct val="90000"/>
              </a:lnSpc>
              <a:spcAft>
                <a:spcPct val="20000"/>
              </a:spcAft>
              <a:buClr>
                <a:srgbClr val="000000"/>
              </a:buClr>
              <a:buSzPct val="80000"/>
            </a:pPr>
            <a:endParaRPr kumimoji="1"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531281" y="2746791"/>
            <a:ext cx="3165475" cy="3293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FCCC1D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36000" bIns="0"/>
          <a:lstStyle/>
          <a:p>
            <a:pPr defTabSz="863600">
              <a:lnSpc>
                <a:spcPct val="90000"/>
              </a:lnSpc>
              <a:spcAft>
                <a:spcPct val="20000"/>
              </a:spcAft>
              <a:buClr>
                <a:srgbClr val="000000"/>
              </a:buClr>
              <a:buSzPct val="80000"/>
            </a:pPr>
            <a:r>
              <a:rPr lang="en-GB" sz="1400" dirty="0" smtClean="0">
                <a:solidFill>
                  <a:srgbClr val="000000"/>
                </a:solidFill>
              </a:rPr>
              <a:t>Support young people between 15 - 25 as they make the transition to the world, </a:t>
            </a:r>
            <a:r>
              <a:rPr lang="en-GB" altLang="de-DE" sz="1400" dirty="0" smtClean="0"/>
              <a:t>to </a:t>
            </a:r>
            <a:r>
              <a:rPr lang="en-GB" altLang="de-DE" sz="1400" b="1" dirty="0"/>
              <a:t>support them in their education</a:t>
            </a:r>
            <a:r>
              <a:rPr lang="en-GB" altLang="de-DE" sz="1400" dirty="0"/>
              <a:t> and </a:t>
            </a:r>
            <a:r>
              <a:rPr lang="en-GB" altLang="de-DE" sz="1400" b="1" dirty="0"/>
              <a:t>prepare them for employment</a:t>
            </a:r>
            <a:r>
              <a:rPr lang="en-GB" altLang="de-DE" sz="1400" dirty="0"/>
              <a:t> for them to achieve an </a:t>
            </a:r>
            <a:r>
              <a:rPr lang="en-GB" altLang="de-DE" sz="1400" b="1" dirty="0"/>
              <a:t>independent and sustainable life.</a:t>
            </a:r>
            <a:endParaRPr lang="en-US" sz="1400" dirty="0"/>
          </a:p>
          <a:p>
            <a:pPr defTabSz="863600">
              <a:lnSpc>
                <a:spcPct val="90000"/>
              </a:lnSpc>
              <a:spcAft>
                <a:spcPct val="20000"/>
              </a:spcAft>
              <a:buClr>
                <a:srgbClr val="000000"/>
              </a:buClr>
              <a:buSzPct val="80000"/>
            </a:pPr>
            <a:endParaRPr kumimoji="1" lang="en-GB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5470196" y="4270375"/>
            <a:ext cx="316547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995363"/>
            <a:r>
              <a:rPr lang="en-GB" b="1" dirty="0">
                <a:solidFill>
                  <a:srgbClr val="000000"/>
                </a:solidFill>
              </a:rPr>
              <a:t>Unique </a:t>
            </a:r>
            <a:r>
              <a:rPr lang="en-GB" b="1" dirty="0" smtClean="0">
                <a:solidFill>
                  <a:srgbClr val="000000"/>
                </a:solidFill>
              </a:rPr>
              <a:t>Featu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78397" y="2104473"/>
            <a:ext cx="316547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995363"/>
            <a:r>
              <a:rPr lang="en-GB" b="1" dirty="0">
                <a:solidFill>
                  <a:srgbClr val="000000"/>
                </a:solidFill>
              </a:rPr>
              <a:t>Strategic </a:t>
            </a:r>
            <a:r>
              <a:rPr lang="en-GB" b="1" dirty="0" smtClean="0">
                <a:solidFill>
                  <a:srgbClr val="000000"/>
                </a:solidFill>
              </a:rPr>
              <a:t>partner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3" name="Picture 12" descr="SOS-Umbrella-neg-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5217" y="1988748"/>
            <a:ext cx="2205037" cy="550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28"/>
          <p:cNvSpPr txBox="1">
            <a:spLocks/>
          </p:cNvSpPr>
          <p:nvPr/>
        </p:nvSpPr>
        <p:spPr>
          <a:xfrm>
            <a:off x="488950" y="1235657"/>
            <a:ext cx="8315325" cy="549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rgbClr val="000000"/>
                </a:solidFill>
              </a:rPr>
              <a:t>Our partnership is designed to help young people as they make the transition from education to world of employment: </a:t>
            </a:r>
            <a:r>
              <a:rPr lang="en-US" sz="1800" b="1" dirty="0" smtClean="0">
                <a:solidFill>
                  <a:srgbClr val="000000"/>
                </a:solidFill>
              </a:rPr>
              <a:t>education, empowerment, employment, entrepreneurship</a:t>
            </a:r>
            <a:endParaRPr lang="en-US" sz="1800" b="1" dirty="0">
              <a:solidFill>
                <a:srgbClr val="000000"/>
              </a:solidFill>
            </a:endParaRPr>
          </a:p>
        </p:txBody>
      </p:sp>
      <p:pic>
        <p:nvPicPr>
          <p:cNvPr id="14" name="Picture 2" descr="Y:\GoTeach 3.0\07_SOS\07_08 Communication\05 Material Texte\Logos\SOS-Logo-Int-neg-e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35" y="6119880"/>
            <a:ext cx="1620000" cy="539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Y:\GoTeach 3.0\07_SOS\07_08 Communication\05 Material Texte\Logos\DPDHL_RGB.jpg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208" y="6120201"/>
            <a:ext cx="162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3027" y="2586910"/>
            <a:ext cx="4257761" cy="319332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03151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GoTeach</a:t>
            </a:r>
            <a:r>
              <a:rPr lang="de-DE" dirty="0" smtClean="0"/>
              <a:t> – </a:t>
            </a:r>
            <a:r>
              <a:rPr lang="de-DE" dirty="0" err="1" smtClean="0"/>
              <a:t>Partnership</a:t>
            </a:r>
            <a:r>
              <a:rPr lang="de-DE" dirty="0" smtClean="0"/>
              <a:t> </a:t>
            </a:r>
            <a:r>
              <a:rPr lang="de-DE" dirty="0" err="1" smtClean="0"/>
              <a:t>Activities</a:t>
            </a:r>
            <a:endParaRPr lang="de-DE" dirty="0"/>
          </a:p>
        </p:txBody>
      </p:sp>
      <p:sp>
        <p:nvSpPr>
          <p:cNvPr id="17" name="Text Placeholder 28"/>
          <p:cNvSpPr txBox="1">
            <a:spLocks/>
          </p:cNvSpPr>
          <p:nvPr/>
        </p:nvSpPr>
        <p:spPr>
          <a:xfrm>
            <a:off x="404813" y="1249200"/>
            <a:ext cx="8315325" cy="549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 smtClean="0">
                <a:solidFill>
                  <a:srgbClr val="000000"/>
                </a:solidFill>
              </a:rPr>
              <a:t>Our employees contributing their time and expertise through activities in cooperation with local partners</a:t>
            </a:r>
            <a:endParaRPr lang="en-GB" sz="1800" b="1" dirty="0">
              <a:solidFill>
                <a:srgbClr val="000000"/>
              </a:solidFill>
            </a:endParaRPr>
          </a:p>
          <a:p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4706429" y="1952835"/>
            <a:ext cx="4025228" cy="16920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25" name="Rechteck 24"/>
          <p:cNvSpPr/>
          <p:nvPr/>
        </p:nvSpPr>
        <p:spPr bwMode="auto">
          <a:xfrm>
            <a:off x="4706429" y="4028110"/>
            <a:ext cx="4025228" cy="16920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en-US" sz="1200" dirty="0">
              <a:solidFill>
                <a:srgbClr val="000000"/>
              </a:solidFill>
            </a:endParaRPr>
          </a:p>
        </p:txBody>
      </p:sp>
      <p:pic>
        <p:nvPicPr>
          <p:cNvPr id="27" name="Picture 15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79" b="28732"/>
          <a:stretch/>
        </p:blipFill>
        <p:spPr bwMode="auto">
          <a:xfrm>
            <a:off x="4724400" y="4032130"/>
            <a:ext cx="3995738" cy="1498325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Rechteck 28"/>
          <p:cNvSpPr/>
          <p:nvPr/>
        </p:nvSpPr>
        <p:spPr bwMode="auto">
          <a:xfrm>
            <a:off x="417712" y="1952835"/>
            <a:ext cx="4025228" cy="3101132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4706429" y="3621989"/>
            <a:ext cx="4025228" cy="10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403605" y="3002237"/>
            <a:ext cx="2052000" cy="36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359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Job orientation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3" name="Rechteck 32"/>
          <p:cNvSpPr/>
          <p:nvPr/>
        </p:nvSpPr>
        <p:spPr bwMode="auto">
          <a:xfrm>
            <a:off x="422014" y="5697264"/>
            <a:ext cx="4025228" cy="10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35" name="Rechteck 34"/>
          <p:cNvSpPr/>
          <p:nvPr/>
        </p:nvSpPr>
        <p:spPr bwMode="auto">
          <a:xfrm>
            <a:off x="378326" y="4341034"/>
            <a:ext cx="2052000" cy="36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359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Entrepreneurship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6" name="Rechteck 35"/>
          <p:cNvSpPr/>
          <p:nvPr/>
        </p:nvSpPr>
        <p:spPr bwMode="auto">
          <a:xfrm>
            <a:off x="4706429" y="5697264"/>
            <a:ext cx="4025228" cy="10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417710" y="2073913"/>
            <a:ext cx="2573139" cy="36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359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Soft &amp; basic skills trainings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403605" y="2519540"/>
            <a:ext cx="3253994" cy="36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359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Exposure to work environment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22" name="Picture 2" descr="Y:\GoTeach 3.0\07_SOS\07_08 Communication\05 Material Texte\Logos\SOS-Logo-Int-neg-e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1" y="6119880"/>
            <a:ext cx="1620000" cy="539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 descr="Y:\GoTeach 3.0\07_SOS\07_08 Communication\05 Material Texte\Logos\DPDHL_RGB.jp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208" y="6120201"/>
            <a:ext cx="162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hteck 33"/>
          <p:cNvSpPr/>
          <p:nvPr/>
        </p:nvSpPr>
        <p:spPr bwMode="auto">
          <a:xfrm>
            <a:off x="403605" y="3461450"/>
            <a:ext cx="2052000" cy="36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359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Individual mentoring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8" name="Rechteck 33"/>
          <p:cNvSpPr/>
          <p:nvPr/>
        </p:nvSpPr>
        <p:spPr bwMode="auto">
          <a:xfrm>
            <a:off x="378326" y="3885588"/>
            <a:ext cx="2871362" cy="360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35996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952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</a:rPr>
              <a:t>Internship and job shadowing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3319" y="1943981"/>
            <a:ext cx="2844168" cy="174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74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695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9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272748753"/>
              </p:ext>
            </p:extLst>
          </p:nvPr>
        </p:nvGraphicFramePr>
        <p:xfrm>
          <a:off x="789299" y="2526849"/>
          <a:ext cx="7848601" cy="2363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684524" y="4869277"/>
            <a:ext cx="2003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Madagascar (2009)</a:t>
            </a:r>
            <a:r>
              <a:rPr lang="en-US" sz="1200" b="1" dirty="0" smtClean="0">
                <a:solidFill>
                  <a:srgbClr val="000000"/>
                </a:solidFill>
              </a:rPr>
              <a:t>, </a:t>
            </a:r>
            <a:r>
              <a:rPr lang="en-US" sz="1200" b="1" dirty="0" smtClean="0">
                <a:solidFill>
                  <a:srgbClr val="FF0000"/>
                </a:solidFill>
              </a:rPr>
              <a:t>South Africa</a:t>
            </a:r>
            <a:r>
              <a:rPr lang="en-US" sz="1200" b="1" dirty="0" smtClean="0">
                <a:solidFill>
                  <a:srgbClr val="000000"/>
                </a:solidFill>
              </a:rPr>
              <a:t>, Brazil, Vietnam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2687668" y="4869277"/>
            <a:ext cx="1763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spcAft>
                <a:spcPts val="300"/>
              </a:spcAft>
              <a:defRPr sz="1200" b="1"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Mexico, </a:t>
            </a:r>
            <a:r>
              <a:rPr lang="en-US" dirty="0" smtClean="0">
                <a:solidFill>
                  <a:srgbClr val="FF0000"/>
                </a:solidFill>
              </a:rPr>
              <a:t>Ghana</a:t>
            </a:r>
            <a:r>
              <a:rPr lang="en-US" dirty="0" smtClean="0">
                <a:solidFill>
                  <a:srgbClr val="000000"/>
                </a:solidFill>
              </a:rPr>
              <a:t>, </a:t>
            </a:r>
            <a:r>
              <a:rPr lang="en-US" dirty="0" smtClean="0">
                <a:solidFill>
                  <a:srgbClr val="FF0000"/>
                </a:solidFill>
              </a:rPr>
              <a:t>Kenya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4364815" y="4869277"/>
            <a:ext cx="19462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200" b="1" dirty="0" smtClean="0">
                <a:solidFill>
                  <a:srgbClr val="FF0000"/>
                </a:solidFill>
              </a:rPr>
              <a:t>Jordan</a:t>
            </a:r>
            <a:r>
              <a:rPr lang="en-US" sz="1200" b="1" dirty="0" smtClean="0">
                <a:solidFill>
                  <a:srgbClr val="000000"/>
                </a:solidFill>
              </a:rPr>
              <a:t>, </a:t>
            </a:r>
            <a:r>
              <a:rPr lang="en-US" sz="1200" b="1" dirty="0" smtClean="0">
                <a:solidFill>
                  <a:srgbClr val="FF0000"/>
                </a:solidFill>
              </a:rPr>
              <a:t>Uganda</a:t>
            </a:r>
            <a:r>
              <a:rPr lang="en-US" sz="1200" b="1" dirty="0" smtClean="0">
                <a:solidFill>
                  <a:srgbClr val="000000"/>
                </a:solidFill>
              </a:rPr>
              <a:t>, </a:t>
            </a:r>
            <a:r>
              <a:rPr lang="en-US" sz="1200" b="1" dirty="0" smtClean="0">
                <a:solidFill>
                  <a:srgbClr val="FF0000"/>
                </a:solidFill>
              </a:rPr>
              <a:t>Morocco</a:t>
            </a:r>
            <a:r>
              <a:rPr lang="en-US" sz="1200" b="1" dirty="0" smtClean="0">
                <a:solidFill>
                  <a:srgbClr val="000000"/>
                </a:solidFill>
              </a:rPr>
              <a:t>, Peru, </a:t>
            </a:r>
            <a:r>
              <a:rPr lang="en-US" sz="1200" b="1" dirty="0" smtClean="0">
                <a:solidFill>
                  <a:srgbClr val="FF0000"/>
                </a:solidFill>
              </a:rPr>
              <a:t>Ethiopia</a:t>
            </a:r>
            <a:r>
              <a:rPr lang="en-US" sz="1200" b="1" dirty="0" smtClean="0">
                <a:solidFill>
                  <a:srgbClr val="000000"/>
                </a:solidFill>
              </a:rPr>
              <a:t>, Costa Rica, Panama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105526" y="4869277"/>
            <a:ext cx="2324099" cy="1423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Indonesia, El Salvador, Thailand, </a:t>
            </a:r>
            <a:r>
              <a:rPr lang="en-US" sz="1200" b="1" dirty="0" smtClean="0">
                <a:solidFill>
                  <a:srgbClr val="FF0000"/>
                </a:solidFill>
              </a:rPr>
              <a:t>Mauritius</a:t>
            </a:r>
            <a:r>
              <a:rPr lang="en-US" sz="1200" b="1" dirty="0" smtClean="0">
                <a:solidFill>
                  <a:srgbClr val="000000"/>
                </a:solidFill>
              </a:rPr>
              <a:t>, Colombia, Paraguay, Dominican Republic, Haiti, </a:t>
            </a:r>
            <a:r>
              <a:rPr lang="en-US" sz="1200" b="1" dirty="0" smtClean="0">
                <a:solidFill>
                  <a:srgbClr val="FF0000"/>
                </a:solidFill>
              </a:rPr>
              <a:t>Swaziland</a:t>
            </a:r>
            <a:r>
              <a:rPr lang="en-US" sz="1200" b="1" dirty="0" smtClean="0">
                <a:solidFill>
                  <a:srgbClr val="000000"/>
                </a:solidFill>
              </a:rPr>
              <a:t>, Lithuania, </a:t>
            </a:r>
            <a:r>
              <a:rPr lang="en-US" sz="1200" b="1" dirty="0" smtClean="0">
                <a:solidFill>
                  <a:srgbClr val="FF0000"/>
                </a:solidFill>
              </a:rPr>
              <a:t>Tanzania</a:t>
            </a:r>
            <a:r>
              <a:rPr lang="en-US" sz="1200" b="1" dirty="0" smtClean="0">
                <a:solidFill>
                  <a:srgbClr val="000000"/>
                </a:solidFill>
              </a:rPr>
              <a:t>, </a:t>
            </a:r>
            <a:r>
              <a:rPr lang="en-US" sz="1200" b="1" dirty="0" smtClean="0">
                <a:solidFill>
                  <a:srgbClr val="FF0000"/>
                </a:solidFill>
              </a:rPr>
              <a:t>Nigeria</a:t>
            </a:r>
          </a:p>
          <a:p>
            <a:pPr algn="ctr">
              <a:spcAft>
                <a:spcPts val="300"/>
              </a:spcAft>
            </a:pPr>
            <a:endParaRPr lang="en-US" sz="1200" b="1" dirty="0">
              <a:solidFill>
                <a:srgbClr val="000000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1082955" y="1647824"/>
            <a:ext cx="6489024" cy="2441373"/>
            <a:chOff x="1082955" y="1579958"/>
            <a:chExt cx="6489024" cy="3080740"/>
          </a:xfrm>
        </p:grpSpPr>
        <p:sp>
          <p:nvSpPr>
            <p:cNvPr id="9" name="Form 8"/>
            <p:cNvSpPr/>
            <p:nvPr/>
          </p:nvSpPr>
          <p:spPr>
            <a:xfrm>
              <a:off x="1082955" y="1579958"/>
              <a:ext cx="6489024" cy="3080740"/>
            </a:xfrm>
            <a:prstGeom prst="swooshArrow">
              <a:avLst>
                <a:gd name="adj1" fmla="val 25000"/>
                <a:gd name="adj2" fmla="val 25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  <p:sp>
          <p:nvSpPr>
            <p:cNvPr id="12" name="Freihandform 11"/>
            <p:cNvSpPr/>
            <p:nvPr/>
          </p:nvSpPr>
          <p:spPr>
            <a:xfrm>
              <a:off x="1757378" y="3342140"/>
              <a:ext cx="842890" cy="733216"/>
            </a:xfrm>
            <a:custGeom>
              <a:avLst/>
              <a:gdLst>
                <a:gd name="connsiteX0" fmla="*/ 0 w 842890"/>
                <a:gd name="connsiteY0" fmla="*/ 0 h 733216"/>
                <a:gd name="connsiteX1" fmla="*/ 842890 w 842890"/>
                <a:gd name="connsiteY1" fmla="*/ 0 h 733216"/>
                <a:gd name="connsiteX2" fmla="*/ 842890 w 842890"/>
                <a:gd name="connsiteY2" fmla="*/ 733216 h 733216"/>
                <a:gd name="connsiteX3" fmla="*/ 0 w 842890"/>
                <a:gd name="connsiteY3" fmla="*/ 733216 h 733216"/>
                <a:gd name="connsiteX4" fmla="*/ 0 w 842890"/>
                <a:gd name="connsiteY4" fmla="*/ 0 h 733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2890" h="733216">
                  <a:moveTo>
                    <a:pt x="0" y="0"/>
                  </a:moveTo>
                  <a:lnTo>
                    <a:pt x="842890" y="0"/>
                  </a:lnTo>
                  <a:lnTo>
                    <a:pt x="842890" y="733216"/>
                  </a:lnTo>
                  <a:lnTo>
                    <a:pt x="0" y="73321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073" tIns="0" rIns="0" bIns="0" numCol="1" spcCol="1270" anchor="t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supply-oriented</a:t>
              </a:r>
              <a:endParaRPr lang="en-US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  <p:sp>
          <p:nvSpPr>
            <p:cNvPr id="18" name="Freihandform 17"/>
            <p:cNvSpPr/>
            <p:nvPr/>
          </p:nvSpPr>
          <p:spPr>
            <a:xfrm>
              <a:off x="3247969" y="3252799"/>
              <a:ext cx="1035128" cy="1407898"/>
            </a:xfrm>
            <a:custGeom>
              <a:avLst/>
              <a:gdLst>
                <a:gd name="connsiteX0" fmla="*/ 0 w 1035128"/>
                <a:gd name="connsiteY0" fmla="*/ 0 h 1407898"/>
                <a:gd name="connsiteX1" fmla="*/ 1035128 w 1035128"/>
                <a:gd name="connsiteY1" fmla="*/ 0 h 1407898"/>
                <a:gd name="connsiteX2" fmla="*/ 1035128 w 1035128"/>
                <a:gd name="connsiteY2" fmla="*/ 1407898 h 1407898"/>
                <a:gd name="connsiteX3" fmla="*/ 0 w 1035128"/>
                <a:gd name="connsiteY3" fmla="*/ 1407898 h 1407898"/>
                <a:gd name="connsiteX4" fmla="*/ 0 w 1035128"/>
                <a:gd name="connsiteY4" fmla="*/ 0 h 140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128" h="1407898">
                  <a:moveTo>
                    <a:pt x="0" y="0"/>
                  </a:moveTo>
                  <a:lnTo>
                    <a:pt x="1035128" y="0"/>
                  </a:lnTo>
                  <a:lnTo>
                    <a:pt x="1035128" y="1407898"/>
                  </a:lnTo>
                  <a:lnTo>
                    <a:pt x="0" y="140789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4475" tIns="0" rIns="0" bIns="0" numCol="1" spcCol="1270" anchor="t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  </a:t>
              </a:r>
              <a:endParaRPr lang="en-US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  <p:sp>
          <p:nvSpPr>
            <p:cNvPr id="29" name="Freihandform 28"/>
            <p:cNvSpPr/>
            <p:nvPr/>
          </p:nvSpPr>
          <p:spPr>
            <a:xfrm>
              <a:off x="4302814" y="2756800"/>
              <a:ext cx="1035128" cy="1903897"/>
            </a:xfrm>
            <a:custGeom>
              <a:avLst/>
              <a:gdLst>
                <a:gd name="connsiteX0" fmla="*/ 0 w 1035128"/>
                <a:gd name="connsiteY0" fmla="*/ 0 h 1903897"/>
                <a:gd name="connsiteX1" fmla="*/ 1035128 w 1035128"/>
                <a:gd name="connsiteY1" fmla="*/ 0 h 1903897"/>
                <a:gd name="connsiteX2" fmla="*/ 1035128 w 1035128"/>
                <a:gd name="connsiteY2" fmla="*/ 1903897 h 1903897"/>
                <a:gd name="connsiteX3" fmla="*/ 0 w 1035128"/>
                <a:gd name="connsiteY3" fmla="*/ 1903897 h 1903897"/>
                <a:gd name="connsiteX4" fmla="*/ 0 w 1035128"/>
                <a:gd name="connsiteY4" fmla="*/ 0 h 1903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128" h="1903897">
                  <a:moveTo>
                    <a:pt x="0" y="0"/>
                  </a:moveTo>
                  <a:lnTo>
                    <a:pt x="1035128" y="0"/>
                  </a:lnTo>
                  <a:lnTo>
                    <a:pt x="1035128" y="1903897"/>
                  </a:lnTo>
                  <a:lnTo>
                    <a:pt x="0" y="190389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8429" tIns="0" rIns="0" bIns="0" numCol="1" spcCol="1270" anchor="t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  </a:t>
              </a:r>
              <a:endParaRPr lang="en-US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  <p:sp>
          <p:nvSpPr>
            <p:cNvPr id="31" name="Freihandform 30"/>
            <p:cNvSpPr/>
            <p:nvPr/>
          </p:nvSpPr>
          <p:spPr>
            <a:xfrm>
              <a:off x="5822910" y="2148354"/>
              <a:ext cx="1035128" cy="2208890"/>
            </a:xfrm>
            <a:custGeom>
              <a:avLst/>
              <a:gdLst>
                <a:gd name="connsiteX0" fmla="*/ 0 w 1035128"/>
                <a:gd name="connsiteY0" fmla="*/ 0 h 2208890"/>
                <a:gd name="connsiteX1" fmla="*/ 1035128 w 1035128"/>
                <a:gd name="connsiteY1" fmla="*/ 0 h 2208890"/>
                <a:gd name="connsiteX2" fmla="*/ 1035128 w 1035128"/>
                <a:gd name="connsiteY2" fmla="*/ 2208890 h 2208890"/>
                <a:gd name="connsiteX3" fmla="*/ 0 w 1035128"/>
                <a:gd name="connsiteY3" fmla="*/ 2208890 h 2208890"/>
                <a:gd name="connsiteX4" fmla="*/ 0 w 1035128"/>
                <a:gd name="connsiteY4" fmla="*/ 0 h 2208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5128" h="2208890">
                  <a:moveTo>
                    <a:pt x="0" y="0"/>
                  </a:moveTo>
                  <a:lnTo>
                    <a:pt x="1035128" y="0"/>
                  </a:lnTo>
                  <a:lnTo>
                    <a:pt x="1035128" y="2208890"/>
                  </a:lnTo>
                  <a:lnTo>
                    <a:pt x="0" y="22088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5443" tIns="0" rIns="0" bIns="0" numCol="1" spcCol="1270" anchor="t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demand-driven</a:t>
              </a:r>
              <a:endParaRPr lang="en-US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</p:grpSp>
      <p:sp>
        <p:nvSpPr>
          <p:cNvPr id="27" name="Text Placeholder 28"/>
          <p:cNvSpPr txBox="1">
            <a:spLocks/>
          </p:cNvSpPr>
          <p:nvPr/>
        </p:nvSpPr>
        <p:spPr>
          <a:xfrm>
            <a:off x="471488" y="1249201"/>
            <a:ext cx="8315325" cy="751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tx1"/>
              </a:buClr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>
                <a:schemeClr val="tx1"/>
              </a:buClr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>
              <a:buClr>
                <a:srgbClr val="000000"/>
              </a:buClr>
              <a:defRPr/>
            </a:pPr>
            <a:r>
              <a:rPr lang="en-US" dirty="0" smtClean="0">
                <a:solidFill>
                  <a:srgbClr val="000000"/>
                </a:solidFill>
              </a:rPr>
              <a:t>The growing number of active partner countries manifests the growing demand for partnership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58475" y="467999"/>
            <a:ext cx="8208000" cy="517839"/>
          </a:xfrm>
        </p:spPr>
        <p:txBody>
          <a:bodyPr/>
          <a:lstStyle/>
          <a:p>
            <a:r>
              <a:rPr lang="en-US" dirty="0" smtClean="0"/>
              <a:t>Partnership development 2011-2015</a:t>
            </a:r>
            <a:endParaRPr lang="en-US" dirty="0"/>
          </a:p>
        </p:txBody>
      </p:sp>
      <p:pic>
        <p:nvPicPr>
          <p:cNvPr id="16" name="Picture 2" descr="Y:\GoTeach 3.0\07_SOS\07_08 Communication\05 Material Texte\Logos\SOS-Logo-Int-neg-e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1" y="6119880"/>
            <a:ext cx="1620000" cy="539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 descr="Y:\GoTeach 3.0\07_SOS\07_08 Communication\05 Material Texte\Logos\DPDHL_RGB.jpg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208" y="6120201"/>
            <a:ext cx="162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205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26478" y="616341"/>
            <a:ext cx="3618764" cy="24110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1"/>
          <p:cNvSpPr>
            <a:spLocks noChangeArrowheads="1"/>
          </p:cNvSpPr>
          <p:nvPr/>
        </p:nvSpPr>
        <p:spPr bwMode="auto">
          <a:xfrm>
            <a:off x="29596" y="31566"/>
            <a:ext cx="912891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altLang="de-DE" sz="1600" b="1" dirty="0" smtClean="0"/>
              <a:t>2014: The </a:t>
            </a:r>
            <a:r>
              <a:rPr lang="en-US" altLang="de-DE" sz="1600" b="1" dirty="0"/>
              <a:t>CEO Award Gold 2014, category Living Responsibility, </a:t>
            </a:r>
            <a:endParaRPr lang="en-US" altLang="de-DE" sz="1600" b="1" dirty="0" smtClean="0"/>
          </a:p>
          <a:p>
            <a:pPr algn="ctr"/>
            <a:r>
              <a:rPr lang="en-US" altLang="de-DE" sz="1600" b="1" dirty="0" smtClean="0"/>
              <a:t>goes </a:t>
            </a:r>
            <a:r>
              <a:rPr lang="en-US" altLang="de-DE" sz="1600" b="1" dirty="0"/>
              <a:t>to the GoTeach partnership with SOS Children’s Villages.</a:t>
            </a:r>
            <a:endParaRPr lang="en-US" altLang="de-DE" sz="1600" dirty="0"/>
          </a:p>
        </p:txBody>
      </p:sp>
      <p:pic>
        <p:nvPicPr>
          <p:cNvPr id="6" name="Picture 2" descr="Y:\GoTeach 3.0\07_SOS\07_08 Communication\05 Material Texte\Logos\SOS-Logo-Int-neg-e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1" y="6119880"/>
            <a:ext cx="1620000" cy="539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Y:\GoTeach 3.0\07_SOS\07_08 Communication\05 Material Texte\Logos\DPDHL_RGB.jpg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208" y="6120201"/>
            <a:ext cx="162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4"/>
          <p:cNvSpPr txBox="1"/>
          <p:nvPr/>
        </p:nvSpPr>
        <p:spPr>
          <a:xfrm>
            <a:off x="29596" y="3029396"/>
            <a:ext cx="91704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" pitchFamily="34" charset="0"/>
                <a:ea typeface="ＭＳ Ｐゴシック" pitchFamily="34" charset="-128"/>
              </a:rPr>
              <a:t>2017: Certificates of recognition from The Malagasy Ministry of National Education </a:t>
            </a:r>
            <a:endParaRPr lang="en-US" sz="1600" b="1" dirty="0" smtClean="0">
              <a:latin typeface="Arial" pitchFamily="34" charset="0"/>
              <a:ea typeface="ＭＳ Ｐゴシック" pitchFamily="34" charset="-128"/>
            </a:endParaRPr>
          </a:p>
          <a:p>
            <a:pPr algn="ctr"/>
            <a:r>
              <a:rPr lang="en-US" sz="1600" b="1" dirty="0" smtClean="0">
                <a:latin typeface="Arial" pitchFamily="34" charset="0"/>
                <a:ea typeface="ＭＳ Ｐゴシック" pitchFamily="34" charset="-128"/>
              </a:rPr>
              <a:t>and </a:t>
            </a:r>
            <a:r>
              <a:rPr lang="en-US" sz="1600" b="1" dirty="0">
                <a:latin typeface="Arial" pitchFamily="34" charset="0"/>
                <a:ea typeface="ＭＳ Ｐゴシック" pitchFamily="34" charset="-128"/>
              </a:rPr>
              <a:t>UNESC0</a:t>
            </a: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492" y="3641108"/>
            <a:ext cx="3677750" cy="2451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10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47" name="think-cell Folie" r:id="rId5" imgW="0" imgH="0" progId="">
                  <p:embed/>
                </p:oleObj>
              </mc:Choice>
              <mc:Fallback>
                <p:oleObj name="think-cell Folie" r:id="rId5" imgW="0" imgH="0" progId="">
                  <p:embed/>
                  <p:pic>
                    <p:nvPicPr>
                      <p:cNvPr id="0" name="AutoShape 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le 1"/>
          <p:cNvSpPr>
            <a:spLocks noGrp="1"/>
          </p:cNvSpPr>
          <p:nvPr>
            <p:ph type="title" idx="4294967295"/>
          </p:nvPr>
        </p:nvSpPr>
        <p:spPr>
          <a:xfrm>
            <a:off x="0" y="423863"/>
            <a:ext cx="3966693" cy="312737"/>
          </a:xfrm>
        </p:spPr>
        <p:txBody>
          <a:bodyPr/>
          <a:lstStyle/>
          <a:p>
            <a:r>
              <a:rPr lang="de-DE" altLang="en-US" dirty="0" smtClean="0"/>
              <a:t>        2016 GoTeach Global </a:t>
            </a:r>
            <a:r>
              <a:rPr lang="de-DE" altLang="en-US" dirty="0" err="1" smtClean="0"/>
              <a:t>Figures</a:t>
            </a:r>
            <a:endParaRPr lang="en-GB" altLang="en-US" dirty="0" smtClean="0"/>
          </a:p>
        </p:txBody>
      </p:sp>
      <p:sp>
        <p:nvSpPr>
          <p:cNvPr id="6148" name="Rectangle 2"/>
          <p:cNvSpPr>
            <a:spLocks noChangeArrowheads="1"/>
          </p:cNvSpPr>
          <p:nvPr/>
        </p:nvSpPr>
        <p:spPr bwMode="auto">
          <a:xfrm>
            <a:off x="412751" y="833913"/>
            <a:ext cx="3455518" cy="3231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300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de-DE" altLang="en-US" sz="18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172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youth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activities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1.736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youth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reached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1142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smtClean="0"/>
              <a:t>DP DHL </a:t>
            </a:r>
            <a:r>
              <a:rPr lang="de-DE" altLang="en-US" sz="1600" dirty="0" err="1" smtClean="0"/>
              <a:t>employees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reached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123 </a:t>
            </a:r>
            <a:r>
              <a:rPr lang="de-DE" altLang="en-US" sz="1600" dirty="0" err="1" smtClean="0"/>
              <a:t>internships</a:t>
            </a:r>
            <a:r>
              <a:rPr lang="de-DE" altLang="en-US" sz="1600" dirty="0" smtClean="0"/>
              <a:t> and </a:t>
            </a:r>
            <a:r>
              <a:rPr lang="de-DE" altLang="en-US" sz="1600" dirty="0" err="1" smtClean="0"/>
              <a:t>job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shadowing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20.000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volunteer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hours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40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youth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employed</a:t>
            </a:r>
            <a:r>
              <a:rPr lang="de-DE" altLang="en-US" sz="1600" dirty="0" smtClean="0"/>
              <a:t> </a:t>
            </a:r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55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smtClean="0"/>
              <a:t>external </a:t>
            </a:r>
            <a:r>
              <a:rPr lang="de-DE" altLang="en-US" sz="1600" dirty="0" err="1" smtClean="0"/>
              <a:t>partners</a:t>
            </a:r>
            <a:endParaRPr lang="de-DE" altLang="en-US" sz="1600" dirty="0" smtClean="0"/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de-DE" altLang="en-US" sz="1800" dirty="0" smtClean="0"/>
          </a:p>
        </p:txBody>
      </p:sp>
      <p:sp>
        <p:nvSpPr>
          <p:cNvPr id="6150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300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spcAft>
                <a:spcPct val="0"/>
              </a:spcAft>
              <a:buClrTx/>
              <a:buSzTx/>
              <a:buFontTx/>
              <a:buNone/>
            </a:pPr>
            <a:fld id="{02582339-8DF8-414A-AABD-63AA6A44ED21}" type="slidenum">
              <a:rPr altLang="en-US" sz="1200" smtClean="0"/>
              <a:pPr>
                <a:spcAft>
                  <a:spcPct val="0"/>
                </a:spcAft>
                <a:buClrTx/>
                <a:buSzTx/>
                <a:buFontTx/>
                <a:buNone/>
              </a:pPr>
              <a:t>7</a:t>
            </a:fld>
            <a:endParaRPr altLang="en-US" sz="1200" smtClean="0"/>
          </a:p>
        </p:txBody>
      </p:sp>
      <p:pic>
        <p:nvPicPr>
          <p:cNvPr id="7" name="Picture 2" descr="Y:\GoTeach 3.0\07_SOS\07_08 Communication\05 Material Texte\Logos\SOS-Logo-Int-neg-e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1" y="6119880"/>
            <a:ext cx="1620000" cy="539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Y:\GoTeach 3.0\07_SOS\07_08 Communication\05 Material Texte\Logos\DPDHL_RGB.jpg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208" y="6120201"/>
            <a:ext cx="162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4696972" y="390846"/>
            <a:ext cx="36730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altLang="en-US" dirty="0" err="1" smtClean="0"/>
              <a:t>GoTeach</a:t>
            </a:r>
            <a:r>
              <a:rPr lang="de-DE" altLang="en-US" dirty="0" smtClean="0"/>
              <a:t> Madagascar </a:t>
            </a:r>
            <a:r>
              <a:rPr lang="de-DE" altLang="en-US" dirty="0" err="1" smtClean="0"/>
              <a:t>Figures</a:t>
            </a:r>
            <a:endParaRPr lang="fr-FR" dirty="0"/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696972" y="1042166"/>
            <a:ext cx="4572000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300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de-DE" altLang="en-US" sz="18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45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activities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for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youth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2015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youth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reached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230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smtClean="0"/>
              <a:t>DP </a:t>
            </a:r>
            <a:r>
              <a:rPr lang="de-DE" altLang="en-US" sz="1600" dirty="0" err="1" smtClean="0"/>
              <a:t>DHLvolunteers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reached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42 </a:t>
            </a:r>
            <a:r>
              <a:rPr lang="de-DE" altLang="en-US" sz="1600" dirty="0" err="1" smtClean="0"/>
              <a:t>profesional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internships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9.000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hours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of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volunteering</a:t>
            </a:r>
            <a:endParaRPr lang="de-DE" altLang="en-US" sz="1600" dirty="0" smtClean="0"/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de-DE" altLang="en-US" sz="1600" b="1" dirty="0" smtClean="0">
                <a:solidFill>
                  <a:srgbClr val="C00000"/>
                </a:solidFill>
              </a:rPr>
              <a:t>30</a:t>
            </a:r>
            <a:r>
              <a:rPr lang="de-DE" altLang="en-US" sz="1600" dirty="0" smtClean="0">
                <a:solidFill>
                  <a:srgbClr val="C00000"/>
                </a:solidFill>
              </a:rPr>
              <a:t> </a:t>
            </a:r>
            <a:r>
              <a:rPr lang="de-DE" altLang="en-US" sz="1600" dirty="0" err="1" smtClean="0"/>
              <a:t>youth</a:t>
            </a:r>
            <a:r>
              <a:rPr lang="de-DE" altLang="en-US" sz="1600" dirty="0" smtClean="0"/>
              <a:t> </a:t>
            </a:r>
            <a:r>
              <a:rPr lang="de-DE" altLang="en-US" sz="1600" dirty="0" err="1" smtClean="0"/>
              <a:t>employed</a:t>
            </a:r>
            <a:endParaRPr lang="de-DE" altLang="en-US" sz="1600" dirty="0" smtClean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-273026" y="3889877"/>
            <a:ext cx="9005888" cy="17671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 cap="none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altLang="en-US" dirty="0" smtClean="0"/>
              <a:t> </a:t>
            </a:r>
            <a:r>
              <a:rPr lang="de-DE" altLang="en-US" sz="1800" dirty="0" smtClean="0"/>
              <a:t>       </a:t>
            </a:r>
            <a:r>
              <a:rPr lang="de-DE" altLang="en-US" sz="1800" b="1" dirty="0" smtClean="0"/>
              <a:t>ACTIVITIES GOTEACH MADAGASCAR UNTIL NOW</a:t>
            </a:r>
            <a:endParaRPr lang="en-GB" altLang="en-US" sz="1800" b="1" dirty="0" smtClean="0"/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400268" y="3906020"/>
            <a:ext cx="4572000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300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de-DE" altLang="en-US" sz="1800" dirty="0" smtClean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err="1" smtClean="0"/>
              <a:t>Profesional</a:t>
            </a:r>
            <a:r>
              <a:rPr lang="de-DE" altLang="en-US" sz="1800" dirty="0" smtClean="0"/>
              <a:t> </a:t>
            </a:r>
            <a:r>
              <a:rPr lang="de-DE" altLang="en-US" sz="1800" dirty="0" err="1" smtClean="0"/>
              <a:t>mentoring</a:t>
            </a:r>
            <a:endParaRPr lang="de-DE" altLang="en-US" sz="1800" dirty="0" smtClean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err="1" smtClean="0"/>
              <a:t>Profesional</a:t>
            </a:r>
            <a:r>
              <a:rPr lang="de-DE" altLang="en-US" sz="1800" dirty="0" smtClean="0"/>
              <a:t> </a:t>
            </a:r>
            <a:r>
              <a:rPr lang="de-DE" altLang="en-US" sz="1800" dirty="0" err="1" smtClean="0"/>
              <a:t>internship</a:t>
            </a:r>
            <a:endParaRPr lang="de-DE" altLang="en-US" sz="1800" dirty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smtClean="0"/>
              <a:t>Discovery Trades</a:t>
            </a:r>
            <a:endParaRPr lang="de-DE" altLang="en-US" sz="1800" dirty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err="1" smtClean="0"/>
              <a:t>Visit</a:t>
            </a:r>
            <a:r>
              <a:rPr lang="de-DE" altLang="en-US" sz="1800" dirty="0" smtClean="0"/>
              <a:t> </a:t>
            </a:r>
            <a:r>
              <a:rPr lang="de-DE" altLang="en-US" sz="1800" dirty="0" err="1" smtClean="0"/>
              <a:t>of</a:t>
            </a:r>
            <a:r>
              <a:rPr lang="de-DE" altLang="en-US" sz="1800" dirty="0" smtClean="0"/>
              <a:t> </a:t>
            </a:r>
            <a:r>
              <a:rPr lang="de-DE" altLang="en-US" sz="1800" dirty="0" err="1" smtClean="0"/>
              <a:t>airport</a:t>
            </a:r>
            <a:r>
              <a:rPr lang="de-DE" altLang="en-US" sz="1800" dirty="0"/>
              <a:t> </a:t>
            </a:r>
            <a:r>
              <a:rPr lang="de-DE" altLang="en-US" sz="1800" dirty="0" smtClean="0"/>
              <a:t>and </a:t>
            </a:r>
            <a:r>
              <a:rPr lang="de-DE" altLang="en-US" sz="1800" dirty="0" err="1" smtClean="0"/>
              <a:t>historical</a:t>
            </a:r>
            <a:r>
              <a:rPr lang="de-DE" altLang="en-US" sz="1800" dirty="0" smtClean="0"/>
              <a:t> </a:t>
            </a:r>
            <a:r>
              <a:rPr lang="de-DE" altLang="en-US" sz="1800" dirty="0" err="1" smtClean="0"/>
              <a:t>sites</a:t>
            </a:r>
            <a:endParaRPr lang="de-DE" altLang="en-US" sz="1800" dirty="0"/>
          </a:p>
          <a:p>
            <a:pPr marL="285750" indent="-2857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endParaRPr lang="de-DE" altLang="en-US" dirty="0" smtClean="0"/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4696972" y="3978234"/>
            <a:ext cx="4572000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ct val="30000"/>
              </a:spcAft>
              <a:buClr>
                <a:srgbClr val="000000"/>
              </a:buClr>
              <a:buSzPct val="100000"/>
              <a:buChar char=" "/>
              <a:defRPr sz="1400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30000"/>
              </a:spcAft>
              <a:buSzPct val="100000"/>
              <a:buChar char="•"/>
              <a:defRPr sz="1400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30000"/>
              </a:spcAft>
              <a:buSzPct val="100000"/>
              <a:buFont typeface="Wingdings" pitchFamily="2" charset="2"/>
              <a:buChar char="s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30000"/>
              </a:spcAft>
              <a:buSzPct val="100000"/>
              <a:buFont typeface="Arial" charset="0"/>
              <a:buChar char="∙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de-DE" altLang="en-US" sz="1800" dirty="0" smtClean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smtClean="0"/>
              <a:t>Forum </a:t>
            </a:r>
            <a:r>
              <a:rPr lang="de-DE" altLang="en-US" sz="1800" dirty="0" err="1" smtClean="0"/>
              <a:t>of</a:t>
            </a:r>
            <a:r>
              <a:rPr lang="de-DE" altLang="en-US" sz="1800" dirty="0" smtClean="0"/>
              <a:t> </a:t>
            </a:r>
            <a:r>
              <a:rPr lang="de-DE" altLang="en-US" sz="1800" dirty="0" err="1" smtClean="0"/>
              <a:t>works</a:t>
            </a:r>
            <a:endParaRPr lang="de-DE" altLang="en-US" sz="1800" dirty="0" smtClean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err="1" smtClean="0"/>
              <a:t>Olympics</a:t>
            </a:r>
            <a:endParaRPr lang="de-DE" altLang="en-US" sz="1800" dirty="0" smtClean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smtClean="0"/>
              <a:t>Youth </a:t>
            </a:r>
            <a:r>
              <a:rPr lang="de-DE" altLang="en-US" sz="1800" dirty="0" err="1" smtClean="0"/>
              <a:t>employment</a:t>
            </a:r>
            <a:endParaRPr lang="de-DE" altLang="en-US" sz="1800" dirty="0" smtClean="0"/>
          </a:p>
          <a:p>
            <a:pPr marL="285750" indent="-2857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r>
              <a:rPr lang="de-DE" altLang="en-US" sz="1800" dirty="0" smtClean="0"/>
              <a:t>Global </a:t>
            </a:r>
            <a:r>
              <a:rPr lang="de-DE" altLang="en-US" sz="1800" dirty="0" err="1"/>
              <a:t>V</a:t>
            </a:r>
            <a:r>
              <a:rPr lang="de-DE" altLang="en-US" sz="1800" dirty="0" err="1" smtClean="0"/>
              <a:t>olunteer</a:t>
            </a:r>
            <a:r>
              <a:rPr lang="de-DE" altLang="en-US" sz="1800" dirty="0" smtClean="0"/>
              <a:t> Day</a:t>
            </a:r>
          </a:p>
          <a:p>
            <a:pPr marL="285750" indent="-285750"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</a:pPr>
            <a:endParaRPr lang="de-DE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8823154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8" r="2340" b="4232"/>
          <a:stretch/>
        </p:blipFill>
        <p:spPr bwMode="auto">
          <a:xfrm>
            <a:off x="543596" y="389673"/>
            <a:ext cx="3649875" cy="146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197404" y="3270999"/>
            <a:ext cx="8610642" cy="1761694"/>
            <a:chOff x="3210346" y="3956010"/>
            <a:chExt cx="5060716" cy="965402"/>
          </a:xfrm>
        </p:grpSpPr>
        <p:pic>
          <p:nvPicPr>
            <p:cNvPr id="260" name="Picture 2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06630" y="3956010"/>
              <a:ext cx="864432" cy="9566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6" name="Picture 12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"/>
            <a:stretch/>
          </p:blipFill>
          <p:spPr bwMode="auto">
            <a:xfrm>
              <a:off x="4486380" y="3958223"/>
              <a:ext cx="1887611" cy="963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7" name="Picture 13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210346" y="3958226"/>
              <a:ext cx="1174539" cy="954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0" name="Picture 2" descr="R:\65 ORG UNITS\FDC\06 LEADERSHIP GIVING\Corporate Partners\International-partners\ICP-key-account\Marriott\Marketing &amp; Press\2014\Word of opportunities - visuals\Germany\CE SOSCV BErlin David.jpg"/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24285" y="3966282"/>
              <a:ext cx="926925" cy="955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280" y="5219955"/>
            <a:ext cx="1970688" cy="640648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2530903" y="5032692"/>
            <a:ext cx="1988869" cy="1021692"/>
            <a:chOff x="622661" y="4837285"/>
            <a:chExt cx="1373958" cy="853009"/>
          </a:xfrm>
        </p:grpSpPr>
        <p:pic>
          <p:nvPicPr>
            <p:cNvPr id="17" name="Picture 2" descr="R:\65 ORG UNITS\FDC\06 LEADERSHIP GIVING\Corporate Partners\International-partners\AkzoNobel\Visuals\LOGOS\AkzoNobel logo\LOGO package\The-Dulux-Shape\The Dulux Shape\Dulux-logo-detail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61" y="4837285"/>
              <a:ext cx="1373958" cy="5984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3" descr="R:\65 ORG UNITS\FDC\06 LEADERSHIP GIVING\Corporate Partners\International-partners\AkzoNobel\Visuals\LOGOS\AkzoNobel logo\akzonobel-logo.gif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733" y="5317985"/>
              <a:ext cx="1243792" cy="3723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9" name="Picture 4" descr="R:\65 ORG UNITS\FDC\06 LEADERSHIP GIVING\Corporate Partners\International-partners\ALLIANZ\Communication\Logos\Allianz logo white background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523" y="5107592"/>
            <a:ext cx="2158394" cy="809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85237" y="2187753"/>
            <a:ext cx="84690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Arial"/>
                <a:ea typeface="ＭＳ Ｐゴシック" pitchFamily="30" charset="-128"/>
                <a:cs typeface="ＭＳ Ｐゴシック" pitchFamily="30" charset="-128"/>
              </a:rPr>
              <a:t>Global multi-stakeholder partnership </a:t>
            </a:r>
          </a:p>
          <a:p>
            <a:pPr algn="ctr"/>
            <a:r>
              <a:rPr lang="en-US" sz="2400" b="1" dirty="0" smtClean="0">
                <a:latin typeface="Arial"/>
                <a:ea typeface="ＭＳ Ｐゴシック" pitchFamily="30" charset="-128"/>
                <a:cs typeface="ＭＳ Ｐゴシック" pitchFamily="30" charset="-128"/>
              </a:rPr>
              <a:t>to strengthen youth employability </a:t>
            </a:r>
            <a:endParaRPr lang="en-US" sz="2400" b="1" dirty="0">
              <a:latin typeface="Arial"/>
              <a:ea typeface="ＭＳ Ｐゴシック" pitchFamily="30" charset="-128"/>
              <a:cs typeface="ＭＳ Ｐゴシック" pitchFamily="30" charset="-128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194093" y="245652"/>
            <a:ext cx="3474434" cy="657889"/>
            <a:chOff x="5194093" y="245652"/>
            <a:chExt cx="3474434" cy="657889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94093" y="251914"/>
              <a:ext cx="651627" cy="651627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14250" y="251915"/>
              <a:ext cx="648000" cy="648000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19382" y="246651"/>
              <a:ext cx="648000" cy="648000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0301" y="251911"/>
              <a:ext cx="648000" cy="648000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20527" y="245652"/>
              <a:ext cx="648000" cy="648000"/>
            </a:xfrm>
            <a:prstGeom prst="rect">
              <a:avLst/>
            </a:prstGeom>
          </p:spPr>
        </p:pic>
      </p:grpSp>
      <p:pic>
        <p:nvPicPr>
          <p:cNvPr id="26" name="Picture 2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12984"/>
            <a:ext cx="1078706" cy="35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/>
          <p:cNvPicPr/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375" y="5268920"/>
            <a:ext cx="1470803" cy="62830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033" y="6131773"/>
            <a:ext cx="845750" cy="650382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4135" y="6030881"/>
            <a:ext cx="1470433" cy="827119"/>
          </a:xfrm>
          <a:prstGeom prst="rect">
            <a:avLst/>
          </a:prstGeom>
        </p:spPr>
      </p:pic>
      <p:pic>
        <p:nvPicPr>
          <p:cNvPr id="25" name="Picture 4" descr="image001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4583" y="6054384"/>
            <a:ext cx="1709346" cy="665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n 5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1895" y="1757939"/>
            <a:ext cx="1440692" cy="107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297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-6069" y="1028136"/>
            <a:ext cx="91439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/>
              <a:t>19 YouthCan! Countries/ 9 for 2017 and 10 planned for 2018</a:t>
            </a:r>
            <a:endParaRPr lang="en-US" sz="2400" b="1" dirty="0"/>
          </a:p>
        </p:txBody>
      </p:sp>
      <p:sp>
        <p:nvSpPr>
          <p:cNvPr id="4" name="Rectangle 3"/>
          <p:cNvSpPr/>
          <p:nvPr/>
        </p:nvSpPr>
        <p:spPr>
          <a:xfrm>
            <a:off x="742716" y="3941168"/>
            <a:ext cx="1033761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dirty="0" smtClean="0"/>
              <a:t>Latin America &amp; the Caribbean</a:t>
            </a:r>
            <a:endParaRPr lang="en-US" sz="1100" b="1" dirty="0" smtClean="0">
              <a:solidFill>
                <a:srgbClr val="262626"/>
              </a:solidFill>
            </a:endParaRPr>
          </a:p>
          <a:p>
            <a:pPr lvl="0"/>
            <a:r>
              <a:rPr lang="en-US" sz="1100" b="1" dirty="0" smtClean="0">
                <a:solidFill>
                  <a:srgbClr val="92D050"/>
                </a:solidFill>
              </a:rPr>
              <a:t>Costa Rica</a:t>
            </a:r>
          </a:p>
          <a:p>
            <a:r>
              <a:rPr lang="en-US" sz="1100" b="1" dirty="0" smtClean="0">
                <a:solidFill>
                  <a:srgbClr val="92D050"/>
                </a:solidFill>
              </a:rPr>
              <a:t>Brazil</a:t>
            </a:r>
          </a:p>
          <a:p>
            <a:r>
              <a:rPr lang="en-US" sz="1100" b="1" dirty="0" smtClean="0">
                <a:solidFill>
                  <a:srgbClr val="92D050"/>
                </a:solidFill>
              </a:rPr>
              <a:t>Colombia</a:t>
            </a:r>
          </a:p>
          <a:p>
            <a:r>
              <a:rPr lang="en-US" sz="1100" b="1" dirty="0" smtClean="0">
                <a:solidFill>
                  <a:srgbClr val="FFC000"/>
                </a:solidFill>
              </a:rPr>
              <a:t>Argentina</a:t>
            </a:r>
          </a:p>
          <a:p>
            <a:r>
              <a:rPr lang="en-US" sz="1100" b="1" dirty="0" smtClean="0">
                <a:solidFill>
                  <a:srgbClr val="FFC000"/>
                </a:solidFill>
              </a:rPr>
              <a:t>Bolivia</a:t>
            </a:r>
            <a:endParaRPr lang="en-US" sz="1100" b="1" dirty="0">
              <a:solidFill>
                <a:srgbClr val="FFC000"/>
              </a:solidFill>
            </a:endParaRPr>
          </a:p>
        </p:txBody>
      </p:sp>
      <p:sp>
        <p:nvSpPr>
          <p:cNvPr id="14" name="Zypern"/>
          <p:cNvSpPr>
            <a:spLocks/>
          </p:cNvSpPr>
          <p:nvPr/>
        </p:nvSpPr>
        <p:spPr bwMode="gray">
          <a:xfrm>
            <a:off x="4901471" y="3104230"/>
            <a:ext cx="60325" cy="34925"/>
          </a:xfrm>
          <a:custGeom>
            <a:avLst/>
            <a:gdLst>
              <a:gd name="T0" fmla="*/ 0 w 150"/>
              <a:gd name="T1" fmla="*/ 2147483647 h 84"/>
              <a:gd name="T2" fmla="*/ 2147483647 w 150"/>
              <a:gd name="T3" fmla="*/ 2147483647 h 84"/>
              <a:gd name="T4" fmla="*/ 2147483647 w 150"/>
              <a:gd name="T5" fmla="*/ 2147483647 h 84"/>
              <a:gd name="T6" fmla="*/ 2147483647 w 150"/>
              <a:gd name="T7" fmla="*/ 2147483647 h 84"/>
              <a:gd name="T8" fmla="*/ 2147483647 w 150"/>
              <a:gd name="T9" fmla="*/ 2147483647 h 84"/>
              <a:gd name="T10" fmla="*/ 2147483647 w 150"/>
              <a:gd name="T11" fmla="*/ 2147483647 h 84"/>
              <a:gd name="T12" fmla="*/ 2147483647 w 150"/>
              <a:gd name="T13" fmla="*/ 2147483647 h 84"/>
              <a:gd name="T14" fmla="*/ 2147483647 w 150"/>
              <a:gd name="T15" fmla="*/ 2147483647 h 84"/>
              <a:gd name="T16" fmla="*/ 2147483647 w 150"/>
              <a:gd name="T17" fmla="*/ 2147483647 h 84"/>
              <a:gd name="T18" fmla="*/ 2147483647 w 150"/>
              <a:gd name="T19" fmla="*/ 2147483647 h 84"/>
              <a:gd name="T20" fmla="*/ 2147483647 w 150"/>
              <a:gd name="T21" fmla="*/ 2147483647 h 84"/>
              <a:gd name="T22" fmla="*/ 2147483647 w 150"/>
              <a:gd name="T23" fmla="*/ 2147483647 h 84"/>
              <a:gd name="T24" fmla="*/ 2147483647 w 150"/>
              <a:gd name="T25" fmla="*/ 2147483647 h 84"/>
              <a:gd name="T26" fmla="*/ 2147483647 w 150"/>
              <a:gd name="T27" fmla="*/ 0 h 84"/>
              <a:gd name="T28" fmla="*/ 2147483647 w 150"/>
              <a:gd name="T29" fmla="*/ 2147483647 h 84"/>
              <a:gd name="T30" fmla="*/ 2147483647 w 150"/>
              <a:gd name="T31" fmla="*/ 2147483647 h 84"/>
              <a:gd name="T32" fmla="*/ 2147483647 w 150"/>
              <a:gd name="T33" fmla="*/ 2147483647 h 84"/>
              <a:gd name="T34" fmla="*/ 2147483647 w 150"/>
              <a:gd name="T35" fmla="*/ 2147483647 h 84"/>
              <a:gd name="T36" fmla="*/ 2147483647 w 150"/>
              <a:gd name="T37" fmla="*/ 2147483647 h 84"/>
              <a:gd name="T38" fmla="*/ 0 w 150"/>
              <a:gd name="T39" fmla="*/ 2147483647 h 84"/>
              <a:gd name="T40" fmla="*/ 0 w 150"/>
              <a:gd name="T41" fmla="*/ 2147483647 h 8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50"/>
              <a:gd name="T64" fmla="*/ 0 h 84"/>
              <a:gd name="T65" fmla="*/ 150 w 150"/>
              <a:gd name="T66" fmla="*/ 84 h 8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50" h="84">
                <a:moveTo>
                  <a:pt x="0" y="48"/>
                </a:moveTo>
                <a:lnTo>
                  <a:pt x="6" y="60"/>
                </a:lnTo>
                <a:lnTo>
                  <a:pt x="30" y="72"/>
                </a:lnTo>
                <a:lnTo>
                  <a:pt x="36" y="84"/>
                </a:lnTo>
                <a:lnTo>
                  <a:pt x="54" y="84"/>
                </a:lnTo>
                <a:lnTo>
                  <a:pt x="60" y="78"/>
                </a:lnTo>
                <a:lnTo>
                  <a:pt x="72" y="72"/>
                </a:lnTo>
                <a:lnTo>
                  <a:pt x="78" y="66"/>
                </a:lnTo>
                <a:lnTo>
                  <a:pt x="90" y="60"/>
                </a:lnTo>
                <a:lnTo>
                  <a:pt x="96" y="54"/>
                </a:lnTo>
                <a:lnTo>
                  <a:pt x="102" y="60"/>
                </a:lnTo>
                <a:lnTo>
                  <a:pt x="120" y="60"/>
                </a:lnTo>
                <a:lnTo>
                  <a:pt x="120" y="36"/>
                </a:lnTo>
                <a:lnTo>
                  <a:pt x="150" y="0"/>
                </a:lnTo>
                <a:lnTo>
                  <a:pt x="108" y="24"/>
                </a:lnTo>
                <a:lnTo>
                  <a:pt x="54" y="24"/>
                </a:lnTo>
                <a:lnTo>
                  <a:pt x="48" y="30"/>
                </a:lnTo>
                <a:lnTo>
                  <a:pt x="48" y="36"/>
                </a:lnTo>
                <a:lnTo>
                  <a:pt x="12" y="36"/>
                </a:lnTo>
                <a:lnTo>
                  <a:pt x="0" y="42"/>
                </a:lnTo>
                <a:lnTo>
                  <a:pt x="0" y="4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Zimbabwe"/>
          <p:cNvSpPr>
            <a:spLocks/>
          </p:cNvSpPr>
          <p:nvPr/>
        </p:nvSpPr>
        <p:spPr bwMode="gray">
          <a:xfrm>
            <a:off x="4733196" y="4766343"/>
            <a:ext cx="222250" cy="222250"/>
          </a:xfrm>
          <a:custGeom>
            <a:avLst/>
            <a:gdLst>
              <a:gd name="T0" fmla="*/ 2147483647 w 552"/>
              <a:gd name="T1" fmla="*/ 2147483647 h 552"/>
              <a:gd name="T2" fmla="*/ 2147483647 w 552"/>
              <a:gd name="T3" fmla="*/ 2147483647 h 552"/>
              <a:gd name="T4" fmla="*/ 2147483647 w 552"/>
              <a:gd name="T5" fmla="*/ 2147483647 h 552"/>
              <a:gd name="T6" fmla="*/ 2147483647 w 552"/>
              <a:gd name="T7" fmla="*/ 2147483647 h 552"/>
              <a:gd name="T8" fmla="*/ 2147483647 w 552"/>
              <a:gd name="T9" fmla="*/ 2147483647 h 552"/>
              <a:gd name="T10" fmla="*/ 2147483647 w 552"/>
              <a:gd name="T11" fmla="*/ 2147483647 h 552"/>
              <a:gd name="T12" fmla="*/ 2147483647 w 552"/>
              <a:gd name="T13" fmla="*/ 2147483647 h 552"/>
              <a:gd name="T14" fmla="*/ 2147483647 w 552"/>
              <a:gd name="T15" fmla="*/ 2147483647 h 552"/>
              <a:gd name="T16" fmla="*/ 2147483647 w 552"/>
              <a:gd name="T17" fmla="*/ 2147483647 h 552"/>
              <a:gd name="T18" fmla="*/ 2147483647 w 552"/>
              <a:gd name="T19" fmla="*/ 2147483647 h 552"/>
              <a:gd name="T20" fmla="*/ 2147483647 w 552"/>
              <a:gd name="T21" fmla="*/ 2147483647 h 552"/>
              <a:gd name="T22" fmla="*/ 2147483647 w 552"/>
              <a:gd name="T23" fmla="*/ 2147483647 h 552"/>
              <a:gd name="T24" fmla="*/ 2147483647 w 552"/>
              <a:gd name="T25" fmla="*/ 2147483647 h 552"/>
              <a:gd name="T26" fmla="*/ 2147483647 w 552"/>
              <a:gd name="T27" fmla="*/ 2147483647 h 552"/>
              <a:gd name="T28" fmla="*/ 2147483647 w 552"/>
              <a:gd name="T29" fmla="*/ 2147483647 h 552"/>
              <a:gd name="T30" fmla="*/ 2147483647 w 552"/>
              <a:gd name="T31" fmla="*/ 2147483647 h 552"/>
              <a:gd name="T32" fmla="*/ 2147483647 w 552"/>
              <a:gd name="T33" fmla="*/ 2147483647 h 552"/>
              <a:gd name="T34" fmla="*/ 2147483647 w 552"/>
              <a:gd name="T35" fmla="*/ 2147483647 h 552"/>
              <a:gd name="T36" fmla="*/ 2147483647 w 552"/>
              <a:gd name="T37" fmla="*/ 2147483647 h 552"/>
              <a:gd name="T38" fmla="*/ 2147483647 w 552"/>
              <a:gd name="T39" fmla="*/ 2147483647 h 552"/>
              <a:gd name="T40" fmla="*/ 2147483647 w 552"/>
              <a:gd name="T41" fmla="*/ 2147483647 h 552"/>
              <a:gd name="T42" fmla="*/ 2147483647 w 552"/>
              <a:gd name="T43" fmla="*/ 2147483647 h 552"/>
              <a:gd name="T44" fmla="*/ 2147483647 w 552"/>
              <a:gd name="T45" fmla="*/ 2147483647 h 552"/>
              <a:gd name="T46" fmla="*/ 2147483647 w 552"/>
              <a:gd name="T47" fmla="*/ 2147483647 h 552"/>
              <a:gd name="T48" fmla="*/ 2147483647 w 552"/>
              <a:gd name="T49" fmla="*/ 2147483647 h 552"/>
              <a:gd name="T50" fmla="*/ 2147483647 w 552"/>
              <a:gd name="T51" fmla="*/ 2147483647 h 552"/>
              <a:gd name="T52" fmla="*/ 2147483647 w 552"/>
              <a:gd name="T53" fmla="*/ 2147483647 h 552"/>
              <a:gd name="T54" fmla="*/ 2147483647 w 552"/>
              <a:gd name="T55" fmla="*/ 2147483647 h 552"/>
              <a:gd name="T56" fmla="*/ 2147483647 w 552"/>
              <a:gd name="T57" fmla="*/ 2147483647 h 552"/>
              <a:gd name="T58" fmla="*/ 2147483647 w 552"/>
              <a:gd name="T59" fmla="*/ 2147483647 h 552"/>
              <a:gd name="T60" fmla="*/ 2147483647 w 552"/>
              <a:gd name="T61" fmla="*/ 2147483647 h 552"/>
              <a:gd name="T62" fmla="*/ 2147483647 w 552"/>
              <a:gd name="T63" fmla="*/ 2147483647 h 552"/>
              <a:gd name="T64" fmla="*/ 2147483647 w 552"/>
              <a:gd name="T65" fmla="*/ 2147483647 h 552"/>
              <a:gd name="T66" fmla="*/ 2147483647 w 552"/>
              <a:gd name="T67" fmla="*/ 2147483647 h 552"/>
              <a:gd name="T68" fmla="*/ 2147483647 w 552"/>
              <a:gd name="T69" fmla="*/ 2147483647 h 552"/>
              <a:gd name="T70" fmla="*/ 2147483647 w 552"/>
              <a:gd name="T71" fmla="*/ 2147483647 h 552"/>
              <a:gd name="T72" fmla="*/ 2147483647 w 552"/>
              <a:gd name="T73" fmla="*/ 2147483647 h 552"/>
              <a:gd name="T74" fmla="*/ 2147483647 w 552"/>
              <a:gd name="T75" fmla="*/ 0 h 552"/>
              <a:gd name="T76" fmla="*/ 2147483647 w 552"/>
              <a:gd name="T77" fmla="*/ 2147483647 h 552"/>
              <a:gd name="T78" fmla="*/ 2147483647 w 552"/>
              <a:gd name="T79" fmla="*/ 2147483647 h 552"/>
              <a:gd name="T80" fmla="*/ 2147483647 w 552"/>
              <a:gd name="T81" fmla="*/ 2147483647 h 552"/>
              <a:gd name="T82" fmla="*/ 2147483647 w 552"/>
              <a:gd name="T83" fmla="*/ 2147483647 h 552"/>
              <a:gd name="T84" fmla="*/ 2147483647 w 552"/>
              <a:gd name="T85" fmla="*/ 2147483647 h 552"/>
              <a:gd name="T86" fmla="*/ 2147483647 w 552"/>
              <a:gd name="T87" fmla="*/ 2147483647 h 552"/>
              <a:gd name="T88" fmla="*/ 2147483647 w 552"/>
              <a:gd name="T89" fmla="*/ 2147483647 h 552"/>
              <a:gd name="T90" fmla="*/ 2147483647 w 552"/>
              <a:gd name="T91" fmla="*/ 2147483647 h 552"/>
              <a:gd name="T92" fmla="*/ 2147483647 w 552"/>
              <a:gd name="T93" fmla="*/ 2147483647 h 552"/>
              <a:gd name="T94" fmla="*/ 2147483647 w 552"/>
              <a:gd name="T95" fmla="*/ 2147483647 h 552"/>
              <a:gd name="T96" fmla="*/ 2147483647 w 552"/>
              <a:gd name="T97" fmla="*/ 2147483647 h 552"/>
              <a:gd name="T98" fmla="*/ 2147483647 w 552"/>
              <a:gd name="T99" fmla="*/ 2147483647 h 552"/>
              <a:gd name="T100" fmla="*/ 2147483647 w 552"/>
              <a:gd name="T101" fmla="*/ 2147483647 h 552"/>
              <a:gd name="T102" fmla="*/ 2147483647 w 552"/>
              <a:gd name="T103" fmla="*/ 2147483647 h 55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52"/>
              <a:gd name="T157" fmla="*/ 0 h 552"/>
              <a:gd name="T158" fmla="*/ 552 w 552"/>
              <a:gd name="T159" fmla="*/ 552 h 55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52" h="552">
                <a:moveTo>
                  <a:pt x="18" y="204"/>
                </a:moveTo>
                <a:lnTo>
                  <a:pt x="18" y="234"/>
                </a:lnTo>
                <a:lnTo>
                  <a:pt x="30" y="234"/>
                </a:lnTo>
                <a:lnTo>
                  <a:pt x="36" y="240"/>
                </a:lnTo>
                <a:lnTo>
                  <a:pt x="48" y="264"/>
                </a:lnTo>
                <a:lnTo>
                  <a:pt x="54" y="270"/>
                </a:lnTo>
                <a:lnTo>
                  <a:pt x="54" y="294"/>
                </a:lnTo>
                <a:lnTo>
                  <a:pt x="72" y="330"/>
                </a:lnTo>
                <a:lnTo>
                  <a:pt x="84" y="336"/>
                </a:lnTo>
                <a:lnTo>
                  <a:pt x="102" y="354"/>
                </a:lnTo>
                <a:lnTo>
                  <a:pt x="132" y="354"/>
                </a:lnTo>
                <a:lnTo>
                  <a:pt x="138" y="360"/>
                </a:lnTo>
                <a:lnTo>
                  <a:pt x="138" y="390"/>
                </a:lnTo>
                <a:lnTo>
                  <a:pt x="168" y="390"/>
                </a:lnTo>
                <a:lnTo>
                  <a:pt x="174" y="414"/>
                </a:lnTo>
                <a:lnTo>
                  <a:pt x="168" y="420"/>
                </a:lnTo>
                <a:lnTo>
                  <a:pt x="168" y="450"/>
                </a:lnTo>
                <a:lnTo>
                  <a:pt x="186" y="450"/>
                </a:lnTo>
                <a:lnTo>
                  <a:pt x="186" y="480"/>
                </a:lnTo>
                <a:lnTo>
                  <a:pt x="198" y="480"/>
                </a:lnTo>
                <a:lnTo>
                  <a:pt x="216" y="486"/>
                </a:lnTo>
                <a:lnTo>
                  <a:pt x="228" y="486"/>
                </a:lnTo>
                <a:lnTo>
                  <a:pt x="246" y="492"/>
                </a:lnTo>
                <a:lnTo>
                  <a:pt x="264" y="510"/>
                </a:lnTo>
                <a:lnTo>
                  <a:pt x="270" y="522"/>
                </a:lnTo>
                <a:lnTo>
                  <a:pt x="270" y="528"/>
                </a:lnTo>
                <a:lnTo>
                  <a:pt x="252" y="528"/>
                </a:lnTo>
                <a:lnTo>
                  <a:pt x="312" y="528"/>
                </a:lnTo>
                <a:lnTo>
                  <a:pt x="324" y="534"/>
                </a:lnTo>
                <a:lnTo>
                  <a:pt x="330" y="534"/>
                </a:lnTo>
                <a:lnTo>
                  <a:pt x="342" y="540"/>
                </a:lnTo>
                <a:lnTo>
                  <a:pt x="402" y="540"/>
                </a:lnTo>
                <a:lnTo>
                  <a:pt x="420" y="552"/>
                </a:lnTo>
                <a:lnTo>
                  <a:pt x="486" y="468"/>
                </a:lnTo>
                <a:lnTo>
                  <a:pt x="504" y="462"/>
                </a:lnTo>
                <a:lnTo>
                  <a:pt x="492" y="444"/>
                </a:lnTo>
                <a:lnTo>
                  <a:pt x="504" y="432"/>
                </a:lnTo>
                <a:lnTo>
                  <a:pt x="504" y="402"/>
                </a:lnTo>
                <a:lnTo>
                  <a:pt x="516" y="396"/>
                </a:lnTo>
                <a:lnTo>
                  <a:pt x="528" y="384"/>
                </a:lnTo>
                <a:lnTo>
                  <a:pt x="528" y="372"/>
                </a:lnTo>
                <a:lnTo>
                  <a:pt x="540" y="360"/>
                </a:lnTo>
                <a:lnTo>
                  <a:pt x="546" y="348"/>
                </a:lnTo>
                <a:lnTo>
                  <a:pt x="546" y="342"/>
                </a:lnTo>
                <a:lnTo>
                  <a:pt x="522" y="318"/>
                </a:lnTo>
                <a:lnTo>
                  <a:pt x="522" y="306"/>
                </a:lnTo>
                <a:lnTo>
                  <a:pt x="540" y="288"/>
                </a:lnTo>
                <a:lnTo>
                  <a:pt x="522" y="264"/>
                </a:lnTo>
                <a:lnTo>
                  <a:pt x="540" y="252"/>
                </a:lnTo>
                <a:lnTo>
                  <a:pt x="540" y="240"/>
                </a:lnTo>
                <a:lnTo>
                  <a:pt x="546" y="240"/>
                </a:lnTo>
                <a:lnTo>
                  <a:pt x="546" y="234"/>
                </a:lnTo>
                <a:lnTo>
                  <a:pt x="552" y="228"/>
                </a:lnTo>
                <a:lnTo>
                  <a:pt x="552" y="216"/>
                </a:lnTo>
                <a:lnTo>
                  <a:pt x="540" y="192"/>
                </a:lnTo>
                <a:lnTo>
                  <a:pt x="540" y="180"/>
                </a:lnTo>
                <a:lnTo>
                  <a:pt x="546" y="174"/>
                </a:lnTo>
                <a:lnTo>
                  <a:pt x="546" y="168"/>
                </a:lnTo>
                <a:lnTo>
                  <a:pt x="552" y="162"/>
                </a:lnTo>
                <a:lnTo>
                  <a:pt x="540" y="150"/>
                </a:lnTo>
                <a:lnTo>
                  <a:pt x="552" y="138"/>
                </a:lnTo>
                <a:lnTo>
                  <a:pt x="540" y="120"/>
                </a:lnTo>
                <a:lnTo>
                  <a:pt x="546" y="114"/>
                </a:lnTo>
                <a:lnTo>
                  <a:pt x="552" y="102"/>
                </a:lnTo>
                <a:lnTo>
                  <a:pt x="552" y="96"/>
                </a:lnTo>
                <a:lnTo>
                  <a:pt x="540" y="84"/>
                </a:lnTo>
                <a:lnTo>
                  <a:pt x="528" y="84"/>
                </a:lnTo>
                <a:lnTo>
                  <a:pt x="510" y="66"/>
                </a:lnTo>
                <a:lnTo>
                  <a:pt x="498" y="66"/>
                </a:lnTo>
                <a:lnTo>
                  <a:pt x="486" y="72"/>
                </a:lnTo>
                <a:lnTo>
                  <a:pt x="480" y="72"/>
                </a:lnTo>
                <a:lnTo>
                  <a:pt x="462" y="48"/>
                </a:lnTo>
                <a:lnTo>
                  <a:pt x="444" y="48"/>
                </a:lnTo>
                <a:lnTo>
                  <a:pt x="432" y="30"/>
                </a:lnTo>
                <a:lnTo>
                  <a:pt x="372" y="30"/>
                </a:lnTo>
                <a:lnTo>
                  <a:pt x="366" y="0"/>
                </a:lnTo>
                <a:lnTo>
                  <a:pt x="330" y="0"/>
                </a:lnTo>
                <a:lnTo>
                  <a:pt x="294" y="12"/>
                </a:lnTo>
                <a:lnTo>
                  <a:pt x="282" y="24"/>
                </a:lnTo>
                <a:lnTo>
                  <a:pt x="258" y="36"/>
                </a:lnTo>
                <a:lnTo>
                  <a:pt x="258" y="72"/>
                </a:lnTo>
                <a:lnTo>
                  <a:pt x="252" y="78"/>
                </a:lnTo>
                <a:lnTo>
                  <a:pt x="240" y="78"/>
                </a:lnTo>
                <a:lnTo>
                  <a:pt x="228" y="84"/>
                </a:lnTo>
                <a:lnTo>
                  <a:pt x="210" y="90"/>
                </a:lnTo>
                <a:lnTo>
                  <a:pt x="198" y="96"/>
                </a:lnTo>
                <a:lnTo>
                  <a:pt x="192" y="102"/>
                </a:lnTo>
                <a:lnTo>
                  <a:pt x="180" y="126"/>
                </a:lnTo>
                <a:lnTo>
                  <a:pt x="174" y="132"/>
                </a:lnTo>
                <a:lnTo>
                  <a:pt x="174" y="138"/>
                </a:lnTo>
                <a:lnTo>
                  <a:pt x="168" y="144"/>
                </a:lnTo>
                <a:lnTo>
                  <a:pt x="162" y="156"/>
                </a:lnTo>
                <a:lnTo>
                  <a:pt x="132" y="186"/>
                </a:lnTo>
                <a:lnTo>
                  <a:pt x="108" y="198"/>
                </a:lnTo>
                <a:lnTo>
                  <a:pt x="90" y="198"/>
                </a:lnTo>
                <a:lnTo>
                  <a:pt x="90" y="192"/>
                </a:lnTo>
                <a:lnTo>
                  <a:pt x="78" y="180"/>
                </a:lnTo>
                <a:lnTo>
                  <a:pt x="66" y="180"/>
                </a:lnTo>
                <a:lnTo>
                  <a:pt x="66" y="192"/>
                </a:lnTo>
                <a:lnTo>
                  <a:pt x="54" y="192"/>
                </a:lnTo>
                <a:lnTo>
                  <a:pt x="42" y="180"/>
                </a:lnTo>
                <a:lnTo>
                  <a:pt x="42" y="174"/>
                </a:lnTo>
                <a:lnTo>
                  <a:pt x="0" y="174"/>
                </a:lnTo>
                <a:lnTo>
                  <a:pt x="6" y="192"/>
                </a:lnTo>
                <a:lnTo>
                  <a:pt x="18" y="20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" name="Zentral Afrikanische Republik"/>
          <p:cNvSpPr>
            <a:spLocks/>
          </p:cNvSpPr>
          <p:nvPr/>
        </p:nvSpPr>
        <p:spPr bwMode="gray">
          <a:xfrm>
            <a:off x="4428396" y="3904330"/>
            <a:ext cx="368300" cy="280988"/>
          </a:xfrm>
          <a:custGeom>
            <a:avLst/>
            <a:gdLst>
              <a:gd name="T0" fmla="*/ 2147483647 w 912"/>
              <a:gd name="T1" fmla="*/ 2147483647 h 702"/>
              <a:gd name="T2" fmla="*/ 2147483647 w 912"/>
              <a:gd name="T3" fmla="*/ 2147483647 h 702"/>
              <a:gd name="T4" fmla="*/ 2147483647 w 912"/>
              <a:gd name="T5" fmla="*/ 2147483647 h 702"/>
              <a:gd name="T6" fmla="*/ 2147483647 w 912"/>
              <a:gd name="T7" fmla="*/ 2147483647 h 702"/>
              <a:gd name="T8" fmla="*/ 2147483647 w 912"/>
              <a:gd name="T9" fmla="*/ 2147483647 h 702"/>
              <a:gd name="T10" fmla="*/ 2147483647 w 912"/>
              <a:gd name="T11" fmla="*/ 2147483647 h 702"/>
              <a:gd name="T12" fmla="*/ 2147483647 w 912"/>
              <a:gd name="T13" fmla="*/ 2147483647 h 702"/>
              <a:gd name="T14" fmla="*/ 2147483647 w 912"/>
              <a:gd name="T15" fmla="*/ 2147483647 h 702"/>
              <a:gd name="T16" fmla="*/ 2147483647 w 912"/>
              <a:gd name="T17" fmla="*/ 2147483647 h 702"/>
              <a:gd name="T18" fmla="*/ 2147483647 w 912"/>
              <a:gd name="T19" fmla="*/ 2147483647 h 702"/>
              <a:gd name="T20" fmla="*/ 2147483647 w 912"/>
              <a:gd name="T21" fmla="*/ 2147483647 h 702"/>
              <a:gd name="T22" fmla="*/ 2147483647 w 912"/>
              <a:gd name="T23" fmla="*/ 2147483647 h 702"/>
              <a:gd name="T24" fmla="*/ 2147483647 w 912"/>
              <a:gd name="T25" fmla="*/ 2147483647 h 702"/>
              <a:gd name="T26" fmla="*/ 2147483647 w 912"/>
              <a:gd name="T27" fmla="*/ 2147483647 h 702"/>
              <a:gd name="T28" fmla="*/ 2147483647 w 912"/>
              <a:gd name="T29" fmla="*/ 2147483647 h 702"/>
              <a:gd name="T30" fmla="*/ 2147483647 w 912"/>
              <a:gd name="T31" fmla="*/ 0 h 702"/>
              <a:gd name="T32" fmla="*/ 2147483647 w 912"/>
              <a:gd name="T33" fmla="*/ 2147483647 h 702"/>
              <a:gd name="T34" fmla="*/ 2147483647 w 912"/>
              <a:gd name="T35" fmla="*/ 2147483647 h 702"/>
              <a:gd name="T36" fmla="*/ 2147483647 w 912"/>
              <a:gd name="T37" fmla="*/ 2147483647 h 702"/>
              <a:gd name="T38" fmla="*/ 2147483647 w 912"/>
              <a:gd name="T39" fmla="*/ 2147483647 h 702"/>
              <a:gd name="T40" fmla="*/ 2147483647 w 912"/>
              <a:gd name="T41" fmla="*/ 2147483647 h 702"/>
              <a:gd name="T42" fmla="*/ 2147483647 w 912"/>
              <a:gd name="T43" fmla="*/ 2147483647 h 702"/>
              <a:gd name="T44" fmla="*/ 2147483647 w 912"/>
              <a:gd name="T45" fmla="*/ 2147483647 h 702"/>
              <a:gd name="T46" fmla="*/ 2147483647 w 912"/>
              <a:gd name="T47" fmla="*/ 2147483647 h 702"/>
              <a:gd name="T48" fmla="*/ 2147483647 w 912"/>
              <a:gd name="T49" fmla="*/ 2147483647 h 702"/>
              <a:gd name="T50" fmla="*/ 2147483647 w 912"/>
              <a:gd name="T51" fmla="*/ 2147483647 h 702"/>
              <a:gd name="T52" fmla="*/ 2147483647 w 912"/>
              <a:gd name="T53" fmla="*/ 2147483647 h 702"/>
              <a:gd name="T54" fmla="*/ 2147483647 w 912"/>
              <a:gd name="T55" fmla="*/ 2147483647 h 702"/>
              <a:gd name="T56" fmla="*/ 2147483647 w 912"/>
              <a:gd name="T57" fmla="*/ 2147483647 h 702"/>
              <a:gd name="T58" fmla="*/ 2147483647 w 912"/>
              <a:gd name="T59" fmla="*/ 2147483647 h 702"/>
              <a:gd name="T60" fmla="*/ 0 w 912"/>
              <a:gd name="T61" fmla="*/ 2147483647 h 702"/>
              <a:gd name="T62" fmla="*/ 2147483647 w 912"/>
              <a:gd name="T63" fmla="*/ 2147483647 h 702"/>
              <a:gd name="T64" fmla="*/ 2147483647 w 912"/>
              <a:gd name="T65" fmla="*/ 2147483647 h 702"/>
              <a:gd name="T66" fmla="*/ 2147483647 w 912"/>
              <a:gd name="T67" fmla="*/ 2147483647 h 702"/>
              <a:gd name="T68" fmla="*/ 2147483647 w 912"/>
              <a:gd name="T69" fmla="*/ 2147483647 h 702"/>
              <a:gd name="T70" fmla="*/ 2147483647 w 912"/>
              <a:gd name="T71" fmla="*/ 2147483647 h 702"/>
              <a:gd name="T72" fmla="*/ 2147483647 w 912"/>
              <a:gd name="T73" fmla="*/ 2147483647 h 702"/>
              <a:gd name="T74" fmla="*/ 2147483647 w 912"/>
              <a:gd name="T75" fmla="*/ 2147483647 h 702"/>
              <a:gd name="T76" fmla="*/ 2147483647 w 912"/>
              <a:gd name="T77" fmla="*/ 2147483647 h 702"/>
              <a:gd name="T78" fmla="*/ 2147483647 w 912"/>
              <a:gd name="T79" fmla="*/ 2147483647 h 702"/>
              <a:gd name="T80" fmla="*/ 2147483647 w 912"/>
              <a:gd name="T81" fmla="*/ 2147483647 h 702"/>
              <a:gd name="T82" fmla="*/ 2147483647 w 912"/>
              <a:gd name="T83" fmla="*/ 2147483647 h 702"/>
              <a:gd name="T84" fmla="*/ 2147483647 w 912"/>
              <a:gd name="T85" fmla="*/ 2147483647 h 702"/>
              <a:gd name="T86" fmla="*/ 2147483647 w 912"/>
              <a:gd name="T87" fmla="*/ 2147483647 h 702"/>
              <a:gd name="T88" fmla="*/ 2147483647 w 912"/>
              <a:gd name="T89" fmla="*/ 2147483647 h 702"/>
              <a:gd name="T90" fmla="*/ 2147483647 w 912"/>
              <a:gd name="T91" fmla="*/ 2147483647 h 702"/>
              <a:gd name="T92" fmla="*/ 2147483647 w 912"/>
              <a:gd name="T93" fmla="*/ 2147483647 h 702"/>
              <a:gd name="T94" fmla="*/ 2147483647 w 912"/>
              <a:gd name="T95" fmla="*/ 2147483647 h 702"/>
              <a:gd name="T96" fmla="*/ 2147483647 w 912"/>
              <a:gd name="T97" fmla="*/ 2147483647 h 702"/>
              <a:gd name="T98" fmla="*/ 2147483647 w 912"/>
              <a:gd name="T99" fmla="*/ 2147483647 h 702"/>
              <a:gd name="T100" fmla="*/ 2147483647 w 912"/>
              <a:gd name="T101" fmla="*/ 2147483647 h 702"/>
              <a:gd name="T102" fmla="*/ 2147483647 w 912"/>
              <a:gd name="T103" fmla="*/ 2147483647 h 702"/>
              <a:gd name="T104" fmla="*/ 2147483647 w 912"/>
              <a:gd name="T105" fmla="*/ 2147483647 h 702"/>
              <a:gd name="T106" fmla="*/ 2147483647 w 912"/>
              <a:gd name="T107" fmla="*/ 2147483647 h 702"/>
              <a:gd name="T108" fmla="*/ 2147483647 w 912"/>
              <a:gd name="T109" fmla="*/ 2147483647 h 702"/>
              <a:gd name="T110" fmla="*/ 2147483647 w 912"/>
              <a:gd name="T111" fmla="*/ 2147483647 h 702"/>
              <a:gd name="T112" fmla="*/ 2147483647 w 912"/>
              <a:gd name="T113" fmla="*/ 2147483647 h 702"/>
              <a:gd name="T114" fmla="*/ 2147483647 w 912"/>
              <a:gd name="T115" fmla="*/ 2147483647 h 702"/>
              <a:gd name="T116" fmla="*/ 2147483647 w 912"/>
              <a:gd name="T117" fmla="*/ 2147483647 h 702"/>
              <a:gd name="T118" fmla="*/ 2147483647 w 912"/>
              <a:gd name="T119" fmla="*/ 2147483647 h 702"/>
              <a:gd name="T120" fmla="*/ 2147483647 w 912"/>
              <a:gd name="T121" fmla="*/ 2147483647 h 70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12"/>
              <a:gd name="T184" fmla="*/ 0 h 702"/>
              <a:gd name="T185" fmla="*/ 912 w 912"/>
              <a:gd name="T186" fmla="*/ 702 h 70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12" h="702">
                <a:moveTo>
                  <a:pt x="906" y="420"/>
                </a:moveTo>
                <a:lnTo>
                  <a:pt x="900" y="414"/>
                </a:lnTo>
                <a:lnTo>
                  <a:pt x="888" y="408"/>
                </a:lnTo>
                <a:lnTo>
                  <a:pt x="882" y="402"/>
                </a:lnTo>
                <a:lnTo>
                  <a:pt x="858" y="396"/>
                </a:lnTo>
                <a:lnTo>
                  <a:pt x="858" y="378"/>
                </a:lnTo>
                <a:lnTo>
                  <a:pt x="846" y="366"/>
                </a:lnTo>
                <a:lnTo>
                  <a:pt x="846" y="360"/>
                </a:lnTo>
                <a:lnTo>
                  <a:pt x="858" y="360"/>
                </a:lnTo>
                <a:lnTo>
                  <a:pt x="858" y="348"/>
                </a:lnTo>
                <a:lnTo>
                  <a:pt x="852" y="342"/>
                </a:lnTo>
                <a:lnTo>
                  <a:pt x="834" y="342"/>
                </a:lnTo>
                <a:lnTo>
                  <a:pt x="834" y="336"/>
                </a:lnTo>
                <a:lnTo>
                  <a:pt x="828" y="330"/>
                </a:lnTo>
                <a:lnTo>
                  <a:pt x="822" y="318"/>
                </a:lnTo>
                <a:lnTo>
                  <a:pt x="810" y="306"/>
                </a:lnTo>
                <a:lnTo>
                  <a:pt x="798" y="300"/>
                </a:lnTo>
                <a:lnTo>
                  <a:pt x="792" y="300"/>
                </a:lnTo>
                <a:lnTo>
                  <a:pt x="780" y="294"/>
                </a:lnTo>
                <a:lnTo>
                  <a:pt x="768" y="282"/>
                </a:lnTo>
                <a:lnTo>
                  <a:pt x="768" y="276"/>
                </a:lnTo>
                <a:lnTo>
                  <a:pt x="774" y="276"/>
                </a:lnTo>
                <a:lnTo>
                  <a:pt x="774" y="270"/>
                </a:lnTo>
                <a:lnTo>
                  <a:pt x="780" y="270"/>
                </a:lnTo>
                <a:lnTo>
                  <a:pt x="780" y="264"/>
                </a:lnTo>
                <a:lnTo>
                  <a:pt x="768" y="252"/>
                </a:lnTo>
                <a:lnTo>
                  <a:pt x="756" y="246"/>
                </a:lnTo>
                <a:lnTo>
                  <a:pt x="750" y="246"/>
                </a:lnTo>
                <a:lnTo>
                  <a:pt x="750" y="228"/>
                </a:lnTo>
                <a:lnTo>
                  <a:pt x="720" y="228"/>
                </a:lnTo>
                <a:lnTo>
                  <a:pt x="696" y="216"/>
                </a:lnTo>
                <a:lnTo>
                  <a:pt x="696" y="186"/>
                </a:lnTo>
                <a:lnTo>
                  <a:pt x="648" y="180"/>
                </a:lnTo>
                <a:lnTo>
                  <a:pt x="654" y="162"/>
                </a:lnTo>
                <a:lnTo>
                  <a:pt x="648" y="162"/>
                </a:lnTo>
                <a:lnTo>
                  <a:pt x="642" y="156"/>
                </a:lnTo>
                <a:lnTo>
                  <a:pt x="642" y="150"/>
                </a:lnTo>
                <a:lnTo>
                  <a:pt x="648" y="144"/>
                </a:lnTo>
                <a:lnTo>
                  <a:pt x="654" y="132"/>
                </a:lnTo>
                <a:lnTo>
                  <a:pt x="660" y="126"/>
                </a:lnTo>
                <a:lnTo>
                  <a:pt x="660" y="96"/>
                </a:lnTo>
                <a:lnTo>
                  <a:pt x="654" y="84"/>
                </a:lnTo>
                <a:lnTo>
                  <a:pt x="648" y="66"/>
                </a:lnTo>
                <a:lnTo>
                  <a:pt x="636" y="54"/>
                </a:lnTo>
                <a:lnTo>
                  <a:pt x="630" y="42"/>
                </a:lnTo>
                <a:lnTo>
                  <a:pt x="600" y="12"/>
                </a:lnTo>
                <a:lnTo>
                  <a:pt x="600" y="0"/>
                </a:lnTo>
                <a:lnTo>
                  <a:pt x="576" y="0"/>
                </a:lnTo>
                <a:lnTo>
                  <a:pt x="522" y="30"/>
                </a:lnTo>
                <a:lnTo>
                  <a:pt x="516" y="60"/>
                </a:lnTo>
                <a:lnTo>
                  <a:pt x="480" y="84"/>
                </a:lnTo>
                <a:lnTo>
                  <a:pt x="480" y="102"/>
                </a:lnTo>
                <a:lnTo>
                  <a:pt x="456" y="126"/>
                </a:lnTo>
                <a:lnTo>
                  <a:pt x="438" y="138"/>
                </a:lnTo>
                <a:lnTo>
                  <a:pt x="390" y="156"/>
                </a:lnTo>
                <a:lnTo>
                  <a:pt x="348" y="162"/>
                </a:lnTo>
                <a:lnTo>
                  <a:pt x="330" y="162"/>
                </a:lnTo>
                <a:lnTo>
                  <a:pt x="312" y="174"/>
                </a:lnTo>
                <a:lnTo>
                  <a:pt x="318" y="174"/>
                </a:lnTo>
                <a:lnTo>
                  <a:pt x="330" y="186"/>
                </a:lnTo>
                <a:lnTo>
                  <a:pt x="330" y="198"/>
                </a:lnTo>
                <a:lnTo>
                  <a:pt x="324" y="204"/>
                </a:lnTo>
                <a:lnTo>
                  <a:pt x="318" y="216"/>
                </a:lnTo>
                <a:lnTo>
                  <a:pt x="312" y="222"/>
                </a:lnTo>
                <a:lnTo>
                  <a:pt x="306" y="234"/>
                </a:lnTo>
                <a:lnTo>
                  <a:pt x="300" y="240"/>
                </a:lnTo>
                <a:lnTo>
                  <a:pt x="210" y="240"/>
                </a:lnTo>
                <a:lnTo>
                  <a:pt x="204" y="246"/>
                </a:lnTo>
                <a:lnTo>
                  <a:pt x="198" y="258"/>
                </a:lnTo>
                <a:lnTo>
                  <a:pt x="186" y="270"/>
                </a:lnTo>
                <a:lnTo>
                  <a:pt x="174" y="276"/>
                </a:lnTo>
                <a:lnTo>
                  <a:pt x="168" y="276"/>
                </a:lnTo>
                <a:lnTo>
                  <a:pt x="162" y="270"/>
                </a:lnTo>
                <a:lnTo>
                  <a:pt x="162" y="246"/>
                </a:lnTo>
                <a:lnTo>
                  <a:pt x="156" y="252"/>
                </a:lnTo>
                <a:lnTo>
                  <a:pt x="144" y="258"/>
                </a:lnTo>
                <a:lnTo>
                  <a:pt x="126" y="276"/>
                </a:lnTo>
                <a:lnTo>
                  <a:pt x="114" y="282"/>
                </a:lnTo>
                <a:lnTo>
                  <a:pt x="96" y="282"/>
                </a:lnTo>
                <a:lnTo>
                  <a:pt x="90" y="276"/>
                </a:lnTo>
                <a:lnTo>
                  <a:pt x="78" y="276"/>
                </a:lnTo>
                <a:lnTo>
                  <a:pt x="66" y="288"/>
                </a:lnTo>
                <a:lnTo>
                  <a:pt x="60" y="300"/>
                </a:lnTo>
                <a:lnTo>
                  <a:pt x="54" y="306"/>
                </a:lnTo>
                <a:lnTo>
                  <a:pt x="54" y="324"/>
                </a:lnTo>
                <a:lnTo>
                  <a:pt x="48" y="336"/>
                </a:lnTo>
                <a:lnTo>
                  <a:pt x="42" y="336"/>
                </a:lnTo>
                <a:lnTo>
                  <a:pt x="36" y="372"/>
                </a:lnTo>
                <a:lnTo>
                  <a:pt x="30" y="372"/>
                </a:lnTo>
                <a:lnTo>
                  <a:pt x="24" y="378"/>
                </a:lnTo>
                <a:lnTo>
                  <a:pt x="12" y="384"/>
                </a:lnTo>
                <a:lnTo>
                  <a:pt x="0" y="396"/>
                </a:lnTo>
                <a:lnTo>
                  <a:pt x="0" y="402"/>
                </a:lnTo>
                <a:lnTo>
                  <a:pt x="12" y="408"/>
                </a:lnTo>
                <a:lnTo>
                  <a:pt x="18" y="408"/>
                </a:lnTo>
                <a:lnTo>
                  <a:pt x="18" y="444"/>
                </a:lnTo>
                <a:lnTo>
                  <a:pt x="6" y="456"/>
                </a:lnTo>
                <a:lnTo>
                  <a:pt x="24" y="468"/>
                </a:lnTo>
                <a:lnTo>
                  <a:pt x="24" y="516"/>
                </a:lnTo>
                <a:lnTo>
                  <a:pt x="30" y="516"/>
                </a:lnTo>
                <a:lnTo>
                  <a:pt x="48" y="534"/>
                </a:lnTo>
                <a:lnTo>
                  <a:pt x="54" y="534"/>
                </a:lnTo>
                <a:lnTo>
                  <a:pt x="54" y="576"/>
                </a:lnTo>
                <a:lnTo>
                  <a:pt x="60" y="582"/>
                </a:lnTo>
                <a:lnTo>
                  <a:pt x="72" y="606"/>
                </a:lnTo>
                <a:lnTo>
                  <a:pt x="84" y="618"/>
                </a:lnTo>
                <a:lnTo>
                  <a:pt x="96" y="624"/>
                </a:lnTo>
                <a:lnTo>
                  <a:pt x="102" y="636"/>
                </a:lnTo>
                <a:lnTo>
                  <a:pt x="114" y="642"/>
                </a:lnTo>
                <a:lnTo>
                  <a:pt x="120" y="660"/>
                </a:lnTo>
                <a:lnTo>
                  <a:pt x="120" y="690"/>
                </a:lnTo>
                <a:lnTo>
                  <a:pt x="132" y="702"/>
                </a:lnTo>
                <a:lnTo>
                  <a:pt x="138" y="696"/>
                </a:lnTo>
                <a:lnTo>
                  <a:pt x="144" y="684"/>
                </a:lnTo>
                <a:lnTo>
                  <a:pt x="150" y="678"/>
                </a:lnTo>
                <a:lnTo>
                  <a:pt x="156" y="666"/>
                </a:lnTo>
                <a:lnTo>
                  <a:pt x="156" y="642"/>
                </a:lnTo>
                <a:lnTo>
                  <a:pt x="144" y="630"/>
                </a:lnTo>
                <a:lnTo>
                  <a:pt x="162" y="600"/>
                </a:lnTo>
                <a:lnTo>
                  <a:pt x="192" y="600"/>
                </a:lnTo>
                <a:lnTo>
                  <a:pt x="210" y="582"/>
                </a:lnTo>
                <a:lnTo>
                  <a:pt x="228" y="582"/>
                </a:lnTo>
                <a:lnTo>
                  <a:pt x="264" y="600"/>
                </a:lnTo>
                <a:lnTo>
                  <a:pt x="276" y="600"/>
                </a:lnTo>
                <a:lnTo>
                  <a:pt x="288" y="588"/>
                </a:lnTo>
                <a:lnTo>
                  <a:pt x="300" y="570"/>
                </a:lnTo>
                <a:lnTo>
                  <a:pt x="300" y="552"/>
                </a:lnTo>
                <a:lnTo>
                  <a:pt x="294" y="552"/>
                </a:lnTo>
                <a:lnTo>
                  <a:pt x="294" y="540"/>
                </a:lnTo>
                <a:lnTo>
                  <a:pt x="306" y="528"/>
                </a:lnTo>
                <a:lnTo>
                  <a:pt x="312" y="528"/>
                </a:lnTo>
                <a:lnTo>
                  <a:pt x="324" y="516"/>
                </a:lnTo>
                <a:lnTo>
                  <a:pt x="330" y="504"/>
                </a:lnTo>
                <a:lnTo>
                  <a:pt x="330" y="498"/>
                </a:lnTo>
                <a:lnTo>
                  <a:pt x="336" y="486"/>
                </a:lnTo>
                <a:lnTo>
                  <a:pt x="336" y="480"/>
                </a:lnTo>
                <a:lnTo>
                  <a:pt x="342" y="474"/>
                </a:lnTo>
                <a:lnTo>
                  <a:pt x="354" y="468"/>
                </a:lnTo>
                <a:lnTo>
                  <a:pt x="366" y="468"/>
                </a:lnTo>
                <a:lnTo>
                  <a:pt x="384" y="474"/>
                </a:lnTo>
                <a:lnTo>
                  <a:pt x="396" y="474"/>
                </a:lnTo>
                <a:lnTo>
                  <a:pt x="408" y="480"/>
                </a:lnTo>
                <a:lnTo>
                  <a:pt x="408" y="492"/>
                </a:lnTo>
                <a:lnTo>
                  <a:pt x="426" y="492"/>
                </a:lnTo>
                <a:lnTo>
                  <a:pt x="432" y="498"/>
                </a:lnTo>
                <a:lnTo>
                  <a:pt x="432" y="528"/>
                </a:lnTo>
                <a:lnTo>
                  <a:pt x="474" y="528"/>
                </a:lnTo>
                <a:lnTo>
                  <a:pt x="480" y="534"/>
                </a:lnTo>
                <a:lnTo>
                  <a:pt x="492" y="540"/>
                </a:lnTo>
                <a:lnTo>
                  <a:pt x="540" y="540"/>
                </a:lnTo>
                <a:lnTo>
                  <a:pt x="552" y="546"/>
                </a:lnTo>
                <a:lnTo>
                  <a:pt x="558" y="552"/>
                </a:lnTo>
                <a:lnTo>
                  <a:pt x="570" y="558"/>
                </a:lnTo>
                <a:lnTo>
                  <a:pt x="576" y="552"/>
                </a:lnTo>
                <a:lnTo>
                  <a:pt x="582" y="540"/>
                </a:lnTo>
                <a:lnTo>
                  <a:pt x="588" y="534"/>
                </a:lnTo>
                <a:lnTo>
                  <a:pt x="588" y="522"/>
                </a:lnTo>
                <a:lnTo>
                  <a:pt x="606" y="504"/>
                </a:lnTo>
                <a:lnTo>
                  <a:pt x="612" y="492"/>
                </a:lnTo>
                <a:lnTo>
                  <a:pt x="636" y="516"/>
                </a:lnTo>
                <a:lnTo>
                  <a:pt x="642" y="516"/>
                </a:lnTo>
                <a:lnTo>
                  <a:pt x="648" y="510"/>
                </a:lnTo>
                <a:lnTo>
                  <a:pt x="660" y="504"/>
                </a:lnTo>
                <a:lnTo>
                  <a:pt x="672" y="492"/>
                </a:lnTo>
                <a:lnTo>
                  <a:pt x="690" y="492"/>
                </a:lnTo>
                <a:lnTo>
                  <a:pt x="714" y="474"/>
                </a:lnTo>
                <a:lnTo>
                  <a:pt x="726" y="486"/>
                </a:lnTo>
                <a:lnTo>
                  <a:pt x="750" y="486"/>
                </a:lnTo>
                <a:lnTo>
                  <a:pt x="756" y="480"/>
                </a:lnTo>
                <a:lnTo>
                  <a:pt x="768" y="480"/>
                </a:lnTo>
                <a:lnTo>
                  <a:pt x="768" y="468"/>
                </a:lnTo>
                <a:lnTo>
                  <a:pt x="786" y="450"/>
                </a:lnTo>
                <a:lnTo>
                  <a:pt x="792" y="450"/>
                </a:lnTo>
                <a:lnTo>
                  <a:pt x="792" y="456"/>
                </a:lnTo>
                <a:lnTo>
                  <a:pt x="804" y="468"/>
                </a:lnTo>
                <a:lnTo>
                  <a:pt x="840" y="462"/>
                </a:lnTo>
                <a:lnTo>
                  <a:pt x="840" y="468"/>
                </a:lnTo>
                <a:lnTo>
                  <a:pt x="852" y="480"/>
                </a:lnTo>
                <a:lnTo>
                  <a:pt x="876" y="480"/>
                </a:lnTo>
                <a:lnTo>
                  <a:pt x="894" y="474"/>
                </a:lnTo>
                <a:lnTo>
                  <a:pt x="912" y="456"/>
                </a:lnTo>
                <a:lnTo>
                  <a:pt x="912" y="432"/>
                </a:lnTo>
                <a:lnTo>
                  <a:pt x="906" y="42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" name="Zambia"/>
          <p:cNvSpPr>
            <a:spLocks/>
          </p:cNvSpPr>
          <p:nvPr/>
        </p:nvSpPr>
        <p:spPr bwMode="gray">
          <a:xfrm>
            <a:off x="4644296" y="4523455"/>
            <a:ext cx="334962" cy="322263"/>
          </a:xfrm>
          <a:custGeom>
            <a:avLst/>
            <a:gdLst>
              <a:gd name="T0" fmla="*/ 2147483647 w 834"/>
              <a:gd name="T1" fmla="*/ 2147483647 h 798"/>
              <a:gd name="T2" fmla="*/ 2147483647 w 834"/>
              <a:gd name="T3" fmla="*/ 2147483647 h 798"/>
              <a:gd name="T4" fmla="*/ 2147483647 w 834"/>
              <a:gd name="T5" fmla="*/ 2147483647 h 798"/>
              <a:gd name="T6" fmla="*/ 2147483647 w 834"/>
              <a:gd name="T7" fmla="*/ 2147483647 h 798"/>
              <a:gd name="T8" fmla="*/ 2147483647 w 834"/>
              <a:gd name="T9" fmla="*/ 2147483647 h 798"/>
              <a:gd name="T10" fmla="*/ 2147483647 w 834"/>
              <a:gd name="T11" fmla="*/ 2147483647 h 798"/>
              <a:gd name="T12" fmla="*/ 2147483647 w 834"/>
              <a:gd name="T13" fmla="*/ 2147483647 h 798"/>
              <a:gd name="T14" fmla="*/ 2147483647 w 834"/>
              <a:gd name="T15" fmla="*/ 2147483647 h 798"/>
              <a:gd name="T16" fmla="*/ 2147483647 w 834"/>
              <a:gd name="T17" fmla="*/ 2147483647 h 798"/>
              <a:gd name="T18" fmla="*/ 2147483647 w 834"/>
              <a:gd name="T19" fmla="*/ 2147483647 h 798"/>
              <a:gd name="T20" fmla="*/ 2147483647 w 834"/>
              <a:gd name="T21" fmla="*/ 2147483647 h 798"/>
              <a:gd name="T22" fmla="*/ 2147483647 w 834"/>
              <a:gd name="T23" fmla="*/ 2147483647 h 798"/>
              <a:gd name="T24" fmla="*/ 2147483647 w 834"/>
              <a:gd name="T25" fmla="*/ 2147483647 h 798"/>
              <a:gd name="T26" fmla="*/ 2147483647 w 834"/>
              <a:gd name="T27" fmla="*/ 2147483647 h 798"/>
              <a:gd name="T28" fmla="*/ 2147483647 w 834"/>
              <a:gd name="T29" fmla="*/ 2147483647 h 798"/>
              <a:gd name="T30" fmla="*/ 2147483647 w 834"/>
              <a:gd name="T31" fmla="*/ 2147483647 h 798"/>
              <a:gd name="T32" fmla="*/ 2147483647 w 834"/>
              <a:gd name="T33" fmla="*/ 2147483647 h 798"/>
              <a:gd name="T34" fmla="*/ 2147483647 w 834"/>
              <a:gd name="T35" fmla="*/ 2147483647 h 798"/>
              <a:gd name="T36" fmla="*/ 2147483647 w 834"/>
              <a:gd name="T37" fmla="*/ 2147483647 h 798"/>
              <a:gd name="T38" fmla="*/ 2147483647 w 834"/>
              <a:gd name="T39" fmla="*/ 2147483647 h 798"/>
              <a:gd name="T40" fmla="*/ 2147483647 w 834"/>
              <a:gd name="T41" fmla="*/ 2147483647 h 798"/>
              <a:gd name="T42" fmla="*/ 2147483647 w 834"/>
              <a:gd name="T43" fmla="*/ 2147483647 h 798"/>
              <a:gd name="T44" fmla="*/ 2147483647 w 834"/>
              <a:gd name="T45" fmla="*/ 2147483647 h 798"/>
              <a:gd name="T46" fmla="*/ 2147483647 w 834"/>
              <a:gd name="T47" fmla="*/ 2147483647 h 798"/>
              <a:gd name="T48" fmla="*/ 2147483647 w 834"/>
              <a:gd name="T49" fmla="*/ 2147483647 h 798"/>
              <a:gd name="T50" fmla="*/ 2147483647 w 834"/>
              <a:gd name="T51" fmla="*/ 2147483647 h 798"/>
              <a:gd name="T52" fmla="*/ 2147483647 w 834"/>
              <a:gd name="T53" fmla="*/ 2147483647 h 798"/>
              <a:gd name="T54" fmla="*/ 2147483647 w 834"/>
              <a:gd name="T55" fmla="*/ 2147483647 h 798"/>
              <a:gd name="T56" fmla="*/ 2147483647 w 834"/>
              <a:gd name="T57" fmla="*/ 2147483647 h 798"/>
              <a:gd name="T58" fmla="*/ 2147483647 w 834"/>
              <a:gd name="T59" fmla="*/ 2147483647 h 798"/>
              <a:gd name="T60" fmla="*/ 2147483647 w 834"/>
              <a:gd name="T61" fmla="*/ 2147483647 h 798"/>
              <a:gd name="T62" fmla="*/ 2147483647 w 834"/>
              <a:gd name="T63" fmla="*/ 2147483647 h 798"/>
              <a:gd name="T64" fmla="*/ 2147483647 w 834"/>
              <a:gd name="T65" fmla="*/ 2147483647 h 798"/>
              <a:gd name="T66" fmla="*/ 2147483647 w 834"/>
              <a:gd name="T67" fmla="*/ 2147483647 h 798"/>
              <a:gd name="T68" fmla="*/ 2147483647 w 834"/>
              <a:gd name="T69" fmla="*/ 2147483647 h 798"/>
              <a:gd name="T70" fmla="*/ 2147483647 w 834"/>
              <a:gd name="T71" fmla="*/ 2147483647 h 798"/>
              <a:gd name="T72" fmla="*/ 2147483647 w 834"/>
              <a:gd name="T73" fmla="*/ 2147483647 h 798"/>
              <a:gd name="T74" fmla="*/ 2147483647 w 834"/>
              <a:gd name="T75" fmla="*/ 2147483647 h 798"/>
              <a:gd name="T76" fmla="*/ 2147483647 w 834"/>
              <a:gd name="T77" fmla="*/ 2147483647 h 798"/>
              <a:gd name="T78" fmla="*/ 2147483647 w 834"/>
              <a:gd name="T79" fmla="*/ 2147483647 h 798"/>
              <a:gd name="T80" fmla="*/ 2147483647 w 834"/>
              <a:gd name="T81" fmla="*/ 2147483647 h 798"/>
              <a:gd name="T82" fmla="*/ 2147483647 w 834"/>
              <a:gd name="T83" fmla="*/ 2147483647 h 798"/>
              <a:gd name="T84" fmla="*/ 2147483647 w 834"/>
              <a:gd name="T85" fmla="*/ 2147483647 h 798"/>
              <a:gd name="T86" fmla="*/ 2147483647 w 834"/>
              <a:gd name="T87" fmla="*/ 2147483647 h 798"/>
              <a:gd name="T88" fmla="*/ 2147483647 w 834"/>
              <a:gd name="T89" fmla="*/ 2147483647 h 798"/>
              <a:gd name="T90" fmla="*/ 2147483647 w 834"/>
              <a:gd name="T91" fmla="*/ 2147483647 h 798"/>
              <a:gd name="T92" fmla="*/ 2147483647 w 834"/>
              <a:gd name="T93" fmla="*/ 2147483647 h 798"/>
              <a:gd name="T94" fmla="*/ 2147483647 w 834"/>
              <a:gd name="T95" fmla="*/ 2147483647 h 798"/>
              <a:gd name="T96" fmla="*/ 2147483647 w 834"/>
              <a:gd name="T97" fmla="*/ 2147483647 h 798"/>
              <a:gd name="T98" fmla="*/ 2147483647 w 834"/>
              <a:gd name="T99" fmla="*/ 2147483647 h 798"/>
              <a:gd name="T100" fmla="*/ 2147483647 w 834"/>
              <a:gd name="T101" fmla="*/ 2147483647 h 798"/>
              <a:gd name="T102" fmla="*/ 2147483647 w 834"/>
              <a:gd name="T103" fmla="*/ 2147483647 h 79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834"/>
              <a:gd name="T157" fmla="*/ 0 h 798"/>
              <a:gd name="T158" fmla="*/ 834 w 834"/>
              <a:gd name="T159" fmla="*/ 798 h 79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834" h="798">
                <a:moveTo>
                  <a:pt x="822" y="186"/>
                </a:moveTo>
                <a:lnTo>
                  <a:pt x="822" y="162"/>
                </a:lnTo>
                <a:lnTo>
                  <a:pt x="816" y="168"/>
                </a:lnTo>
                <a:lnTo>
                  <a:pt x="810" y="168"/>
                </a:lnTo>
                <a:lnTo>
                  <a:pt x="810" y="126"/>
                </a:lnTo>
                <a:lnTo>
                  <a:pt x="798" y="114"/>
                </a:lnTo>
                <a:lnTo>
                  <a:pt x="786" y="114"/>
                </a:lnTo>
                <a:lnTo>
                  <a:pt x="786" y="102"/>
                </a:lnTo>
                <a:lnTo>
                  <a:pt x="768" y="90"/>
                </a:lnTo>
                <a:lnTo>
                  <a:pt x="750" y="90"/>
                </a:lnTo>
                <a:lnTo>
                  <a:pt x="750" y="72"/>
                </a:lnTo>
                <a:lnTo>
                  <a:pt x="738" y="78"/>
                </a:lnTo>
                <a:lnTo>
                  <a:pt x="726" y="78"/>
                </a:lnTo>
                <a:lnTo>
                  <a:pt x="708" y="60"/>
                </a:lnTo>
                <a:lnTo>
                  <a:pt x="690" y="60"/>
                </a:lnTo>
                <a:lnTo>
                  <a:pt x="684" y="54"/>
                </a:lnTo>
                <a:lnTo>
                  <a:pt x="684" y="36"/>
                </a:lnTo>
                <a:lnTo>
                  <a:pt x="672" y="42"/>
                </a:lnTo>
                <a:lnTo>
                  <a:pt x="654" y="42"/>
                </a:lnTo>
                <a:lnTo>
                  <a:pt x="648" y="54"/>
                </a:lnTo>
                <a:lnTo>
                  <a:pt x="642" y="60"/>
                </a:lnTo>
                <a:lnTo>
                  <a:pt x="636" y="60"/>
                </a:lnTo>
                <a:lnTo>
                  <a:pt x="624" y="48"/>
                </a:lnTo>
                <a:lnTo>
                  <a:pt x="624" y="36"/>
                </a:lnTo>
                <a:lnTo>
                  <a:pt x="618" y="30"/>
                </a:lnTo>
                <a:lnTo>
                  <a:pt x="606" y="30"/>
                </a:lnTo>
                <a:lnTo>
                  <a:pt x="600" y="24"/>
                </a:lnTo>
                <a:lnTo>
                  <a:pt x="594" y="24"/>
                </a:lnTo>
                <a:lnTo>
                  <a:pt x="594" y="6"/>
                </a:lnTo>
                <a:lnTo>
                  <a:pt x="600" y="0"/>
                </a:lnTo>
                <a:lnTo>
                  <a:pt x="576" y="12"/>
                </a:lnTo>
                <a:lnTo>
                  <a:pt x="558" y="12"/>
                </a:lnTo>
                <a:lnTo>
                  <a:pt x="546" y="18"/>
                </a:lnTo>
                <a:lnTo>
                  <a:pt x="528" y="18"/>
                </a:lnTo>
                <a:lnTo>
                  <a:pt x="510" y="24"/>
                </a:lnTo>
                <a:lnTo>
                  <a:pt x="498" y="24"/>
                </a:lnTo>
                <a:lnTo>
                  <a:pt x="498" y="54"/>
                </a:lnTo>
                <a:lnTo>
                  <a:pt x="480" y="72"/>
                </a:lnTo>
                <a:lnTo>
                  <a:pt x="468" y="78"/>
                </a:lnTo>
                <a:lnTo>
                  <a:pt x="462" y="84"/>
                </a:lnTo>
                <a:lnTo>
                  <a:pt x="456" y="84"/>
                </a:lnTo>
                <a:lnTo>
                  <a:pt x="468" y="96"/>
                </a:lnTo>
                <a:lnTo>
                  <a:pt x="468" y="102"/>
                </a:lnTo>
                <a:lnTo>
                  <a:pt x="474" y="108"/>
                </a:lnTo>
                <a:lnTo>
                  <a:pt x="474" y="114"/>
                </a:lnTo>
                <a:lnTo>
                  <a:pt x="480" y="120"/>
                </a:lnTo>
                <a:lnTo>
                  <a:pt x="480" y="144"/>
                </a:lnTo>
                <a:lnTo>
                  <a:pt x="486" y="162"/>
                </a:lnTo>
                <a:lnTo>
                  <a:pt x="486" y="216"/>
                </a:lnTo>
                <a:lnTo>
                  <a:pt x="474" y="228"/>
                </a:lnTo>
                <a:lnTo>
                  <a:pt x="468" y="240"/>
                </a:lnTo>
                <a:lnTo>
                  <a:pt x="462" y="258"/>
                </a:lnTo>
                <a:lnTo>
                  <a:pt x="456" y="270"/>
                </a:lnTo>
                <a:lnTo>
                  <a:pt x="456" y="294"/>
                </a:lnTo>
                <a:lnTo>
                  <a:pt x="468" y="306"/>
                </a:lnTo>
                <a:lnTo>
                  <a:pt x="474" y="306"/>
                </a:lnTo>
                <a:lnTo>
                  <a:pt x="474" y="312"/>
                </a:lnTo>
                <a:lnTo>
                  <a:pt x="480" y="312"/>
                </a:lnTo>
                <a:lnTo>
                  <a:pt x="510" y="342"/>
                </a:lnTo>
                <a:lnTo>
                  <a:pt x="522" y="348"/>
                </a:lnTo>
                <a:lnTo>
                  <a:pt x="528" y="348"/>
                </a:lnTo>
                <a:lnTo>
                  <a:pt x="534" y="342"/>
                </a:lnTo>
                <a:lnTo>
                  <a:pt x="534" y="324"/>
                </a:lnTo>
                <a:lnTo>
                  <a:pt x="558" y="324"/>
                </a:lnTo>
                <a:lnTo>
                  <a:pt x="558" y="372"/>
                </a:lnTo>
                <a:lnTo>
                  <a:pt x="552" y="408"/>
                </a:lnTo>
                <a:lnTo>
                  <a:pt x="546" y="426"/>
                </a:lnTo>
                <a:lnTo>
                  <a:pt x="540" y="426"/>
                </a:lnTo>
                <a:lnTo>
                  <a:pt x="540" y="420"/>
                </a:lnTo>
                <a:lnTo>
                  <a:pt x="534" y="408"/>
                </a:lnTo>
                <a:lnTo>
                  <a:pt x="516" y="420"/>
                </a:lnTo>
                <a:lnTo>
                  <a:pt x="498" y="420"/>
                </a:lnTo>
                <a:lnTo>
                  <a:pt x="498" y="408"/>
                </a:lnTo>
                <a:lnTo>
                  <a:pt x="492" y="396"/>
                </a:lnTo>
                <a:lnTo>
                  <a:pt x="492" y="384"/>
                </a:lnTo>
                <a:lnTo>
                  <a:pt x="480" y="372"/>
                </a:lnTo>
                <a:lnTo>
                  <a:pt x="468" y="372"/>
                </a:lnTo>
                <a:lnTo>
                  <a:pt x="462" y="360"/>
                </a:lnTo>
                <a:lnTo>
                  <a:pt x="462" y="354"/>
                </a:lnTo>
                <a:lnTo>
                  <a:pt x="456" y="342"/>
                </a:lnTo>
                <a:lnTo>
                  <a:pt x="450" y="336"/>
                </a:lnTo>
                <a:lnTo>
                  <a:pt x="444" y="336"/>
                </a:lnTo>
                <a:lnTo>
                  <a:pt x="438" y="342"/>
                </a:lnTo>
                <a:lnTo>
                  <a:pt x="426" y="342"/>
                </a:lnTo>
                <a:lnTo>
                  <a:pt x="426" y="330"/>
                </a:lnTo>
                <a:lnTo>
                  <a:pt x="420" y="324"/>
                </a:lnTo>
                <a:lnTo>
                  <a:pt x="390" y="324"/>
                </a:lnTo>
                <a:lnTo>
                  <a:pt x="390" y="312"/>
                </a:lnTo>
                <a:lnTo>
                  <a:pt x="396" y="312"/>
                </a:lnTo>
                <a:lnTo>
                  <a:pt x="396" y="300"/>
                </a:lnTo>
                <a:lnTo>
                  <a:pt x="384" y="300"/>
                </a:lnTo>
                <a:lnTo>
                  <a:pt x="378" y="294"/>
                </a:lnTo>
                <a:lnTo>
                  <a:pt x="378" y="282"/>
                </a:lnTo>
                <a:lnTo>
                  <a:pt x="366" y="270"/>
                </a:lnTo>
                <a:lnTo>
                  <a:pt x="360" y="270"/>
                </a:lnTo>
                <a:lnTo>
                  <a:pt x="354" y="276"/>
                </a:lnTo>
                <a:lnTo>
                  <a:pt x="354" y="294"/>
                </a:lnTo>
                <a:lnTo>
                  <a:pt x="348" y="300"/>
                </a:lnTo>
                <a:lnTo>
                  <a:pt x="348" y="306"/>
                </a:lnTo>
                <a:lnTo>
                  <a:pt x="330" y="306"/>
                </a:lnTo>
                <a:lnTo>
                  <a:pt x="300" y="300"/>
                </a:lnTo>
                <a:lnTo>
                  <a:pt x="264" y="294"/>
                </a:lnTo>
                <a:lnTo>
                  <a:pt x="246" y="282"/>
                </a:lnTo>
                <a:lnTo>
                  <a:pt x="240" y="276"/>
                </a:lnTo>
                <a:lnTo>
                  <a:pt x="234" y="264"/>
                </a:lnTo>
                <a:lnTo>
                  <a:pt x="234" y="246"/>
                </a:lnTo>
                <a:lnTo>
                  <a:pt x="192" y="252"/>
                </a:lnTo>
                <a:lnTo>
                  <a:pt x="198" y="258"/>
                </a:lnTo>
                <a:lnTo>
                  <a:pt x="198" y="264"/>
                </a:lnTo>
                <a:lnTo>
                  <a:pt x="180" y="264"/>
                </a:lnTo>
                <a:lnTo>
                  <a:pt x="174" y="258"/>
                </a:lnTo>
                <a:lnTo>
                  <a:pt x="174" y="228"/>
                </a:lnTo>
                <a:lnTo>
                  <a:pt x="156" y="228"/>
                </a:lnTo>
                <a:lnTo>
                  <a:pt x="150" y="216"/>
                </a:lnTo>
                <a:lnTo>
                  <a:pt x="144" y="234"/>
                </a:lnTo>
                <a:lnTo>
                  <a:pt x="144" y="240"/>
                </a:lnTo>
                <a:lnTo>
                  <a:pt x="156" y="252"/>
                </a:lnTo>
                <a:lnTo>
                  <a:pt x="156" y="270"/>
                </a:lnTo>
                <a:lnTo>
                  <a:pt x="150" y="276"/>
                </a:lnTo>
                <a:lnTo>
                  <a:pt x="144" y="276"/>
                </a:lnTo>
                <a:lnTo>
                  <a:pt x="144" y="330"/>
                </a:lnTo>
                <a:lnTo>
                  <a:pt x="156" y="342"/>
                </a:lnTo>
                <a:lnTo>
                  <a:pt x="138" y="348"/>
                </a:lnTo>
                <a:lnTo>
                  <a:pt x="138" y="354"/>
                </a:lnTo>
                <a:lnTo>
                  <a:pt x="144" y="360"/>
                </a:lnTo>
                <a:lnTo>
                  <a:pt x="144" y="384"/>
                </a:lnTo>
                <a:lnTo>
                  <a:pt x="132" y="396"/>
                </a:lnTo>
                <a:lnTo>
                  <a:pt x="126" y="396"/>
                </a:lnTo>
                <a:lnTo>
                  <a:pt x="0" y="390"/>
                </a:lnTo>
                <a:lnTo>
                  <a:pt x="0" y="642"/>
                </a:lnTo>
                <a:lnTo>
                  <a:pt x="6" y="654"/>
                </a:lnTo>
                <a:lnTo>
                  <a:pt x="6" y="672"/>
                </a:lnTo>
                <a:lnTo>
                  <a:pt x="96" y="762"/>
                </a:lnTo>
                <a:lnTo>
                  <a:pt x="114" y="768"/>
                </a:lnTo>
                <a:lnTo>
                  <a:pt x="138" y="756"/>
                </a:lnTo>
                <a:lnTo>
                  <a:pt x="144" y="756"/>
                </a:lnTo>
                <a:lnTo>
                  <a:pt x="150" y="750"/>
                </a:lnTo>
                <a:lnTo>
                  <a:pt x="168" y="750"/>
                </a:lnTo>
                <a:lnTo>
                  <a:pt x="174" y="756"/>
                </a:lnTo>
                <a:lnTo>
                  <a:pt x="174" y="762"/>
                </a:lnTo>
                <a:lnTo>
                  <a:pt x="204" y="756"/>
                </a:lnTo>
                <a:lnTo>
                  <a:pt x="222" y="774"/>
                </a:lnTo>
                <a:lnTo>
                  <a:pt x="264" y="774"/>
                </a:lnTo>
                <a:lnTo>
                  <a:pt x="264" y="780"/>
                </a:lnTo>
                <a:lnTo>
                  <a:pt x="276" y="792"/>
                </a:lnTo>
                <a:lnTo>
                  <a:pt x="288" y="792"/>
                </a:lnTo>
                <a:lnTo>
                  <a:pt x="288" y="780"/>
                </a:lnTo>
                <a:lnTo>
                  <a:pt x="300" y="780"/>
                </a:lnTo>
                <a:lnTo>
                  <a:pt x="312" y="792"/>
                </a:lnTo>
                <a:lnTo>
                  <a:pt x="312" y="798"/>
                </a:lnTo>
                <a:lnTo>
                  <a:pt x="330" y="798"/>
                </a:lnTo>
                <a:lnTo>
                  <a:pt x="354" y="786"/>
                </a:lnTo>
                <a:lnTo>
                  <a:pt x="384" y="756"/>
                </a:lnTo>
                <a:lnTo>
                  <a:pt x="390" y="744"/>
                </a:lnTo>
                <a:lnTo>
                  <a:pt x="396" y="738"/>
                </a:lnTo>
                <a:lnTo>
                  <a:pt x="396" y="732"/>
                </a:lnTo>
                <a:lnTo>
                  <a:pt x="402" y="726"/>
                </a:lnTo>
                <a:lnTo>
                  <a:pt x="414" y="702"/>
                </a:lnTo>
                <a:lnTo>
                  <a:pt x="420" y="696"/>
                </a:lnTo>
                <a:lnTo>
                  <a:pt x="432" y="690"/>
                </a:lnTo>
                <a:lnTo>
                  <a:pt x="450" y="684"/>
                </a:lnTo>
                <a:lnTo>
                  <a:pt x="462" y="678"/>
                </a:lnTo>
                <a:lnTo>
                  <a:pt x="474" y="678"/>
                </a:lnTo>
                <a:lnTo>
                  <a:pt x="480" y="672"/>
                </a:lnTo>
                <a:lnTo>
                  <a:pt x="480" y="636"/>
                </a:lnTo>
                <a:lnTo>
                  <a:pt x="504" y="624"/>
                </a:lnTo>
                <a:lnTo>
                  <a:pt x="516" y="612"/>
                </a:lnTo>
                <a:lnTo>
                  <a:pt x="552" y="600"/>
                </a:lnTo>
                <a:lnTo>
                  <a:pt x="588" y="600"/>
                </a:lnTo>
                <a:lnTo>
                  <a:pt x="588" y="576"/>
                </a:lnTo>
                <a:lnTo>
                  <a:pt x="570" y="558"/>
                </a:lnTo>
                <a:lnTo>
                  <a:pt x="582" y="546"/>
                </a:lnTo>
                <a:lnTo>
                  <a:pt x="612" y="546"/>
                </a:lnTo>
                <a:lnTo>
                  <a:pt x="630" y="528"/>
                </a:lnTo>
                <a:lnTo>
                  <a:pt x="642" y="528"/>
                </a:lnTo>
                <a:lnTo>
                  <a:pt x="654" y="522"/>
                </a:lnTo>
                <a:lnTo>
                  <a:pt x="672" y="522"/>
                </a:lnTo>
                <a:lnTo>
                  <a:pt x="690" y="516"/>
                </a:lnTo>
                <a:lnTo>
                  <a:pt x="702" y="510"/>
                </a:lnTo>
                <a:lnTo>
                  <a:pt x="708" y="510"/>
                </a:lnTo>
                <a:lnTo>
                  <a:pt x="732" y="498"/>
                </a:lnTo>
                <a:lnTo>
                  <a:pt x="750" y="486"/>
                </a:lnTo>
                <a:lnTo>
                  <a:pt x="762" y="480"/>
                </a:lnTo>
                <a:lnTo>
                  <a:pt x="780" y="474"/>
                </a:lnTo>
                <a:lnTo>
                  <a:pt x="786" y="468"/>
                </a:lnTo>
                <a:lnTo>
                  <a:pt x="792" y="468"/>
                </a:lnTo>
                <a:lnTo>
                  <a:pt x="780" y="462"/>
                </a:lnTo>
                <a:lnTo>
                  <a:pt x="768" y="450"/>
                </a:lnTo>
                <a:lnTo>
                  <a:pt x="756" y="444"/>
                </a:lnTo>
                <a:lnTo>
                  <a:pt x="756" y="438"/>
                </a:lnTo>
                <a:lnTo>
                  <a:pt x="762" y="432"/>
                </a:lnTo>
                <a:lnTo>
                  <a:pt x="768" y="420"/>
                </a:lnTo>
                <a:lnTo>
                  <a:pt x="774" y="414"/>
                </a:lnTo>
                <a:lnTo>
                  <a:pt x="780" y="402"/>
                </a:lnTo>
                <a:lnTo>
                  <a:pt x="774" y="366"/>
                </a:lnTo>
                <a:lnTo>
                  <a:pt x="780" y="366"/>
                </a:lnTo>
                <a:lnTo>
                  <a:pt x="786" y="360"/>
                </a:lnTo>
                <a:lnTo>
                  <a:pt x="798" y="354"/>
                </a:lnTo>
                <a:lnTo>
                  <a:pt x="816" y="336"/>
                </a:lnTo>
                <a:lnTo>
                  <a:pt x="816" y="330"/>
                </a:lnTo>
                <a:lnTo>
                  <a:pt x="804" y="330"/>
                </a:lnTo>
                <a:lnTo>
                  <a:pt x="804" y="258"/>
                </a:lnTo>
                <a:lnTo>
                  <a:pt x="810" y="240"/>
                </a:lnTo>
                <a:lnTo>
                  <a:pt x="798" y="234"/>
                </a:lnTo>
                <a:lnTo>
                  <a:pt x="798" y="216"/>
                </a:lnTo>
                <a:lnTo>
                  <a:pt x="804" y="216"/>
                </a:lnTo>
                <a:lnTo>
                  <a:pt x="810" y="210"/>
                </a:lnTo>
                <a:lnTo>
                  <a:pt x="834" y="198"/>
                </a:lnTo>
                <a:lnTo>
                  <a:pt x="834" y="186"/>
                </a:lnTo>
                <a:lnTo>
                  <a:pt x="822" y="18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" name="West Sahara"/>
          <p:cNvSpPr>
            <a:spLocks/>
          </p:cNvSpPr>
          <p:nvPr/>
        </p:nvSpPr>
        <p:spPr bwMode="gray">
          <a:xfrm>
            <a:off x="3544158" y="3362993"/>
            <a:ext cx="241300" cy="206375"/>
          </a:xfrm>
          <a:custGeom>
            <a:avLst/>
            <a:gdLst>
              <a:gd name="T0" fmla="*/ 2147483647 w 600"/>
              <a:gd name="T1" fmla="*/ 0 h 510"/>
              <a:gd name="T2" fmla="*/ 2147483647 w 600"/>
              <a:gd name="T3" fmla="*/ 0 h 510"/>
              <a:gd name="T4" fmla="*/ 2147483647 w 600"/>
              <a:gd name="T5" fmla="*/ 2147483647 h 510"/>
              <a:gd name="T6" fmla="*/ 2147483647 w 600"/>
              <a:gd name="T7" fmla="*/ 2147483647 h 510"/>
              <a:gd name="T8" fmla="*/ 2147483647 w 600"/>
              <a:gd name="T9" fmla="*/ 2147483647 h 510"/>
              <a:gd name="T10" fmla="*/ 2147483647 w 600"/>
              <a:gd name="T11" fmla="*/ 2147483647 h 510"/>
              <a:gd name="T12" fmla="*/ 2147483647 w 600"/>
              <a:gd name="T13" fmla="*/ 2147483647 h 510"/>
              <a:gd name="T14" fmla="*/ 2147483647 w 600"/>
              <a:gd name="T15" fmla="*/ 2147483647 h 510"/>
              <a:gd name="T16" fmla="*/ 2147483647 w 600"/>
              <a:gd name="T17" fmla="*/ 2147483647 h 510"/>
              <a:gd name="T18" fmla="*/ 2147483647 w 600"/>
              <a:gd name="T19" fmla="*/ 2147483647 h 510"/>
              <a:gd name="T20" fmla="*/ 2147483647 w 600"/>
              <a:gd name="T21" fmla="*/ 2147483647 h 510"/>
              <a:gd name="T22" fmla="*/ 2147483647 w 600"/>
              <a:gd name="T23" fmla="*/ 2147483647 h 510"/>
              <a:gd name="T24" fmla="*/ 2147483647 w 600"/>
              <a:gd name="T25" fmla="*/ 2147483647 h 510"/>
              <a:gd name="T26" fmla="*/ 2147483647 w 600"/>
              <a:gd name="T27" fmla="*/ 2147483647 h 510"/>
              <a:gd name="T28" fmla="*/ 2147483647 w 600"/>
              <a:gd name="T29" fmla="*/ 2147483647 h 510"/>
              <a:gd name="T30" fmla="*/ 2147483647 w 600"/>
              <a:gd name="T31" fmla="*/ 2147483647 h 510"/>
              <a:gd name="T32" fmla="*/ 2147483647 w 600"/>
              <a:gd name="T33" fmla="*/ 2147483647 h 510"/>
              <a:gd name="T34" fmla="*/ 2147483647 w 600"/>
              <a:gd name="T35" fmla="*/ 2147483647 h 510"/>
              <a:gd name="T36" fmla="*/ 2147483647 w 600"/>
              <a:gd name="T37" fmla="*/ 2147483647 h 510"/>
              <a:gd name="T38" fmla="*/ 2147483647 w 600"/>
              <a:gd name="T39" fmla="*/ 2147483647 h 510"/>
              <a:gd name="T40" fmla="*/ 2147483647 w 600"/>
              <a:gd name="T41" fmla="*/ 2147483647 h 510"/>
              <a:gd name="T42" fmla="*/ 2147483647 w 600"/>
              <a:gd name="T43" fmla="*/ 2147483647 h 510"/>
              <a:gd name="T44" fmla="*/ 2147483647 w 600"/>
              <a:gd name="T45" fmla="*/ 2147483647 h 510"/>
              <a:gd name="T46" fmla="*/ 2147483647 w 600"/>
              <a:gd name="T47" fmla="*/ 2147483647 h 510"/>
              <a:gd name="T48" fmla="*/ 2147483647 w 600"/>
              <a:gd name="T49" fmla="*/ 2147483647 h 510"/>
              <a:gd name="T50" fmla="*/ 2147483647 w 600"/>
              <a:gd name="T51" fmla="*/ 2147483647 h 510"/>
              <a:gd name="T52" fmla="*/ 2147483647 w 600"/>
              <a:gd name="T53" fmla="*/ 2147483647 h 510"/>
              <a:gd name="T54" fmla="*/ 2147483647 w 600"/>
              <a:gd name="T55" fmla="*/ 2147483647 h 510"/>
              <a:gd name="T56" fmla="*/ 2147483647 w 600"/>
              <a:gd name="T57" fmla="*/ 2147483647 h 510"/>
              <a:gd name="T58" fmla="*/ 2147483647 w 600"/>
              <a:gd name="T59" fmla="*/ 2147483647 h 510"/>
              <a:gd name="T60" fmla="*/ 2147483647 w 600"/>
              <a:gd name="T61" fmla="*/ 2147483647 h 510"/>
              <a:gd name="T62" fmla="*/ 2147483647 w 600"/>
              <a:gd name="T63" fmla="*/ 2147483647 h 510"/>
              <a:gd name="T64" fmla="*/ 2147483647 w 600"/>
              <a:gd name="T65" fmla="*/ 2147483647 h 510"/>
              <a:gd name="T66" fmla="*/ 2147483647 w 600"/>
              <a:gd name="T67" fmla="*/ 2147483647 h 510"/>
              <a:gd name="T68" fmla="*/ 2147483647 w 600"/>
              <a:gd name="T69" fmla="*/ 2147483647 h 510"/>
              <a:gd name="T70" fmla="*/ 2147483647 w 600"/>
              <a:gd name="T71" fmla="*/ 2147483647 h 510"/>
              <a:gd name="T72" fmla="*/ 2147483647 w 600"/>
              <a:gd name="T73" fmla="*/ 2147483647 h 510"/>
              <a:gd name="T74" fmla="*/ 2147483647 w 600"/>
              <a:gd name="T75" fmla="*/ 2147483647 h 510"/>
              <a:gd name="T76" fmla="*/ 2147483647 w 600"/>
              <a:gd name="T77" fmla="*/ 2147483647 h 510"/>
              <a:gd name="T78" fmla="*/ 0 w 600"/>
              <a:gd name="T79" fmla="*/ 2147483647 h 510"/>
              <a:gd name="T80" fmla="*/ 0 w 600"/>
              <a:gd name="T81" fmla="*/ 2147483647 h 510"/>
              <a:gd name="T82" fmla="*/ 2147483647 w 600"/>
              <a:gd name="T83" fmla="*/ 2147483647 h 510"/>
              <a:gd name="T84" fmla="*/ 2147483647 w 600"/>
              <a:gd name="T85" fmla="*/ 2147483647 h 510"/>
              <a:gd name="T86" fmla="*/ 2147483647 w 600"/>
              <a:gd name="T87" fmla="*/ 2147483647 h 510"/>
              <a:gd name="T88" fmla="*/ 2147483647 w 600"/>
              <a:gd name="T89" fmla="*/ 2147483647 h 510"/>
              <a:gd name="T90" fmla="*/ 2147483647 w 600"/>
              <a:gd name="T91" fmla="*/ 2147483647 h 510"/>
              <a:gd name="T92" fmla="*/ 2147483647 w 600"/>
              <a:gd name="T93" fmla="*/ 2147483647 h 510"/>
              <a:gd name="T94" fmla="*/ 2147483647 w 600"/>
              <a:gd name="T95" fmla="*/ 2147483647 h 510"/>
              <a:gd name="T96" fmla="*/ 2147483647 w 600"/>
              <a:gd name="T97" fmla="*/ 2147483647 h 510"/>
              <a:gd name="T98" fmla="*/ 2147483647 w 600"/>
              <a:gd name="T99" fmla="*/ 2147483647 h 510"/>
              <a:gd name="T100" fmla="*/ 2147483647 w 600"/>
              <a:gd name="T101" fmla="*/ 2147483647 h 510"/>
              <a:gd name="T102" fmla="*/ 2147483647 w 600"/>
              <a:gd name="T103" fmla="*/ 2147483647 h 510"/>
              <a:gd name="T104" fmla="*/ 2147483647 w 600"/>
              <a:gd name="T105" fmla="*/ 2147483647 h 510"/>
              <a:gd name="T106" fmla="*/ 2147483647 w 600"/>
              <a:gd name="T107" fmla="*/ 2147483647 h 510"/>
              <a:gd name="T108" fmla="*/ 2147483647 w 600"/>
              <a:gd name="T109" fmla="*/ 2147483647 h 510"/>
              <a:gd name="T110" fmla="*/ 2147483647 w 600"/>
              <a:gd name="T111" fmla="*/ 2147483647 h 510"/>
              <a:gd name="T112" fmla="*/ 2147483647 w 600"/>
              <a:gd name="T113" fmla="*/ 0 h 510"/>
              <a:gd name="T114" fmla="*/ 2147483647 w 600"/>
              <a:gd name="T115" fmla="*/ 0 h 51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00"/>
              <a:gd name="T175" fmla="*/ 0 h 510"/>
              <a:gd name="T176" fmla="*/ 600 w 600"/>
              <a:gd name="T177" fmla="*/ 510 h 51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00" h="510">
                <a:moveTo>
                  <a:pt x="546" y="0"/>
                </a:moveTo>
                <a:lnTo>
                  <a:pt x="288" y="0"/>
                </a:lnTo>
                <a:lnTo>
                  <a:pt x="282" y="6"/>
                </a:lnTo>
                <a:lnTo>
                  <a:pt x="270" y="30"/>
                </a:lnTo>
                <a:lnTo>
                  <a:pt x="270" y="42"/>
                </a:lnTo>
                <a:lnTo>
                  <a:pt x="264" y="54"/>
                </a:lnTo>
                <a:lnTo>
                  <a:pt x="264" y="66"/>
                </a:lnTo>
                <a:lnTo>
                  <a:pt x="234" y="96"/>
                </a:lnTo>
                <a:lnTo>
                  <a:pt x="198" y="96"/>
                </a:lnTo>
                <a:lnTo>
                  <a:pt x="186" y="108"/>
                </a:lnTo>
                <a:lnTo>
                  <a:pt x="186" y="144"/>
                </a:lnTo>
                <a:lnTo>
                  <a:pt x="156" y="174"/>
                </a:lnTo>
                <a:lnTo>
                  <a:pt x="156" y="186"/>
                </a:lnTo>
                <a:lnTo>
                  <a:pt x="168" y="210"/>
                </a:lnTo>
                <a:lnTo>
                  <a:pt x="168" y="222"/>
                </a:lnTo>
                <a:lnTo>
                  <a:pt x="156" y="246"/>
                </a:lnTo>
                <a:lnTo>
                  <a:pt x="144" y="252"/>
                </a:lnTo>
                <a:lnTo>
                  <a:pt x="138" y="252"/>
                </a:lnTo>
                <a:lnTo>
                  <a:pt x="132" y="258"/>
                </a:lnTo>
                <a:lnTo>
                  <a:pt x="126" y="270"/>
                </a:lnTo>
                <a:lnTo>
                  <a:pt x="114" y="282"/>
                </a:lnTo>
                <a:lnTo>
                  <a:pt x="102" y="288"/>
                </a:lnTo>
                <a:lnTo>
                  <a:pt x="96" y="294"/>
                </a:lnTo>
                <a:lnTo>
                  <a:pt x="84" y="300"/>
                </a:lnTo>
                <a:lnTo>
                  <a:pt x="78" y="306"/>
                </a:lnTo>
                <a:lnTo>
                  <a:pt x="78" y="318"/>
                </a:lnTo>
                <a:lnTo>
                  <a:pt x="90" y="324"/>
                </a:lnTo>
                <a:lnTo>
                  <a:pt x="78" y="330"/>
                </a:lnTo>
                <a:lnTo>
                  <a:pt x="60" y="366"/>
                </a:lnTo>
                <a:lnTo>
                  <a:pt x="60" y="384"/>
                </a:lnTo>
                <a:lnTo>
                  <a:pt x="48" y="384"/>
                </a:lnTo>
                <a:lnTo>
                  <a:pt x="48" y="390"/>
                </a:lnTo>
                <a:lnTo>
                  <a:pt x="54" y="396"/>
                </a:lnTo>
                <a:lnTo>
                  <a:pt x="54" y="408"/>
                </a:lnTo>
                <a:lnTo>
                  <a:pt x="48" y="420"/>
                </a:lnTo>
                <a:lnTo>
                  <a:pt x="36" y="426"/>
                </a:lnTo>
                <a:lnTo>
                  <a:pt x="24" y="426"/>
                </a:lnTo>
                <a:lnTo>
                  <a:pt x="18" y="432"/>
                </a:lnTo>
                <a:lnTo>
                  <a:pt x="6" y="456"/>
                </a:lnTo>
                <a:lnTo>
                  <a:pt x="0" y="462"/>
                </a:lnTo>
                <a:lnTo>
                  <a:pt x="0" y="510"/>
                </a:lnTo>
                <a:lnTo>
                  <a:pt x="276" y="510"/>
                </a:lnTo>
                <a:lnTo>
                  <a:pt x="282" y="408"/>
                </a:lnTo>
                <a:lnTo>
                  <a:pt x="276" y="396"/>
                </a:lnTo>
                <a:lnTo>
                  <a:pt x="276" y="378"/>
                </a:lnTo>
                <a:lnTo>
                  <a:pt x="282" y="366"/>
                </a:lnTo>
                <a:lnTo>
                  <a:pt x="306" y="354"/>
                </a:lnTo>
                <a:lnTo>
                  <a:pt x="336" y="354"/>
                </a:lnTo>
                <a:lnTo>
                  <a:pt x="348" y="348"/>
                </a:lnTo>
                <a:lnTo>
                  <a:pt x="354" y="342"/>
                </a:lnTo>
                <a:lnTo>
                  <a:pt x="354" y="150"/>
                </a:lnTo>
                <a:lnTo>
                  <a:pt x="366" y="144"/>
                </a:lnTo>
                <a:lnTo>
                  <a:pt x="366" y="132"/>
                </a:lnTo>
                <a:lnTo>
                  <a:pt x="588" y="126"/>
                </a:lnTo>
                <a:lnTo>
                  <a:pt x="588" y="90"/>
                </a:lnTo>
                <a:lnTo>
                  <a:pt x="594" y="84"/>
                </a:lnTo>
                <a:lnTo>
                  <a:pt x="600" y="0"/>
                </a:lnTo>
                <a:lnTo>
                  <a:pt x="546" y="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0" name="West Bank"/>
          <p:cNvSpPr>
            <a:spLocks/>
          </p:cNvSpPr>
          <p:nvPr/>
        </p:nvSpPr>
        <p:spPr bwMode="gray">
          <a:xfrm>
            <a:off x="4987196" y="3207418"/>
            <a:ext cx="17462" cy="38100"/>
          </a:xfrm>
          <a:custGeom>
            <a:avLst/>
            <a:gdLst>
              <a:gd name="T0" fmla="*/ 2147483647 w 42"/>
              <a:gd name="T1" fmla="*/ 2147483647 h 96"/>
              <a:gd name="T2" fmla="*/ 2147483647 w 42"/>
              <a:gd name="T3" fmla="*/ 2147483647 h 96"/>
              <a:gd name="T4" fmla="*/ 2147483647 w 42"/>
              <a:gd name="T5" fmla="*/ 2147483647 h 96"/>
              <a:gd name="T6" fmla="*/ 2147483647 w 42"/>
              <a:gd name="T7" fmla="*/ 0 h 96"/>
              <a:gd name="T8" fmla="*/ 2147483647 w 42"/>
              <a:gd name="T9" fmla="*/ 0 h 96"/>
              <a:gd name="T10" fmla="*/ 0 w 42"/>
              <a:gd name="T11" fmla="*/ 2147483647 h 96"/>
              <a:gd name="T12" fmla="*/ 0 w 42"/>
              <a:gd name="T13" fmla="*/ 2147483647 h 96"/>
              <a:gd name="T14" fmla="*/ 2147483647 w 42"/>
              <a:gd name="T15" fmla="*/ 2147483647 h 96"/>
              <a:gd name="T16" fmla="*/ 2147483647 w 42"/>
              <a:gd name="T17" fmla="*/ 2147483647 h 96"/>
              <a:gd name="T18" fmla="*/ 2147483647 w 42"/>
              <a:gd name="T19" fmla="*/ 2147483647 h 96"/>
              <a:gd name="T20" fmla="*/ 2147483647 w 42"/>
              <a:gd name="T21" fmla="*/ 2147483647 h 96"/>
              <a:gd name="T22" fmla="*/ 2147483647 w 42"/>
              <a:gd name="T23" fmla="*/ 2147483647 h 9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2"/>
              <a:gd name="T37" fmla="*/ 0 h 96"/>
              <a:gd name="T38" fmla="*/ 42 w 42"/>
              <a:gd name="T39" fmla="*/ 96 h 9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2" h="96">
                <a:moveTo>
                  <a:pt x="24" y="78"/>
                </a:moveTo>
                <a:lnTo>
                  <a:pt x="30" y="84"/>
                </a:lnTo>
                <a:lnTo>
                  <a:pt x="42" y="72"/>
                </a:lnTo>
                <a:lnTo>
                  <a:pt x="36" y="0"/>
                </a:lnTo>
                <a:lnTo>
                  <a:pt x="18" y="0"/>
                </a:lnTo>
                <a:lnTo>
                  <a:pt x="0" y="18"/>
                </a:lnTo>
                <a:lnTo>
                  <a:pt x="0" y="90"/>
                </a:lnTo>
                <a:lnTo>
                  <a:pt x="6" y="96"/>
                </a:lnTo>
                <a:lnTo>
                  <a:pt x="12" y="90"/>
                </a:lnTo>
                <a:lnTo>
                  <a:pt x="18" y="90"/>
                </a:lnTo>
                <a:lnTo>
                  <a:pt x="18" y="84"/>
                </a:lnTo>
                <a:lnTo>
                  <a:pt x="24" y="7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Vietnam"/>
          <p:cNvSpPr>
            <a:spLocks/>
          </p:cNvSpPr>
          <p:nvPr/>
        </p:nvSpPr>
        <p:spPr bwMode="gray">
          <a:xfrm>
            <a:off x="6889021" y="3501105"/>
            <a:ext cx="244475" cy="479425"/>
          </a:xfrm>
          <a:custGeom>
            <a:avLst/>
            <a:gdLst>
              <a:gd name="T0" fmla="*/ 2147483647 w 606"/>
              <a:gd name="T1" fmla="*/ 2147483647 h 1194"/>
              <a:gd name="T2" fmla="*/ 2147483647 w 606"/>
              <a:gd name="T3" fmla="*/ 2147483647 h 1194"/>
              <a:gd name="T4" fmla="*/ 2147483647 w 606"/>
              <a:gd name="T5" fmla="*/ 2147483647 h 1194"/>
              <a:gd name="T6" fmla="*/ 2147483647 w 606"/>
              <a:gd name="T7" fmla="*/ 2147483647 h 1194"/>
              <a:gd name="T8" fmla="*/ 2147483647 w 606"/>
              <a:gd name="T9" fmla="*/ 2147483647 h 1194"/>
              <a:gd name="T10" fmla="*/ 2147483647 w 606"/>
              <a:gd name="T11" fmla="*/ 2147483647 h 1194"/>
              <a:gd name="T12" fmla="*/ 2147483647 w 606"/>
              <a:gd name="T13" fmla="*/ 2147483647 h 1194"/>
              <a:gd name="T14" fmla="*/ 2147483647 w 606"/>
              <a:gd name="T15" fmla="*/ 2147483647 h 1194"/>
              <a:gd name="T16" fmla="*/ 2147483647 w 606"/>
              <a:gd name="T17" fmla="*/ 2147483647 h 1194"/>
              <a:gd name="T18" fmla="*/ 2147483647 w 606"/>
              <a:gd name="T19" fmla="*/ 2147483647 h 1194"/>
              <a:gd name="T20" fmla="*/ 2147483647 w 606"/>
              <a:gd name="T21" fmla="*/ 2147483647 h 1194"/>
              <a:gd name="T22" fmla="*/ 2147483647 w 606"/>
              <a:gd name="T23" fmla="*/ 2147483647 h 1194"/>
              <a:gd name="T24" fmla="*/ 2147483647 w 606"/>
              <a:gd name="T25" fmla="*/ 2147483647 h 1194"/>
              <a:gd name="T26" fmla="*/ 2147483647 w 606"/>
              <a:gd name="T27" fmla="*/ 2147483647 h 1194"/>
              <a:gd name="T28" fmla="*/ 2147483647 w 606"/>
              <a:gd name="T29" fmla="*/ 2147483647 h 1194"/>
              <a:gd name="T30" fmla="*/ 2147483647 w 606"/>
              <a:gd name="T31" fmla="*/ 2147483647 h 1194"/>
              <a:gd name="T32" fmla="*/ 2147483647 w 606"/>
              <a:gd name="T33" fmla="*/ 2147483647 h 1194"/>
              <a:gd name="T34" fmla="*/ 2147483647 w 606"/>
              <a:gd name="T35" fmla="*/ 2147483647 h 1194"/>
              <a:gd name="T36" fmla="*/ 2147483647 w 606"/>
              <a:gd name="T37" fmla="*/ 2147483647 h 1194"/>
              <a:gd name="T38" fmla="*/ 2147483647 w 606"/>
              <a:gd name="T39" fmla="*/ 2147483647 h 1194"/>
              <a:gd name="T40" fmla="*/ 2147483647 w 606"/>
              <a:gd name="T41" fmla="*/ 2147483647 h 1194"/>
              <a:gd name="T42" fmla="*/ 2147483647 w 606"/>
              <a:gd name="T43" fmla="*/ 2147483647 h 1194"/>
              <a:gd name="T44" fmla="*/ 2147483647 w 606"/>
              <a:gd name="T45" fmla="*/ 2147483647 h 1194"/>
              <a:gd name="T46" fmla="*/ 2147483647 w 606"/>
              <a:gd name="T47" fmla="*/ 2147483647 h 1194"/>
              <a:gd name="T48" fmla="*/ 2147483647 w 606"/>
              <a:gd name="T49" fmla="*/ 2147483647 h 1194"/>
              <a:gd name="T50" fmla="*/ 2147483647 w 606"/>
              <a:gd name="T51" fmla="*/ 2147483647 h 1194"/>
              <a:gd name="T52" fmla="*/ 2147483647 w 606"/>
              <a:gd name="T53" fmla="*/ 2147483647 h 1194"/>
              <a:gd name="T54" fmla="*/ 2147483647 w 606"/>
              <a:gd name="T55" fmla="*/ 2147483647 h 1194"/>
              <a:gd name="T56" fmla="*/ 2147483647 w 606"/>
              <a:gd name="T57" fmla="*/ 2147483647 h 1194"/>
              <a:gd name="T58" fmla="*/ 2147483647 w 606"/>
              <a:gd name="T59" fmla="*/ 2147483647 h 1194"/>
              <a:gd name="T60" fmla="*/ 2147483647 w 606"/>
              <a:gd name="T61" fmla="*/ 2147483647 h 1194"/>
              <a:gd name="T62" fmla="*/ 2147483647 w 606"/>
              <a:gd name="T63" fmla="*/ 2147483647 h 1194"/>
              <a:gd name="T64" fmla="*/ 2147483647 w 606"/>
              <a:gd name="T65" fmla="*/ 2147483647 h 1194"/>
              <a:gd name="T66" fmla="*/ 2147483647 w 606"/>
              <a:gd name="T67" fmla="*/ 2147483647 h 1194"/>
              <a:gd name="T68" fmla="*/ 2147483647 w 606"/>
              <a:gd name="T69" fmla="*/ 2147483647 h 1194"/>
              <a:gd name="T70" fmla="*/ 2147483647 w 606"/>
              <a:gd name="T71" fmla="*/ 2147483647 h 1194"/>
              <a:gd name="T72" fmla="*/ 2147483647 w 606"/>
              <a:gd name="T73" fmla="*/ 2147483647 h 1194"/>
              <a:gd name="T74" fmla="*/ 2147483647 w 606"/>
              <a:gd name="T75" fmla="*/ 2147483647 h 1194"/>
              <a:gd name="T76" fmla="*/ 2147483647 w 606"/>
              <a:gd name="T77" fmla="*/ 2147483647 h 1194"/>
              <a:gd name="T78" fmla="*/ 2147483647 w 606"/>
              <a:gd name="T79" fmla="*/ 2147483647 h 1194"/>
              <a:gd name="T80" fmla="*/ 2147483647 w 606"/>
              <a:gd name="T81" fmla="*/ 2147483647 h 1194"/>
              <a:gd name="T82" fmla="*/ 2147483647 w 606"/>
              <a:gd name="T83" fmla="*/ 2147483647 h 1194"/>
              <a:gd name="T84" fmla="*/ 2147483647 w 606"/>
              <a:gd name="T85" fmla="*/ 2147483647 h 1194"/>
              <a:gd name="T86" fmla="*/ 2147483647 w 606"/>
              <a:gd name="T87" fmla="*/ 2147483647 h 1194"/>
              <a:gd name="T88" fmla="*/ 2147483647 w 606"/>
              <a:gd name="T89" fmla="*/ 2147483647 h 1194"/>
              <a:gd name="T90" fmla="*/ 2147483647 w 606"/>
              <a:gd name="T91" fmla="*/ 2147483647 h 1194"/>
              <a:gd name="T92" fmla="*/ 2147483647 w 606"/>
              <a:gd name="T93" fmla="*/ 2147483647 h 1194"/>
              <a:gd name="T94" fmla="*/ 2147483647 w 606"/>
              <a:gd name="T95" fmla="*/ 2147483647 h 1194"/>
              <a:gd name="T96" fmla="*/ 2147483647 w 606"/>
              <a:gd name="T97" fmla="*/ 2147483647 h 1194"/>
              <a:gd name="T98" fmla="*/ 2147483647 w 606"/>
              <a:gd name="T99" fmla="*/ 2147483647 h 1194"/>
              <a:gd name="T100" fmla="*/ 2147483647 w 606"/>
              <a:gd name="T101" fmla="*/ 2147483647 h 1194"/>
              <a:gd name="T102" fmla="*/ 2147483647 w 606"/>
              <a:gd name="T103" fmla="*/ 2147483647 h 1194"/>
              <a:gd name="T104" fmla="*/ 2147483647 w 606"/>
              <a:gd name="T105" fmla="*/ 2147483647 h 1194"/>
              <a:gd name="T106" fmla="*/ 2147483647 w 606"/>
              <a:gd name="T107" fmla="*/ 2147483647 h 1194"/>
              <a:gd name="T108" fmla="*/ 2147483647 w 606"/>
              <a:gd name="T109" fmla="*/ 2147483647 h 1194"/>
              <a:gd name="T110" fmla="*/ 2147483647 w 606"/>
              <a:gd name="T111" fmla="*/ 2147483647 h 1194"/>
              <a:gd name="T112" fmla="*/ 2147483647 w 606"/>
              <a:gd name="T113" fmla="*/ 2147483647 h 1194"/>
              <a:gd name="T114" fmla="*/ 2147483647 w 606"/>
              <a:gd name="T115" fmla="*/ 2147483647 h 1194"/>
              <a:gd name="T116" fmla="*/ 2147483647 w 606"/>
              <a:gd name="T117" fmla="*/ 2147483647 h 1194"/>
              <a:gd name="T118" fmla="*/ 2147483647 w 606"/>
              <a:gd name="T119" fmla="*/ 2147483647 h 1194"/>
              <a:gd name="T120" fmla="*/ 2147483647 w 606"/>
              <a:gd name="T121" fmla="*/ 2147483647 h 1194"/>
              <a:gd name="T122" fmla="*/ 2147483647 w 606"/>
              <a:gd name="T123" fmla="*/ 2147483647 h 119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06"/>
              <a:gd name="T187" fmla="*/ 0 h 1194"/>
              <a:gd name="T188" fmla="*/ 606 w 606"/>
              <a:gd name="T189" fmla="*/ 1194 h 119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06" h="1194">
                <a:moveTo>
                  <a:pt x="6" y="48"/>
                </a:moveTo>
                <a:lnTo>
                  <a:pt x="0" y="60"/>
                </a:lnTo>
                <a:lnTo>
                  <a:pt x="0" y="72"/>
                </a:lnTo>
                <a:lnTo>
                  <a:pt x="12" y="96"/>
                </a:lnTo>
                <a:lnTo>
                  <a:pt x="18" y="102"/>
                </a:lnTo>
                <a:lnTo>
                  <a:pt x="24" y="114"/>
                </a:lnTo>
                <a:lnTo>
                  <a:pt x="36" y="120"/>
                </a:lnTo>
                <a:lnTo>
                  <a:pt x="42" y="132"/>
                </a:lnTo>
                <a:lnTo>
                  <a:pt x="48" y="126"/>
                </a:lnTo>
                <a:lnTo>
                  <a:pt x="54" y="126"/>
                </a:lnTo>
                <a:lnTo>
                  <a:pt x="54" y="156"/>
                </a:lnTo>
                <a:lnTo>
                  <a:pt x="66" y="180"/>
                </a:lnTo>
                <a:lnTo>
                  <a:pt x="84" y="198"/>
                </a:lnTo>
                <a:lnTo>
                  <a:pt x="90" y="210"/>
                </a:lnTo>
                <a:lnTo>
                  <a:pt x="108" y="210"/>
                </a:lnTo>
                <a:lnTo>
                  <a:pt x="108" y="216"/>
                </a:lnTo>
                <a:lnTo>
                  <a:pt x="120" y="228"/>
                </a:lnTo>
                <a:lnTo>
                  <a:pt x="126" y="222"/>
                </a:lnTo>
                <a:lnTo>
                  <a:pt x="132" y="210"/>
                </a:lnTo>
                <a:lnTo>
                  <a:pt x="132" y="204"/>
                </a:lnTo>
                <a:lnTo>
                  <a:pt x="138" y="192"/>
                </a:lnTo>
                <a:lnTo>
                  <a:pt x="150" y="192"/>
                </a:lnTo>
                <a:lnTo>
                  <a:pt x="162" y="198"/>
                </a:lnTo>
                <a:lnTo>
                  <a:pt x="186" y="222"/>
                </a:lnTo>
                <a:lnTo>
                  <a:pt x="180" y="222"/>
                </a:lnTo>
                <a:lnTo>
                  <a:pt x="174" y="228"/>
                </a:lnTo>
                <a:lnTo>
                  <a:pt x="174" y="234"/>
                </a:lnTo>
                <a:lnTo>
                  <a:pt x="198" y="246"/>
                </a:lnTo>
                <a:lnTo>
                  <a:pt x="216" y="252"/>
                </a:lnTo>
                <a:lnTo>
                  <a:pt x="228" y="258"/>
                </a:lnTo>
                <a:lnTo>
                  <a:pt x="228" y="270"/>
                </a:lnTo>
                <a:lnTo>
                  <a:pt x="222" y="282"/>
                </a:lnTo>
                <a:lnTo>
                  <a:pt x="210" y="288"/>
                </a:lnTo>
                <a:lnTo>
                  <a:pt x="204" y="300"/>
                </a:lnTo>
                <a:lnTo>
                  <a:pt x="198" y="306"/>
                </a:lnTo>
                <a:lnTo>
                  <a:pt x="180" y="306"/>
                </a:lnTo>
                <a:lnTo>
                  <a:pt x="174" y="300"/>
                </a:lnTo>
                <a:lnTo>
                  <a:pt x="150" y="300"/>
                </a:lnTo>
                <a:lnTo>
                  <a:pt x="156" y="306"/>
                </a:lnTo>
                <a:lnTo>
                  <a:pt x="156" y="324"/>
                </a:lnTo>
                <a:lnTo>
                  <a:pt x="168" y="330"/>
                </a:lnTo>
                <a:lnTo>
                  <a:pt x="174" y="336"/>
                </a:lnTo>
                <a:lnTo>
                  <a:pt x="210" y="354"/>
                </a:lnTo>
                <a:lnTo>
                  <a:pt x="222" y="366"/>
                </a:lnTo>
                <a:lnTo>
                  <a:pt x="234" y="372"/>
                </a:lnTo>
                <a:lnTo>
                  <a:pt x="240" y="378"/>
                </a:lnTo>
                <a:lnTo>
                  <a:pt x="252" y="378"/>
                </a:lnTo>
                <a:lnTo>
                  <a:pt x="252" y="408"/>
                </a:lnTo>
                <a:lnTo>
                  <a:pt x="258" y="414"/>
                </a:lnTo>
                <a:lnTo>
                  <a:pt x="270" y="414"/>
                </a:lnTo>
                <a:lnTo>
                  <a:pt x="282" y="420"/>
                </a:lnTo>
                <a:lnTo>
                  <a:pt x="288" y="426"/>
                </a:lnTo>
                <a:lnTo>
                  <a:pt x="294" y="426"/>
                </a:lnTo>
                <a:lnTo>
                  <a:pt x="294" y="450"/>
                </a:lnTo>
                <a:lnTo>
                  <a:pt x="306" y="474"/>
                </a:lnTo>
                <a:lnTo>
                  <a:pt x="324" y="486"/>
                </a:lnTo>
                <a:lnTo>
                  <a:pt x="342" y="504"/>
                </a:lnTo>
                <a:lnTo>
                  <a:pt x="348" y="522"/>
                </a:lnTo>
                <a:lnTo>
                  <a:pt x="366" y="522"/>
                </a:lnTo>
                <a:lnTo>
                  <a:pt x="366" y="528"/>
                </a:lnTo>
                <a:lnTo>
                  <a:pt x="372" y="534"/>
                </a:lnTo>
                <a:lnTo>
                  <a:pt x="384" y="558"/>
                </a:lnTo>
                <a:lnTo>
                  <a:pt x="396" y="570"/>
                </a:lnTo>
                <a:lnTo>
                  <a:pt x="408" y="570"/>
                </a:lnTo>
                <a:lnTo>
                  <a:pt x="414" y="576"/>
                </a:lnTo>
                <a:lnTo>
                  <a:pt x="426" y="582"/>
                </a:lnTo>
                <a:lnTo>
                  <a:pt x="432" y="588"/>
                </a:lnTo>
                <a:lnTo>
                  <a:pt x="432" y="600"/>
                </a:lnTo>
                <a:lnTo>
                  <a:pt x="426" y="606"/>
                </a:lnTo>
                <a:lnTo>
                  <a:pt x="420" y="606"/>
                </a:lnTo>
                <a:lnTo>
                  <a:pt x="414" y="612"/>
                </a:lnTo>
                <a:lnTo>
                  <a:pt x="408" y="612"/>
                </a:lnTo>
                <a:lnTo>
                  <a:pt x="432" y="636"/>
                </a:lnTo>
                <a:lnTo>
                  <a:pt x="456" y="648"/>
                </a:lnTo>
                <a:lnTo>
                  <a:pt x="462" y="654"/>
                </a:lnTo>
                <a:lnTo>
                  <a:pt x="468" y="654"/>
                </a:lnTo>
                <a:lnTo>
                  <a:pt x="450" y="690"/>
                </a:lnTo>
                <a:lnTo>
                  <a:pt x="456" y="690"/>
                </a:lnTo>
                <a:lnTo>
                  <a:pt x="468" y="702"/>
                </a:lnTo>
                <a:lnTo>
                  <a:pt x="468" y="708"/>
                </a:lnTo>
                <a:lnTo>
                  <a:pt x="456" y="720"/>
                </a:lnTo>
                <a:lnTo>
                  <a:pt x="450" y="720"/>
                </a:lnTo>
                <a:lnTo>
                  <a:pt x="450" y="762"/>
                </a:lnTo>
                <a:lnTo>
                  <a:pt x="456" y="762"/>
                </a:lnTo>
                <a:lnTo>
                  <a:pt x="468" y="774"/>
                </a:lnTo>
                <a:lnTo>
                  <a:pt x="480" y="798"/>
                </a:lnTo>
                <a:lnTo>
                  <a:pt x="480" y="804"/>
                </a:lnTo>
                <a:lnTo>
                  <a:pt x="468" y="816"/>
                </a:lnTo>
                <a:lnTo>
                  <a:pt x="462" y="816"/>
                </a:lnTo>
                <a:lnTo>
                  <a:pt x="462" y="828"/>
                </a:lnTo>
                <a:lnTo>
                  <a:pt x="468" y="834"/>
                </a:lnTo>
                <a:lnTo>
                  <a:pt x="468" y="864"/>
                </a:lnTo>
                <a:lnTo>
                  <a:pt x="474" y="870"/>
                </a:lnTo>
                <a:lnTo>
                  <a:pt x="474" y="900"/>
                </a:lnTo>
                <a:lnTo>
                  <a:pt x="462" y="894"/>
                </a:lnTo>
                <a:lnTo>
                  <a:pt x="444" y="894"/>
                </a:lnTo>
                <a:lnTo>
                  <a:pt x="438" y="900"/>
                </a:lnTo>
                <a:lnTo>
                  <a:pt x="438" y="918"/>
                </a:lnTo>
                <a:lnTo>
                  <a:pt x="408" y="918"/>
                </a:lnTo>
                <a:lnTo>
                  <a:pt x="408" y="942"/>
                </a:lnTo>
                <a:lnTo>
                  <a:pt x="366" y="942"/>
                </a:lnTo>
                <a:lnTo>
                  <a:pt x="366" y="966"/>
                </a:lnTo>
                <a:lnTo>
                  <a:pt x="378" y="990"/>
                </a:lnTo>
                <a:lnTo>
                  <a:pt x="396" y="1008"/>
                </a:lnTo>
                <a:lnTo>
                  <a:pt x="396" y="1020"/>
                </a:lnTo>
                <a:lnTo>
                  <a:pt x="390" y="1014"/>
                </a:lnTo>
                <a:lnTo>
                  <a:pt x="378" y="1008"/>
                </a:lnTo>
                <a:lnTo>
                  <a:pt x="372" y="1002"/>
                </a:lnTo>
                <a:lnTo>
                  <a:pt x="360" y="996"/>
                </a:lnTo>
                <a:lnTo>
                  <a:pt x="348" y="996"/>
                </a:lnTo>
                <a:lnTo>
                  <a:pt x="342" y="1002"/>
                </a:lnTo>
                <a:lnTo>
                  <a:pt x="342" y="1008"/>
                </a:lnTo>
                <a:lnTo>
                  <a:pt x="306" y="1008"/>
                </a:lnTo>
                <a:lnTo>
                  <a:pt x="312" y="1014"/>
                </a:lnTo>
                <a:lnTo>
                  <a:pt x="318" y="1014"/>
                </a:lnTo>
                <a:lnTo>
                  <a:pt x="324" y="1020"/>
                </a:lnTo>
                <a:lnTo>
                  <a:pt x="324" y="1026"/>
                </a:lnTo>
                <a:lnTo>
                  <a:pt x="312" y="1032"/>
                </a:lnTo>
                <a:lnTo>
                  <a:pt x="294" y="1032"/>
                </a:lnTo>
                <a:lnTo>
                  <a:pt x="276" y="1038"/>
                </a:lnTo>
                <a:lnTo>
                  <a:pt x="270" y="1050"/>
                </a:lnTo>
                <a:lnTo>
                  <a:pt x="270" y="1056"/>
                </a:lnTo>
                <a:lnTo>
                  <a:pt x="288" y="1074"/>
                </a:lnTo>
                <a:lnTo>
                  <a:pt x="300" y="1080"/>
                </a:lnTo>
                <a:lnTo>
                  <a:pt x="306" y="1086"/>
                </a:lnTo>
                <a:lnTo>
                  <a:pt x="312" y="1086"/>
                </a:lnTo>
                <a:lnTo>
                  <a:pt x="294" y="1104"/>
                </a:lnTo>
                <a:lnTo>
                  <a:pt x="294" y="1110"/>
                </a:lnTo>
                <a:lnTo>
                  <a:pt x="300" y="1116"/>
                </a:lnTo>
                <a:lnTo>
                  <a:pt x="300" y="1128"/>
                </a:lnTo>
                <a:lnTo>
                  <a:pt x="306" y="1140"/>
                </a:lnTo>
                <a:lnTo>
                  <a:pt x="306" y="1152"/>
                </a:lnTo>
                <a:lnTo>
                  <a:pt x="312" y="1158"/>
                </a:lnTo>
                <a:lnTo>
                  <a:pt x="294" y="1176"/>
                </a:lnTo>
                <a:lnTo>
                  <a:pt x="294" y="1188"/>
                </a:lnTo>
                <a:lnTo>
                  <a:pt x="306" y="1194"/>
                </a:lnTo>
                <a:lnTo>
                  <a:pt x="318" y="1194"/>
                </a:lnTo>
                <a:lnTo>
                  <a:pt x="330" y="1188"/>
                </a:lnTo>
                <a:lnTo>
                  <a:pt x="354" y="1164"/>
                </a:lnTo>
                <a:lnTo>
                  <a:pt x="366" y="1158"/>
                </a:lnTo>
                <a:lnTo>
                  <a:pt x="378" y="1158"/>
                </a:lnTo>
                <a:lnTo>
                  <a:pt x="384" y="1134"/>
                </a:lnTo>
                <a:lnTo>
                  <a:pt x="384" y="1110"/>
                </a:lnTo>
                <a:lnTo>
                  <a:pt x="396" y="1110"/>
                </a:lnTo>
                <a:lnTo>
                  <a:pt x="402" y="1116"/>
                </a:lnTo>
                <a:lnTo>
                  <a:pt x="414" y="1116"/>
                </a:lnTo>
                <a:lnTo>
                  <a:pt x="426" y="1104"/>
                </a:lnTo>
                <a:lnTo>
                  <a:pt x="426" y="1092"/>
                </a:lnTo>
                <a:lnTo>
                  <a:pt x="420" y="1086"/>
                </a:lnTo>
                <a:lnTo>
                  <a:pt x="414" y="1074"/>
                </a:lnTo>
                <a:lnTo>
                  <a:pt x="408" y="1068"/>
                </a:lnTo>
                <a:lnTo>
                  <a:pt x="408" y="1062"/>
                </a:lnTo>
                <a:lnTo>
                  <a:pt x="414" y="1056"/>
                </a:lnTo>
                <a:lnTo>
                  <a:pt x="426" y="1056"/>
                </a:lnTo>
                <a:lnTo>
                  <a:pt x="438" y="1050"/>
                </a:lnTo>
                <a:lnTo>
                  <a:pt x="444" y="1044"/>
                </a:lnTo>
                <a:lnTo>
                  <a:pt x="450" y="1044"/>
                </a:lnTo>
                <a:lnTo>
                  <a:pt x="456" y="1050"/>
                </a:lnTo>
                <a:lnTo>
                  <a:pt x="468" y="1050"/>
                </a:lnTo>
                <a:lnTo>
                  <a:pt x="480" y="1044"/>
                </a:lnTo>
                <a:lnTo>
                  <a:pt x="498" y="1038"/>
                </a:lnTo>
                <a:lnTo>
                  <a:pt x="546" y="1014"/>
                </a:lnTo>
                <a:lnTo>
                  <a:pt x="582" y="978"/>
                </a:lnTo>
                <a:lnTo>
                  <a:pt x="588" y="960"/>
                </a:lnTo>
                <a:lnTo>
                  <a:pt x="594" y="936"/>
                </a:lnTo>
                <a:lnTo>
                  <a:pt x="606" y="876"/>
                </a:lnTo>
                <a:lnTo>
                  <a:pt x="606" y="846"/>
                </a:lnTo>
                <a:lnTo>
                  <a:pt x="600" y="834"/>
                </a:lnTo>
                <a:lnTo>
                  <a:pt x="576" y="810"/>
                </a:lnTo>
                <a:lnTo>
                  <a:pt x="594" y="804"/>
                </a:lnTo>
                <a:lnTo>
                  <a:pt x="594" y="774"/>
                </a:lnTo>
                <a:lnTo>
                  <a:pt x="588" y="756"/>
                </a:lnTo>
                <a:lnTo>
                  <a:pt x="588" y="744"/>
                </a:lnTo>
                <a:lnTo>
                  <a:pt x="570" y="708"/>
                </a:lnTo>
                <a:lnTo>
                  <a:pt x="564" y="690"/>
                </a:lnTo>
                <a:lnTo>
                  <a:pt x="558" y="684"/>
                </a:lnTo>
                <a:lnTo>
                  <a:pt x="552" y="672"/>
                </a:lnTo>
                <a:lnTo>
                  <a:pt x="558" y="666"/>
                </a:lnTo>
                <a:lnTo>
                  <a:pt x="558" y="642"/>
                </a:lnTo>
                <a:lnTo>
                  <a:pt x="522" y="606"/>
                </a:lnTo>
                <a:lnTo>
                  <a:pt x="486" y="576"/>
                </a:lnTo>
                <a:lnTo>
                  <a:pt x="456" y="552"/>
                </a:lnTo>
                <a:lnTo>
                  <a:pt x="432" y="534"/>
                </a:lnTo>
                <a:lnTo>
                  <a:pt x="420" y="528"/>
                </a:lnTo>
                <a:lnTo>
                  <a:pt x="402" y="516"/>
                </a:lnTo>
                <a:lnTo>
                  <a:pt x="390" y="510"/>
                </a:lnTo>
                <a:lnTo>
                  <a:pt x="384" y="504"/>
                </a:lnTo>
                <a:lnTo>
                  <a:pt x="384" y="468"/>
                </a:lnTo>
                <a:lnTo>
                  <a:pt x="336" y="420"/>
                </a:lnTo>
                <a:lnTo>
                  <a:pt x="306" y="384"/>
                </a:lnTo>
                <a:lnTo>
                  <a:pt x="288" y="354"/>
                </a:lnTo>
                <a:lnTo>
                  <a:pt x="282" y="336"/>
                </a:lnTo>
                <a:lnTo>
                  <a:pt x="282" y="318"/>
                </a:lnTo>
                <a:lnTo>
                  <a:pt x="276" y="306"/>
                </a:lnTo>
                <a:lnTo>
                  <a:pt x="276" y="282"/>
                </a:lnTo>
                <a:lnTo>
                  <a:pt x="282" y="276"/>
                </a:lnTo>
                <a:lnTo>
                  <a:pt x="294" y="252"/>
                </a:lnTo>
                <a:lnTo>
                  <a:pt x="294" y="240"/>
                </a:lnTo>
                <a:lnTo>
                  <a:pt x="300" y="240"/>
                </a:lnTo>
                <a:lnTo>
                  <a:pt x="312" y="228"/>
                </a:lnTo>
                <a:lnTo>
                  <a:pt x="324" y="222"/>
                </a:lnTo>
                <a:lnTo>
                  <a:pt x="336" y="210"/>
                </a:lnTo>
                <a:lnTo>
                  <a:pt x="336" y="204"/>
                </a:lnTo>
                <a:lnTo>
                  <a:pt x="342" y="198"/>
                </a:lnTo>
                <a:lnTo>
                  <a:pt x="372" y="198"/>
                </a:lnTo>
                <a:lnTo>
                  <a:pt x="384" y="186"/>
                </a:lnTo>
                <a:lnTo>
                  <a:pt x="390" y="174"/>
                </a:lnTo>
                <a:lnTo>
                  <a:pt x="390" y="156"/>
                </a:lnTo>
                <a:lnTo>
                  <a:pt x="396" y="144"/>
                </a:lnTo>
                <a:lnTo>
                  <a:pt x="390" y="144"/>
                </a:lnTo>
                <a:lnTo>
                  <a:pt x="384" y="138"/>
                </a:lnTo>
                <a:lnTo>
                  <a:pt x="354" y="138"/>
                </a:lnTo>
                <a:lnTo>
                  <a:pt x="342" y="132"/>
                </a:lnTo>
                <a:lnTo>
                  <a:pt x="336" y="120"/>
                </a:lnTo>
                <a:lnTo>
                  <a:pt x="330" y="114"/>
                </a:lnTo>
                <a:lnTo>
                  <a:pt x="312" y="114"/>
                </a:lnTo>
                <a:lnTo>
                  <a:pt x="312" y="96"/>
                </a:lnTo>
                <a:lnTo>
                  <a:pt x="300" y="90"/>
                </a:lnTo>
                <a:lnTo>
                  <a:pt x="294" y="72"/>
                </a:lnTo>
                <a:lnTo>
                  <a:pt x="312" y="54"/>
                </a:lnTo>
                <a:lnTo>
                  <a:pt x="312" y="48"/>
                </a:lnTo>
                <a:lnTo>
                  <a:pt x="306" y="42"/>
                </a:lnTo>
                <a:lnTo>
                  <a:pt x="276" y="42"/>
                </a:lnTo>
                <a:lnTo>
                  <a:pt x="264" y="30"/>
                </a:lnTo>
                <a:lnTo>
                  <a:pt x="234" y="36"/>
                </a:lnTo>
                <a:lnTo>
                  <a:pt x="204" y="0"/>
                </a:lnTo>
                <a:lnTo>
                  <a:pt x="198" y="0"/>
                </a:lnTo>
                <a:lnTo>
                  <a:pt x="192" y="6"/>
                </a:lnTo>
                <a:lnTo>
                  <a:pt x="180" y="12"/>
                </a:lnTo>
                <a:lnTo>
                  <a:pt x="174" y="18"/>
                </a:lnTo>
                <a:lnTo>
                  <a:pt x="174" y="30"/>
                </a:lnTo>
                <a:lnTo>
                  <a:pt x="168" y="42"/>
                </a:lnTo>
                <a:lnTo>
                  <a:pt x="168" y="48"/>
                </a:lnTo>
                <a:lnTo>
                  <a:pt x="150" y="48"/>
                </a:lnTo>
                <a:lnTo>
                  <a:pt x="144" y="54"/>
                </a:lnTo>
                <a:lnTo>
                  <a:pt x="138" y="48"/>
                </a:lnTo>
                <a:lnTo>
                  <a:pt x="120" y="48"/>
                </a:lnTo>
                <a:lnTo>
                  <a:pt x="132" y="60"/>
                </a:lnTo>
                <a:lnTo>
                  <a:pt x="132" y="72"/>
                </a:lnTo>
                <a:lnTo>
                  <a:pt x="114" y="72"/>
                </a:lnTo>
                <a:lnTo>
                  <a:pt x="108" y="66"/>
                </a:lnTo>
                <a:lnTo>
                  <a:pt x="96" y="48"/>
                </a:lnTo>
                <a:lnTo>
                  <a:pt x="90" y="48"/>
                </a:lnTo>
                <a:lnTo>
                  <a:pt x="90" y="66"/>
                </a:lnTo>
                <a:lnTo>
                  <a:pt x="72" y="48"/>
                </a:lnTo>
                <a:lnTo>
                  <a:pt x="66" y="54"/>
                </a:lnTo>
                <a:lnTo>
                  <a:pt x="60" y="66"/>
                </a:lnTo>
                <a:lnTo>
                  <a:pt x="54" y="72"/>
                </a:lnTo>
                <a:lnTo>
                  <a:pt x="42" y="72"/>
                </a:lnTo>
                <a:lnTo>
                  <a:pt x="18" y="48"/>
                </a:lnTo>
                <a:lnTo>
                  <a:pt x="6" y="4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2" name="Venezuela"/>
          <p:cNvSpPr>
            <a:spLocks noEditPoints="1"/>
          </p:cNvSpPr>
          <p:nvPr/>
        </p:nvSpPr>
        <p:spPr bwMode="gray">
          <a:xfrm>
            <a:off x="1923321" y="3864643"/>
            <a:ext cx="384175" cy="374650"/>
          </a:xfrm>
          <a:custGeom>
            <a:avLst/>
            <a:gdLst>
              <a:gd name="T0" fmla="*/ 2147483647 w 954"/>
              <a:gd name="T1" fmla="*/ 2147483647 h 930"/>
              <a:gd name="T2" fmla="*/ 2147483647 w 954"/>
              <a:gd name="T3" fmla="*/ 2147483647 h 930"/>
              <a:gd name="T4" fmla="*/ 2147483647 w 954"/>
              <a:gd name="T5" fmla="*/ 2147483647 h 930"/>
              <a:gd name="T6" fmla="*/ 2147483647 w 954"/>
              <a:gd name="T7" fmla="*/ 2147483647 h 930"/>
              <a:gd name="T8" fmla="*/ 2147483647 w 954"/>
              <a:gd name="T9" fmla="*/ 2147483647 h 930"/>
              <a:gd name="T10" fmla="*/ 2147483647 w 954"/>
              <a:gd name="T11" fmla="*/ 2147483647 h 930"/>
              <a:gd name="T12" fmla="*/ 2147483647 w 954"/>
              <a:gd name="T13" fmla="*/ 2147483647 h 930"/>
              <a:gd name="T14" fmla="*/ 2147483647 w 954"/>
              <a:gd name="T15" fmla="*/ 2147483647 h 930"/>
              <a:gd name="T16" fmla="*/ 2147483647 w 954"/>
              <a:gd name="T17" fmla="*/ 2147483647 h 930"/>
              <a:gd name="T18" fmla="*/ 2147483647 w 954"/>
              <a:gd name="T19" fmla="*/ 2147483647 h 930"/>
              <a:gd name="T20" fmla="*/ 2147483647 w 954"/>
              <a:gd name="T21" fmla="*/ 2147483647 h 930"/>
              <a:gd name="T22" fmla="*/ 2147483647 w 954"/>
              <a:gd name="T23" fmla="*/ 2147483647 h 930"/>
              <a:gd name="T24" fmla="*/ 2147483647 w 954"/>
              <a:gd name="T25" fmla="*/ 2147483647 h 930"/>
              <a:gd name="T26" fmla="*/ 2147483647 w 954"/>
              <a:gd name="T27" fmla="*/ 2147483647 h 930"/>
              <a:gd name="T28" fmla="*/ 2147483647 w 954"/>
              <a:gd name="T29" fmla="*/ 2147483647 h 930"/>
              <a:gd name="T30" fmla="*/ 2147483647 w 954"/>
              <a:gd name="T31" fmla="*/ 2147483647 h 930"/>
              <a:gd name="T32" fmla="*/ 2147483647 w 954"/>
              <a:gd name="T33" fmla="*/ 2147483647 h 930"/>
              <a:gd name="T34" fmla="*/ 2147483647 w 954"/>
              <a:gd name="T35" fmla="*/ 2147483647 h 930"/>
              <a:gd name="T36" fmla="*/ 2147483647 w 954"/>
              <a:gd name="T37" fmla="*/ 2147483647 h 930"/>
              <a:gd name="T38" fmla="*/ 2147483647 w 954"/>
              <a:gd name="T39" fmla="*/ 2147483647 h 930"/>
              <a:gd name="T40" fmla="*/ 2147483647 w 954"/>
              <a:gd name="T41" fmla="*/ 2147483647 h 930"/>
              <a:gd name="T42" fmla="*/ 2147483647 w 954"/>
              <a:gd name="T43" fmla="*/ 2147483647 h 930"/>
              <a:gd name="T44" fmla="*/ 2147483647 w 954"/>
              <a:gd name="T45" fmla="*/ 2147483647 h 930"/>
              <a:gd name="T46" fmla="*/ 2147483647 w 954"/>
              <a:gd name="T47" fmla="*/ 2147483647 h 930"/>
              <a:gd name="T48" fmla="*/ 2147483647 w 954"/>
              <a:gd name="T49" fmla="*/ 2147483647 h 930"/>
              <a:gd name="T50" fmla="*/ 0 w 954"/>
              <a:gd name="T51" fmla="*/ 2147483647 h 930"/>
              <a:gd name="T52" fmla="*/ 2147483647 w 954"/>
              <a:gd name="T53" fmla="*/ 2147483647 h 930"/>
              <a:gd name="T54" fmla="*/ 2147483647 w 954"/>
              <a:gd name="T55" fmla="*/ 2147483647 h 930"/>
              <a:gd name="T56" fmla="*/ 2147483647 w 954"/>
              <a:gd name="T57" fmla="*/ 2147483647 h 930"/>
              <a:gd name="T58" fmla="*/ 2147483647 w 954"/>
              <a:gd name="T59" fmla="*/ 2147483647 h 930"/>
              <a:gd name="T60" fmla="*/ 2147483647 w 954"/>
              <a:gd name="T61" fmla="*/ 2147483647 h 930"/>
              <a:gd name="T62" fmla="*/ 2147483647 w 954"/>
              <a:gd name="T63" fmla="*/ 2147483647 h 930"/>
              <a:gd name="T64" fmla="*/ 2147483647 w 954"/>
              <a:gd name="T65" fmla="*/ 2147483647 h 930"/>
              <a:gd name="T66" fmla="*/ 2147483647 w 954"/>
              <a:gd name="T67" fmla="*/ 2147483647 h 930"/>
              <a:gd name="T68" fmla="*/ 2147483647 w 954"/>
              <a:gd name="T69" fmla="*/ 2147483647 h 930"/>
              <a:gd name="T70" fmla="*/ 2147483647 w 954"/>
              <a:gd name="T71" fmla="*/ 2147483647 h 930"/>
              <a:gd name="T72" fmla="*/ 2147483647 w 954"/>
              <a:gd name="T73" fmla="*/ 2147483647 h 930"/>
              <a:gd name="T74" fmla="*/ 2147483647 w 954"/>
              <a:gd name="T75" fmla="*/ 2147483647 h 930"/>
              <a:gd name="T76" fmla="*/ 2147483647 w 954"/>
              <a:gd name="T77" fmla="*/ 2147483647 h 930"/>
              <a:gd name="T78" fmla="*/ 2147483647 w 954"/>
              <a:gd name="T79" fmla="*/ 2147483647 h 930"/>
              <a:gd name="T80" fmla="*/ 2147483647 w 954"/>
              <a:gd name="T81" fmla="*/ 2147483647 h 930"/>
              <a:gd name="T82" fmla="*/ 2147483647 w 954"/>
              <a:gd name="T83" fmla="*/ 2147483647 h 930"/>
              <a:gd name="T84" fmla="*/ 2147483647 w 954"/>
              <a:gd name="T85" fmla="*/ 2147483647 h 930"/>
              <a:gd name="T86" fmla="*/ 2147483647 w 954"/>
              <a:gd name="T87" fmla="*/ 2147483647 h 930"/>
              <a:gd name="T88" fmla="*/ 2147483647 w 954"/>
              <a:gd name="T89" fmla="*/ 2147483647 h 930"/>
              <a:gd name="T90" fmla="*/ 2147483647 w 954"/>
              <a:gd name="T91" fmla="*/ 2147483647 h 930"/>
              <a:gd name="T92" fmla="*/ 2147483647 w 954"/>
              <a:gd name="T93" fmla="*/ 2147483647 h 930"/>
              <a:gd name="T94" fmla="*/ 2147483647 w 954"/>
              <a:gd name="T95" fmla="*/ 2147483647 h 930"/>
              <a:gd name="T96" fmla="*/ 2147483647 w 954"/>
              <a:gd name="T97" fmla="*/ 2147483647 h 930"/>
              <a:gd name="T98" fmla="*/ 2147483647 w 954"/>
              <a:gd name="T99" fmla="*/ 2147483647 h 930"/>
              <a:gd name="T100" fmla="*/ 2147483647 w 954"/>
              <a:gd name="T101" fmla="*/ 2147483647 h 930"/>
              <a:gd name="T102" fmla="*/ 2147483647 w 954"/>
              <a:gd name="T103" fmla="*/ 2147483647 h 930"/>
              <a:gd name="T104" fmla="*/ 2147483647 w 954"/>
              <a:gd name="T105" fmla="*/ 2147483647 h 930"/>
              <a:gd name="T106" fmla="*/ 2147483647 w 954"/>
              <a:gd name="T107" fmla="*/ 2147483647 h 930"/>
              <a:gd name="T108" fmla="*/ 2147483647 w 954"/>
              <a:gd name="T109" fmla="*/ 2147483647 h 930"/>
              <a:gd name="T110" fmla="*/ 2147483647 w 954"/>
              <a:gd name="T111" fmla="*/ 2147483647 h 930"/>
              <a:gd name="T112" fmla="*/ 2147483647 w 954"/>
              <a:gd name="T113" fmla="*/ 2147483647 h 930"/>
              <a:gd name="T114" fmla="*/ 2147483647 w 954"/>
              <a:gd name="T115" fmla="*/ 2147483647 h 930"/>
              <a:gd name="T116" fmla="*/ 2147483647 w 954"/>
              <a:gd name="T117" fmla="*/ 2147483647 h 930"/>
              <a:gd name="T118" fmla="*/ 2147483647 w 954"/>
              <a:gd name="T119" fmla="*/ 2147483647 h 93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54"/>
              <a:gd name="T181" fmla="*/ 0 h 930"/>
              <a:gd name="T182" fmla="*/ 954 w 954"/>
              <a:gd name="T183" fmla="*/ 930 h 93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54" h="930">
                <a:moveTo>
                  <a:pt x="264" y="42"/>
                </a:moveTo>
                <a:lnTo>
                  <a:pt x="264" y="12"/>
                </a:lnTo>
                <a:lnTo>
                  <a:pt x="252" y="0"/>
                </a:lnTo>
                <a:lnTo>
                  <a:pt x="234" y="0"/>
                </a:lnTo>
                <a:lnTo>
                  <a:pt x="228" y="6"/>
                </a:lnTo>
                <a:lnTo>
                  <a:pt x="228" y="18"/>
                </a:lnTo>
                <a:lnTo>
                  <a:pt x="234" y="24"/>
                </a:lnTo>
                <a:lnTo>
                  <a:pt x="234" y="36"/>
                </a:lnTo>
                <a:lnTo>
                  <a:pt x="240" y="42"/>
                </a:lnTo>
                <a:lnTo>
                  <a:pt x="264" y="42"/>
                </a:lnTo>
                <a:close/>
                <a:moveTo>
                  <a:pt x="936" y="276"/>
                </a:moveTo>
                <a:lnTo>
                  <a:pt x="930" y="276"/>
                </a:lnTo>
                <a:lnTo>
                  <a:pt x="924" y="282"/>
                </a:lnTo>
                <a:lnTo>
                  <a:pt x="912" y="288"/>
                </a:lnTo>
                <a:lnTo>
                  <a:pt x="906" y="294"/>
                </a:lnTo>
                <a:lnTo>
                  <a:pt x="900" y="288"/>
                </a:lnTo>
                <a:lnTo>
                  <a:pt x="888" y="288"/>
                </a:lnTo>
                <a:lnTo>
                  <a:pt x="882" y="282"/>
                </a:lnTo>
                <a:lnTo>
                  <a:pt x="876" y="282"/>
                </a:lnTo>
                <a:lnTo>
                  <a:pt x="852" y="306"/>
                </a:lnTo>
                <a:lnTo>
                  <a:pt x="822" y="282"/>
                </a:lnTo>
                <a:lnTo>
                  <a:pt x="846" y="282"/>
                </a:lnTo>
                <a:lnTo>
                  <a:pt x="858" y="276"/>
                </a:lnTo>
                <a:lnTo>
                  <a:pt x="864" y="276"/>
                </a:lnTo>
                <a:lnTo>
                  <a:pt x="870" y="264"/>
                </a:lnTo>
                <a:lnTo>
                  <a:pt x="870" y="246"/>
                </a:lnTo>
                <a:lnTo>
                  <a:pt x="882" y="234"/>
                </a:lnTo>
                <a:lnTo>
                  <a:pt x="888" y="222"/>
                </a:lnTo>
                <a:lnTo>
                  <a:pt x="876" y="210"/>
                </a:lnTo>
                <a:lnTo>
                  <a:pt x="846" y="210"/>
                </a:lnTo>
                <a:lnTo>
                  <a:pt x="846" y="204"/>
                </a:lnTo>
                <a:lnTo>
                  <a:pt x="840" y="198"/>
                </a:lnTo>
                <a:lnTo>
                  <a:pt x="840" y="192"/>
                </a:lnTo>
                <a:lnTo>
                  <a:pt x="834" y="186"/>
                </a:lnTo>
                <a:lnTo>
                  <a:pt x="828" y="186"/>
                </a:lnTo>
                <a:lnTo>
                  <a:pt x="822" y="192"/>
                </a:lnTo>
                <a:lnTo>
                  <a:pt x="822" y="210"/>
                </a:lnTo>
                <a:lnTo>
                  <a:pt x="816" y="198"/>
                </a:lnTo>
                <a:lnTo>
                  <a:pt x="816" y="180"/>
                </a:lnTo>
                <a:lnTo>
                  <a:pt x="792" y="180"/>
                </a:lnTo>
                <a:lnTo>
                  <a:pt x="786" y="210"/>
                </a:lnTo>
                <a:lnTo>
                  <a:pt x="780" y="204"/>
                </a:lnTo>
                <a:lnTo>
                  <a:pt x="774" y="192"/>
                </a:lnTo>
                <a:lnTo>
                  <a:pt x="774" y="186"/>
                </a:lnTo>
                <a:lnTo>
                  <a:pt x="768" y="180"/>
                </a:lnTo>
                <a:lnTo>
                  <a:pt x="768" y="156"/>
                </a:lnTo>
                <a:lnTo>
                  <a:pt x="738" y="168"/>
                </a:lnTo>
                <a:lnTo>
                  <a:pt x="744" y="162"/>
                </a:lnTo>
                <a:lnTo>
                  <a:pt x="756" y="156"/>
                </a:lnTo>
                <a:lnTo>
                  <a:pt x="762" y="156"/>
                </a:lnTo>
                <a:lnTo>
                  <a:pt x="762" y="144"/>
                </a:lnTo>
                <a:lnTo>
                  <a:pt x="750" y="138"/>
                </a:lnTo>
                <a:lnTo>
                  <a:pt x="744" y="138"/>
                </a:lnTo>
                <a:lnTo>
                  <a:pt x="744" y="132"/>
                </a:lnTo>
                <a:lnTo>
                  <a:pt x="750" y="132"/>
                </a:lnTo>
                <a:lnTo>
                  <a:pt x="762" y="126"/>
                </a:lnTo>
                <a:lnTo>
                  <a:pt x="774" y="126"/>
                </a:lnTo>
                <a:lnTo>
                  <a:pt x="792" y="120"/>
                </a:lnTo>
                <a:lnTo>
                  <a:pt x="804" y="120"/>
                </a:lnTo>
                <a:lnTo>
                  <a:pt x="810" y="114"/>
                </a:lnTo>
                <a:lnTo>
                  <a:pt x="726" y="114"/>
                </a:lnTo>
                <a:lnTo>
                  <a:pt x="690" y="120"/>
                </a:lnTo>
                <a:lnTo>
                  <a:pt x="678" y="120"/>
                </a:lnTo>
                <a:lnTo>
                  <a:pt x="690" y="132"/>
                </a:lnTo>
                <a:lnTo>
                  <a:pt x="678" y="132"/>
                </a:lnTo>
                <a:lnTo>
                  <a:pt x="666" y="138"/>
                </a:lnTo>
                <a:lnTo>
                  <a:pt x="654" y="138"/>
                </a:lnTo>
                <a:lnTo>
                  <a:pt x="642" y="144"/>
                </a:lnTo>
                <a:lnTo>
                  <a:pt x="636" y="144"/>
                </a:lnTo>
                <a:lnTo>
                  <a:pt x="624" y="150"/>
                </a:lnTo>
                <a:lnTo>
                  <a:pt x="606" y="168"/>
                </a:lnTo>
                <a:lnTo>
                  <a:pt x="594" y="174"/>
                </a:lnTo>
                <a:lnTo>
                  <a:pt x="576" y="174"/>
                </a:lnTo>
                <a:lnTo>
                  <a:pt x="564" y="162"/>
                </a:lnTo>
                <a:lnTo>
                  <a:pt x="546" y="156"/>
                </a:lnTo>
                <a:lnTo>
                  <a:pt x="534" y="144"/>
                </a:lnTo>
                <a:lnTo>
                  <a:pt x="522" y="138"/>
                </a:lnTo>
                <a:lnTo>
                  <a:pt x="510" y="126"/>
                </a:lnTo>
                <a:lnTo>
                  <a:pt x="492" y="126"/>
                </a:lnTo>
                <a:lnTo>
                  <a:pt x="450" y="132"/>
                </a:lnTo>
                <a:lnTo>
                  <a:pt x="372" y="132"/>
                </a:lnTo>
                <a:lnTo>
                  <a:pt x="360" y="120"/>
                </a:lnTo>
                <a:lnTo>
                  <a:pt x="354" y="108"/>
                </a:lnTo>
                <a:lnTo>
                  <a:pt x="354" y="84"/>
                </a:lnTo>
                <a:lnTo>
                  <a:pt x="348" y="72"/>
                </a:lnTo>
                <a:lnTo>
                  <a:pt x="336" y="60"/>
                </a:lnTo>
                <a:lnTo>
                  <a:pt x="324" y="54"/>
                </a:lnTo>
                <a:lnTo>
                  <a:pt x="276" y="54"/>
                </a:lnTo>
                <a:lnTo>
                  <a:pt x="240" y="60"/>
                </a:lnTo>
                <a:lnTo>
                  <a:pt x="222" y="72"/>
                </a:lnTo>
                <a:lnTo>
                  <a:pt x="210" y="78"/>
                </a:lnTo>
                <a:lnTo>
                  <a:pt x="204" y="78"/>
                </a:lnTo>
                <a:lnTo>
                  <a:pt x="180" y="90"/>
                </a:lnTo>
                <a:lnTo>
                  <a:pt x="162" y="96"/>
                </a:lnTo>
                <a:lnTo>
                  <a:pt x="144" y="108"/>
                </a:lnTo>
                <a:lnTo>
                  <a:pt x="138" y="120"/>
                </a:lnTo>
                <a:lnTo>
                  <a:pt x="138" y="144"/>
                </a:lnTo>
                <a:lnTo>
                  <a:pt x="150" y="168"/>
                </a:lnTo>
                <a:lnTo>
                  <a:pt x="156" y="186"/>
                </a:lnTo>
                <a:lnTo>
                  <a:pt x="162" y="198"/>
                </a:lnTo>
                <a:lnTo>
                  <a:pt x="156" y="210"/>
                </a:lnTo>
                <a:lnTo>
                  <a:pt x="150" y="228"/>
                </a:lnTo>
                <a:lnTo>
                  <a:pt x="138" y="234"/>
                </a:lnTo>
                <a:lnTo>
                  <a:pt x="132" y="246"/>
                </a:lnTo>
                <a:lnTo>
                  <a:pt x="126" y="252"/>
                </a:lnTo>
                <a:lnTo>
                  <a:pt x="120" y="252"/>
                </a:lnTo>
                <a:lnTo>
                  <a:pt x="126" y="222"/>
                </a:lnTo>
                <a:lnTo>
                  <a:pt x="114" y="222"/>
                </a:lnTo>
                <a:lnTo>
                  <a:pt x="108" y="216"/>
                </a:lnTo>
                <a:lnTo>
                  <a:pt x="96" y="210"/>
                </a:lnTo>
                <a:lnTo>
                  <a:pt x="90" y="204"/>
                </a:lnTo>
                <a:lnTo>
                  <a:pt x="84" y="192"/>
                </a:lnTo>
                <a:lnTo>
                  <a:pt x="96" y="168"/>
                </a:lnTo>
                <a:lnTo>
                  <a:pt x="108" y="156"/>
                </a:lnTo>
                <a:lnTo>
                  <a:pt x="120" y="132"/>
                </a:lnTo>
                <a:lnTo>
                  <a:pt x="120" y="78"/>
                </a:lnTo>
                <a:lnTo>
                  <a:pt x="114" y="66"/>
                </a:lnTo>
                <a:lnTo>
                  <a:pt x="114" y="54"/>
                </a:lnTo>
                <a:lnTo>
                  <a:pt x="108" y="48"/>
                </a:lnTo>
                <a:lnTo>
                  <a:pt x="108" y="54"/>
                </a:lnTo>
                <a:lnTo>
                  <a:pt x="102" y="66"/>
                </a:lnTo>
                <a:lnTo>
                  <a:pt x="90" y="78"/>
                </a:lnTo>
                <a:lnTo>
                  <a:pt x="72" y="84"/>
                </a:lnTo>
                <a:lnTo>
                  <a:pt x="48" y="108"/>
                </a:lnTo>
                <a:lnTo>
                  <a:pt x="36" y="144"/>
                </a:lnTo>
                <a:lnTo>
                  <a:pt x="36" y="162"/>
                </a:lnTo>
                <a:lnTo>
                  <a:pt x="30" y="168"/>
                </a:lnTo>
                <a:lnTo>
                  <a:pt x="30" y="192"/>
                </a:lnTo>
                <a:lnTo>
                  <a:pt x="6" y="216"/>
                </a:lnTo>
                <a:lnTo>
                  <a:pt x="0" y="228"/>
                </a:lnTo>
                <a:lnTo>
                  <a:pt x="0" y="240"/>
                </a:lnTo>
                <a:lnTo>
                  <a:pt x="6" y="246"/>
                </a:lnTo>
                <a:lnTo>
                  <a:pt x="6" y="240"/>
                </a:lnTo>
                <a:lnTo>
                  <a:pt x="18" y="228"/>
                </a:lnTo>
                <a:lnTo>
                  <a:pt x="24" y="228"/>
                </a:lnTo>
                <a:lnTo>
                  <a:pt x="36" y="240"/>
                </a:lnTo>
                <a:lnTo>
                  <a:pt x="42" y="252"/>
                </a:lnTo>
                <a:lnTo>
                  <a:pt x="42" y="288"/>
                </a:lnTo>
                <a:lnTo>
                  <a:pt x="48" y="294"/>
                </a:lnTo>
                <a:lnTo>
                  <a:pt x="60" y="300"/>
                </a:lnTo>
                <a:lnTo>
                  <a:pt x="66" y="306"/>
                </a:lnTo>
                <a:lnTo>
                  <a:pt x="66" y="318"/>
                </a:lnTo>
                <a:lnTo>
                  <a:pt x="54" y="342"/>
                </a:lnTo>
                <a:lnTo>
                  <a:pt x="54" y="384"/>
                </a:lnTo>
                <a:lnTo>
                  <a:pt x="66" y="384"/>
                </a:lnTo>
                <a:lnTo>
                  <a:pt x="66" y="396"/>
                </a:lnTo>
                <a:lnTo>
                  <a:pt x="72" y="408"/>
                </a:lnTo>
                <a:lnTo>
                  <a:pt x="78" y="414"/>
                </a:lnTo>
                <a:lnTo>
                  <a:pt x="102" y="414"/>
                </a:lnTo>
                <a:lnTo>
                  <a:pt x="108" y="408"/>
                </a:lnTo>
                <a:lnTo>
                  <a:pt x="120" y="408"/>
                </a:lnTo>
                <a:lnTo>
                  <a:pt x="132" y="414"/>
                </a:lnTo>
                <a:lnTo>
                  <a:pt x="138" y="414"/>
                </a:lnTo>
                <a:lnTo>
                  <a:pt x="150" y="420"/>
                </a:lnTo>
                <a:lnTo>
                  <a:pt x="162" y="420"/>
                </a:lnTo>
                <a:lnTo>
                  <a:pt x="168" y="414"/>
                </a:lnTo>
                <a:lnTo>
                  <a:pt x="168" y="408"/>
                </a:lnTo>
                <a:lnTo>
                  <a:pt x="180" y="408"/>
                </a:lnTo>
                <a:lnTo>
                  <a:pt x="186" y="414"/>
                </a:lnTo>
                <a:lnTo>
                  <a:pt x="198" y="420"/>
                </a:lnTo>
                <a:lnTo>
                  <a:pt x="222" y="420"/>
                </a:lnTo>
                <a:lnTo>
                  <a:pt x="222" y="426"/>
                </a:lnTo>
                <a:lnTo>
                  <a:pt x="228" y="432"/>
                </a:lnTo>
                <a:lnTo>
                  <a:pt x="234" y="444"/>
                </a:lnTo>
                <a:lnTo>
                  <a:pt x="240" y="462"/>
                </a:lnTo>
                <a:lnTo>
                  <a:pt x="264" y="486"/>
                </a:lnTo>
                <a:lnTo>
                  <a:pt x="288" y="486"/>
                </a:lnTo>
                <a:lnTo>
                  <a:pt x="288" y="480"/>
                </a:lnTo>
                <a:lnTo>
                  <a:pt x="306" y="480"/>
                </a:lnTo>
                <a:lnTo>
                  <a:pt x="312" y="486"/>
                </a:lnTo>
                <a:lnTo>
                  <a:pt x="336" y="486"/>
                </a:lnTo>
                <a:lnTo>
                  <a:pt x="342" y="480"/>
                </a:lnTo>
                <a:lnTo>
                  <a:pt x="366" y="486"/>
                </a:lnTo>
                <a:lnTo>
                  <a:pt x="372" y="480"/>
                </a:lnTo>
                <a:lnTo>
                  <a:pt x="384" y="474"/>
                </a:lnTo>
                <a:lnTo>
                  <a:pt x="402" y="474"/>
                </a:lnTo>
                <a:lnTo>
                  <a:pt x="408" y="480"/>
                </a:lnTo>
                <a:lnTo>
                  <a:pt x="408" y="492"/>
                </a:lnTo>
                <a:lnTo>
                  <a:pt x="390" y="510"/>
                </a:lnTo>
                <a:lnTo>
                  <a:pt x="390" y="534"/>
                </a:lnTo>
                <a:lnTo>
                  <a:pt x="384" y="540"/>
                </a:lnTo>
                <a:lnTo>
                  <a:pt x="378" y="540"/>
                </a:lnTo>
                <a:lnTo>
                  <a:pt x="366" y="552"/>
                </a:lnTo>
                <a:lnTo>
                  <a:pt x="366" y="576"/>
                </a:lnTo>
                <a:lnTo>
                  <a:pt x="372" y="588"/>
                </a:lnTo>
                <a:lnTo>
                  <a:pt x="372" y="618"/>
                </a:lnTo>
                <a:lnTo>
                  <a:pt x="366" y="630"/>
                </a:lnTo>
                <a:lnTo>
                  <a:pt x="366" y="642"/>
                </a:lnTo>
                <a:lnTo>
                  <a:pt x="372" y="648"/>
                </a:lnTo>
                <a:lnTo>
                  <a:pt x="384" y="648"/>
                </a:lnTo>
                <a:lnTo>
                  <a:pt x="384" y="672"/>
                </a:lnTo>
                <a:lnTo>
                  <a:pt x="390" y="684"/>
                </a:lnTo>
                <a:lnTo>
                  <a:pt x="402" y="690"/>
                </a:lnTo>
                <a:lnTo>
                  <a:pt x="408" y="702"/>
                </a:lnTo>
                <a:lnTo>
                  <a:pt x="408" y="708"/>
                </a:lnTo>
                <a:lnTo>
                  <a:pt x="402" y="720"/>
                </a:lnTo>
                <a:lnTo>
                  <a:pt x="372" y="750"/>
                </a:lnTo>
                <a:lnTo>
                  <a:pt x="366" y="750"/>
                </a:lnTo>
                <a:lnTo>
                  <a:pt x="390" y="762"/>
                </a:lnTo>
                <a:lnTo>
                  <a:pt x="402" y="774"/>
                </a:lnTo>
                <a:lnTo>
                  <a:pt x="414" y="774"/>
                </a:lnTo>
                <a:lnTo>
                  <a:pt x="414" y="798"/>
                </a:lnTo>
                <a:lnTo>
                  <a:pt x="420" y="804"/>
                </a:lnTo>
                <a:lnTo>
                  <a:pt x="420" y="822"/>
                </a:lnTo>
                <a:lnTo>
                  <a:pt x="426" y="828"/>
                </a:lnTo>
                <a:lnTo>
                  <a:pt x="426" y="846"/>
                </a:lnTo>
                <a:lnTo>
                  <a:pt x="432" y="858"/>
                </a:lnTo>
                <a:lnTo>
                  <a:pt x="432" y="876"/>
                </a:lnTo>
                <a:lnTo>
                  <a:pt x="444" y="888"/>
                </a:lnTo>
                <a:lnTo>
                  <a:pt x="450" y="900"/>
                </a:lnTo>
                <a:lnTo>
                  <a:pt x="450" y="906"/>
                </a:lnTo>
                <a:lnTo>
                  <a:pt x="462" y="918"/>
                </a:lnTo>
                <a:lnTo>
                  <a:pt x="468" y="918"/>
                </a:lnTo>
                <a:lnTo>
                  <a:pt x="480" y="924"/>
                </a:lnTo>
                <a:lnTo>
                  <a:pt x="486" y="924"/>
                </a:lnTo>
                <a:lnTo>
                  <a:pt x="498" y="918"/>
                </a:lnTo>
                <a:lnTo>
                  <a:pt x="504" y="912"/>
                </a:lnTo>
                <a:lnTo>
                  <a:pt x="516" y="906"/>
                </a:lnTo>
                <a:lnTo>
                  <a:pt x="522" y="900"/>
                </a:lnTo>
                <a:lnTo>
                  <a:pt x="528" y="906"/>
                </a:lnTo>
                <a:lnTo>
                  <a:pt x="528" y="930"/>
                </a:lnTo>
                <a:lnTo>
                  <a:pt x="534" y="930"/>
                </a:lnTo>
                <a:lnTo>
                  <a:pt x="546" y="918"/>
                </a:lnTo>
                <a:lnTo>
                  <a:pt x="558" y="894"/>
                </a:lnTo>
                <a:lnTo>
                  <a:pt x="570" y="882"/>
                </a:lnTo>
                <a:lnTo>
                  <a:pt x="588" y="882"/>
                </a:lnTo>
                <a:lnTo>
                  <a:pt x="594" y="876"/>
                </a:lnTo>
                <a:lnTo>
                  <a:pt x="630" y="858"/>
                </a:lnTo>
                <a:lnTo>
                  <a:pt x="636" y="846"/>
                </a:lnTo>
                <a:lnTo>
                  <a:pt x="636" y="816"/>
                </a:lnTo>
                <a:lnTo>
                  <a:pt x="678" y="816"/>
                </a:lnTo>
                <a:lnTo>
                  <a:pt x="684" y="810"/>
                </a:lnTo>
                <a:lnTo>
                  <a:pt x="690" y="798"/>
                </a:lnTo>
                <a:lnTo>
                  <a:pt x="690" y="792"/>
                </a:lnTo>
                <a:lnTo>
                  <a:pt x="684" y="786"/>
                </a:lnTo>
                <a:lnTo>
                  <a:pt x="636" y="780"/>
                </a:lnTo>
                <a:lnTo>
                  <a:pt x="636" y="750"/>
                </a:lnTo>
                <a:lnTo>
                  <a:pt x="630" y="738"/>
                </a:lnTo>
                <a:lnTo>
                  <a:pt x="618" y="726"/>
                </a:lnTo>
                <a:lnTo>
                  <a:pt x="624" y="720"/>
                </a:lnTo>
                <a:lnTo>
                  <a:pt x="624" y="690"/>
                </a:lnTo>
                <a:lnTo>
                  <a:pt x="618" y="684"/>
                </a:lnTo>
                <a:lnTo>
                  <a:pt x="606" y="678"/>
                </a:lnTo>
                <a:lnTo>
                  <a:pt x="588" y="660"/>
                </a:lnTo>
                <a:lnTo>
                  <a:pt x="588" y="630"/>
                </a:lnTo>
                <a:lnTo>
                  <a:pt x="594" y="636"/>
                </a:lnTo>
                <a:lnTo>
                  <a:pt x="594" y="642"/>
                </a:lnTo>
                <a:lnTo>
                  <a:pt x="636" y="642"/>
                </a:lnTo>
                <a:lnTo>
                  <a:pt x="642" y="648"/>
                </a:lnTo>
                <a:lnTo>
                  <a:pt x="642" y="666"/>
                </a:lnTo>
                <a:lnTo>
                  <a:pt x="654" y="666"/>
                </a:lnTo>
                <a:lnTo>
                  <a:pt x="666" y="660"/>
                </a:lnTo>
                <a:lnTo>
                  <a:pt x="678" y="666"/>
                </a:lnTo>
                <a:lnTo>
                  <a:pt x="684" y="660"/>
                </a:lnTo>
                <a:lnTo>
                  <a:pt x="696" y="660"/>
                </a:lnTo>
                <a:lnTo>
                  <a:pt x="702" y="666"/>
                </a:lnTo>
                <a:lnTo>
                  <a:pt x="708" y="678"/>
                </a:lnTo>
                <a:lnTo>
                  <a:pt x="720" y="690"/>
                </a:lnTo>
                <a:lnTo>
                  <a:pt x="732" y="696"/>
                </a:lnTo>
                <a:lnTo>
                  <a:pt x="738" y="690"/>
                </a:lnTo>
                <a:lnTo>
                  <a:pt x="738" y="672"/>
                </a:lnTo>
                <a:lnTo>
                  <a:pt x="744" y="660"/>
                </a:lnTo>
                <a:lnTo>
                  <a:pt x="744" y="648"/>
                </a:lnTo>
                <a:lnTo>
                  <a:pt x="750" y="642"/>
                </a:lnTo>
                <a:lnTo>
                  <a:pt x="768" y="642"/>
                </a:lnTo>
                <a:lnTo>
                  <a:pt x="774" y="648"/>
                </a:lnTo>
                <a:lnTo>
                  <a:pt x="792" y="648"/>
                </a:lnTo>
                <a:lnTo>
                  <a:pt x="804" y="642"/>
                </a:lnTo>
                <a:lnTo>
                  <a:pt x="828" y="618"/>
                </a:lnTo>
                <a:lnTo>
                  <a:pt x="840" y="612"/>
                </a:lnTo>
                <a:lnTo>
                  <a:pt x="864" y="612"/>
                </a:lnTo>
                <a:lnTo>
                  <a:pt x="864" y="600"/>
                </a:lnTo>
                <a:lnTo>
                  <a:pt x="876" y="600"/>
                </a:lnTo>
                <a:lnTo>
                  <a:pt x="882" y="594"/>
                </a:lnTo>
                <a:lnTo>
                  <a:pt x="882" y="558"/>
                </a:lnTo>
                <a:lnTo>
                  <a:pt x="846" y="522"/>
                </a:lnTo>
                <a:lnTo>
                  <a:pt x="840" y="510"/>
                </a:lnTo>
                <a:lnTo>
                  <a:pt x="834" y="504"/>
                </a:lnTo>
                <a:lnTo>
                  <a:pt x="834" y="492"/>
                </a:lnTo>
                <a:lnTo>
                  <a:pt x="846" y="486"/>
                </a:lnTo>
                <a:lnTo>
                  <a:pt x="852" y="486"/>
                </a:lnTo>
                <a:lnTo>
                  <a:pt x="864" y="480"/>
                </a:lnTo>
                <a:lnTo>
                  <a:pt x="864" y="462"/>
                </a:lnTo>
                <a:lnTo>
                  <a:pt x="846" y="444"/>
                </a:lnTo>
                <a:lnTo>
                  <a:pt x="846" y="438"/>
                </a:lnTo>
                <a:lnTo>
                  <a:pt x="876" y="438"/>
                </a:lnTo>
                <a:lnTo>
                  <a:pt x="888" y="432"/>
                </a:lnTo>
                <a:lnTo>
                  <a:pt x="900" y="432"/>
                </a:lnTo>
                <a:lnTo>
                  <a:pt x="912" y="426"/>
                </a:lnTo>
                <a:lnTo>
                  <a:pt x="918" y="420"/>
                </a:lnTo>
                <a:lnTo>
                  <a:pt x="918" y="402"/>
                </a:lnTo>
                <a:lnTo>
                  <a:pt x="894" y="402"/>
                </a:lnTo>
                <a:lnTo>
                  <a:pt x="894" y="360"/>
                </a:lnTo>
                <a:lnTo>
                  <a:pt x="906" y="348"/>
                </a:lnTo>
                <a:lnTo>
                  <a:pt x="918" y="348"/>
                </a:lnTo>
                <a:lnTo>
                  <a:pt x="924" y="342"/>
                </a:lnTo>
                <a:lnTo>
                  <a:pt x="930" y="342"/>
                </a:lnTo>
                <a:lnTo>
                  <a:pt x="936" y="336"/>
                </a:lnTo>
                <a:lnTo>
                  <a:pt x="954" y="300"/>
                </a:lnTo>
                <a:lnTo>
                  <a:pt x="948" y="294"/>
                </a:lnTo>
                <a:lnTo>
                  <a:pt x="942" y="282"/>
                </a:lnTo>
                <a:lnTo>
                  <a:pt x="936" y="27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" name="Uzbekistan"/>
          <p:cNvSpPr>
            <a:spLocks/>
          </p:cNvSpPr>
          <p:nvPr/>
        </p:nvSpPr>
        <p:spPr bwMode="gray">
          <a:xfrm>
            <a:off x="5485671" y="2786730"/>
            <a:ext cx="476250" cy="268288"/>
          </a:xfrm>
          <a:custGeom>
            <a:avLst/>
            <a:gdLst>
              <a:gd name="T0" fmla="*/ 2147483647 w 1182"/>
              <a:gd name="T1" fmla="*/ 2147483647 h 666"/>
              <a:gd name="T2" fmla="*/ 2147483647 w 1182"/>
              <a:gd name="T3" fmla="*/ 2147483647 h 666"/>
              <a:gd name="T4" fmla="*/ 2147483647 w 1182"/>
              <a:gd name="T5" fmla="*/ 2147483647 h 666"/>
              <a:gd name="T6" fmla="*/ 2147483647 w 1182"/>
              <a:gd name="T7" fmla="*/ 2147483647 h 666"/>
              <a:gd name="T8" fmla="*/ 2147483647 w 1182"/>
              <a:gd name="T9" fmla="*/ 2147483647 h 666"/>
              <a:gd name="T10" fmla="*/ 2147483647 w 1182"/>
              <a:gd name="T11" fmla="*/ 2147483647 h 666"/>
              <a:gd name="T12" fmla="*/ 2147483647 w 1182"/>
              <a:gd name="T13" fmla="*/ 2147483647 h 666"/>
              <a:gd name="T14" fmla="*/ 2147483647 w 1182"/>
              <a:gd name="T15" fmla="*/ 2147483647 h 666"/>
              <a:gd name="T16" fmla="*/ 2147483647 w 1182"/>
              <a:gd name="T17" fmla="*/ 2147483647 h 666"/>
              <a:gd name="T18" fmla="*/ 2147483647 w 1182"/>
              <a:gd name="T19" fmla="*/ 2147483647 h 666"/>
              <a:gd name="T20" fmla="*/ 2147483647 w 1182"/>
              <a:gd name="T21" fmla="*/ 2147483647 h 666"/>
              <a:gd name="T22" fmla="*/ 2147483647 w 1182"/>
              <a:gd name="T23" fmla="*/ 2147483647 h 666"/>
              <a:gd name="T24" fmla="*/ 2147483647 w 1182"/>
              <a:gd name="T25" fmla="*/ 2147483647 h 666"/>
              <a:gd name="T26" fmla="*/ 2147483647 w 1182"/>
              <a:gd name="T27" fmla="*/ 2147483647 h 666"/>
              <a:gd name="T28" fmla="*/ 2147483647 w 1182"/>
              <a:gd name="T29" fmla="*/ 2147483647 h 666"/>
              <a:gd name="T30" fmla="*/ 2147483647 w 1182"/>
              <a:gd name="T31" fmla="*/ 2147483647 h 666"/>
              <a:gd name="T32" fmla="*/ 2147483647 w 1182"/>
              <a:gd name="T33" fmla="*/ 2147483647 h 666"/>
              <a:gd name="T34" fmla="*/ 2147483647 w 1182"/>
              <a:gd name="T35" fmla="*/ 2147483647 h 666"/>
              <a:gd name="T36" fmla="*/ 2147483647 w 1182"/>
              <a:gd name="T37" fmla="*/ 2147483647 h 666"/>
              <a:gd name="T38" fmla="*/ 2147483647 w 1182"/>
              <a:gd name="T39" fmla="*/ 2147483647 h 666"/>
              <a:gd name="T40" fmla="*/ 2147483647 w 1182"/>
              <a:gd name="T41" fmla="*/ 2147483647 h 666"/>
              <a:gd name="T42" fmla="*/ 2147483647 w 1182"/>
              <a:gd name="T43" fmla="*/ 2147483647 h 666"/>
              <a:gd name="T44" fmla="*/ 2147483647 w 1182"/>
              <a:gd name="T45" fmla="*/ 2147483647 h 666"/>
              <a:gd name="T46" fmla="*/ 2147483647 w 1182"/>
              <a:gd name="T47" fmla="*/ 2147483647 h 666"/>
              <a:gd name="T48" fmla="*/ 2147483647 w 1182"/>
              <a:gd name="T49" fmla="*/ 2147483647 h 666"/>
              <a:gd name="T50" fmla="*/ 2147483647 w 1182"/>
              <a:gd name="T51" fmla="*/ 2147483647 h 666"/>
              <a:gd name="T52" fmla="*/ 2147483647 w 1182"/>
              <a:gd name="T53" fmla="*/ 2147483647 h 666"/>
              <a:gd name="T54" fmla="*/ 2147483647 w 1182"/>
              <a:gd name="T55" fmla="*/ 2147483647 h 666"/>
              <a:gd name="T56" fmla="*/ 2147483647 w 1182"/>
              <a:gd name="T57" fmla="*/ 2147483647 h 666"/>
              <a:gd name="T58" fmla="*/ 2147483647 w 1182"/>
              <a:gd name="T59" fmla="*/ 2147483647 h 666"/>
              <a:gd name="T60" fmla="*/ 2147483647 w 1182"/>
              <a:gd name="T61" fmla="*/ 2147483647 h 666"/>
              <a:gd name="T62" fmla="*/ 2147483647 w 1182"/>
              <a:gd name="T63" fmla="*/ 2147483647 h 666"/>
              <a:gd name="T64" fmla="*/ 2147483647 w 1182"/>
              <a:gd name="T65" fmla="*/ 2147483647 h 666"/>
              <a:gd name="T66" fmla="*/ 2147483647 w 1182"/>
              <a:gd name="T67" fmla="*/ 2147483647 h 666"/>
              <a:gd name="T68" fmla="*/ 2147483647 w 1182"/>
              <a:gd name="T69" fmla="*/ 2147483647 h 666"/>
              <a:gd name="T70" fmla="*/ 2147483647 w 1182"/>
              <a:gd name="T71" fmla="*/ 2147483647 h 666"/>
              <a:gd name="T72" fmla="*/ 2147483647 w 1182"/>
              <a:gd name="T73" fmla="*/ 2147483647 h 666"/>
              <a:gd name="T74" fmla="*/ 2147483647 w 1182"/>
              <a:gd name="T75" fmla="*/ 2147483647 h 666"/>
              <a:gd name="T76" fmla="*/ 2147483647 w 1182"/>
              <a:gd name="T77" fmla="*/ 2147483647 h 666"/>
              <a:gd name="T78" fmla="*/ 2147483647 w 1182"/>
              <a:gd name="T79" fmla="*/ 2147483647 h 666"/>
              <a:gd name="T80" fmla="*/ 2147483647 w 1182"/>
              <a:gd name="T81" fmla="*/ 2147483647 h 666"/>
              <a:gd name="T82" fmla="*/ 2147483647 w 1182"/>
              <a:gd name="T83" fmla="*/ 2147483647 h 666"/>
              <a:gd name="T84" fmla="*/ 2147483647 w 1182"/>
              <a:gd name="T85" fmla="*/ 2147483647 h 666"/>
              <a:gd name="T86" fmla="*/ 2147483647 w 1182"/>
              <a:gd name="T87" fmla="*/ 2147483647 h 666"/>
              <a:gd name="T88" fmla="*/ 2147483647 w 1182"/>
              <a:gd name="T89" fmla="*/ 2147483647 h 666"/>
              <a:gd name="T90" fmla="*/ 2147483647 w 1182"/>
              <a:gd name="T91" fmla="*/ 2147483647 h 666"/>
              <a:gd name="T92" fmla="*/ 2147483647 w 1182"/>
              <a:gd name="T93" fmla="*/ 2147483647 h 666"/>
              <a:gd name="T94" fmla="*/ 2147483647 w 1182"/>
              <a:gd name="T95" fmla="*/ 2147483647 h 666"/>
              <a:gd name="T96" fmla="*/ 2147483647 w 1182"/>
              <a:gd name="T97" fmla="*/ 2147483647 h 666"/>
              <a:gd name="T98" fmla="*/ 2147483647 w 1182"/>
              <a:gd name="T99" fmla="*/ 2147483647 h 666"/>
              <a:gd name="T100" fmla="*/ 2147483647 w 1182"/>
              <a:gd name="T101" fmla="*/ 2147483647 h 666"/>
              <a:gd name="T102" fmla="*/ 2147483647 w 1182"/>
              <a:gd name="T103" fmla="*/ 2147483647 h 666"/>
              <a:gd name="T104" fmla="*/ 2147483647 w 1182"/>
              <a:gd name="T105" fmla="*/ 2147483647 h 666"/>
              <a:gd name="T106" fmla="*/ 2147483647 w 1182"/>
              <a:gd name="T107" fmla="*/ 2147483647 h 666"/>
              <a:gd name="T108" fmla="*/ 2147483647 w 1182"/>
              <a:gd name="T109" fmla="*/ 2147483647 h 666"/>
              <a:gd name="T110" fmla="*/ 2147483647 w 1182"/>
              <a:gd name="T111" fmla="*/ 2147483647 h 666"/>
              <a:gd name="T112" fmla="*/ 2147483647 w 1182"/>
              <a:gd name="T113" fmla="*/ 2147483647 h 666"/>
              <a:gd name="T114" fmla="*/ 2147483647 w 1182"/>
              <a:gd name="T115" fmla="*/ 2147483647 h 66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182"/>
              <a:gd name="T175" fmla="*/ 0 h 666"/>
              <a:gd name="T176" fmla="*/ 1182 w 1182"/>
              <a:gd name="T177" fmla="*/ 666 h 66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182" h="666">
                <a:moveTo>
                  <a:pt x="1152" y="372"/>
                </a:moveTo>
                <a:lnTo>
                  <a:pt x="1146" y="360"/>
                </a:lnTo>
                <a:lnTo>
                  <a:pt x="1122" y="360"/>
                </a:lnTo>
                <a:lnTo>
                  <a:pt x="1116" y="342"/>
                </a:lnTo>
                <a:lnTo>
                  <a:pt x="1098" y="342"/>
                </a:lnTo>
                <a:lnTo>
                  <a:pt x="1080" y="318"/>
                </a:lnTo>
                <a:lnTo>
                  <a:pt x="1080" y="330"/>
                </a:lnTo>
                <a:lnTo>
                  <a:pt x="1068" y="330"/>
                </a:lnTo>
                <a:lnTo>
                  <a:pt x="1068" y="342"/>
                </a:lnTo>
                <a:lnTo>
                  <a:pt x="1032" y="342"/>
                </a:lnTo>
                <a:lnTo>
                  <a:pt x="1020" y="330"/>
                </a:lnTo>
                <a:lnTo>
                  <a:pt x="990" y="318"/>
                </a:lnTo>
                <a:lnTo>
                  <a:pt x="1038" y="270"/>
                </a:lnTo>
                <a:lnTo>
                  <a:pt x="1038" y="264"/>
                </a:lnTo>
                <a:lnTo>
                  <a:pt x="1032" y="264"/>
                </a:lnTo>
                <a:lnTo>
                  <a:pt x="1032" y="258"/>
                </a:lnTo>
                <a:lnTo>
                  <a:pt x="1002" y="276"/>
                </a:lnTo>
                <a:lnTo>
                  <a:pt x="978" y="276"/>
                </a:lnTo>
                <a:lnTo>
                  <a:pt x="966" y="300"/>
                </a:lnTo>
                <a:lnTo>
                  <a:pt x="960" y="300"/>
                </a:lnTo>
                <a:lnTo>
                  <a:pt x="954" y="306"/>
                </a:lnTo>
                <a:lnTo>
                  <a:pt x="942" y="306"/>
                </a:lnTo>
                <a:lnTo>
                  <a:pt x="930" y="312"/>
                </a:lnTo>
                <a:lnTo>
                  <a:pt x="918" y="324"/>
                </a:lnTo>
                <a:lnTo>
                  <a:pt x="918" y="342"/>
                </a:lnTo>
                <a:lnTo>
                  <a:pt x="912" y="342"/>
                </a:lnTo>
                <a:lnTo>
                  <a:pt x="906" y="348"/>
                </a:lnTo>
                <a:lnTo>
                  <a:pt x="894" y="354"/>
                </a:lnTo>
                <a:lnTo>
                  <a:pt x="882" y="366"/>
                </a:lnTo>
                <a:lnTo>
                  <a:pt x="882" y="378"/>
                </a:lnTo>
                <a:lnTo>
                  <a:pt x="888" y="384"/>
                </a:lnTo>
                <a:lnTo>
                  <a:pt x="888" y="396"/>
                </a:lnTo>
                <a:lnTo>
                  <a:pt x="882" y="390"/>
                </a:lnTo>
                <a:lnTo>
                  <a:pt x="870" y="390"/>
                </a:lnTo>
                <a:lnTo>
                  <a:pt x="858" y="384"/>
                </a:lnTo>
                <a:lnTo>
                  <a:pt x="852" y="384"/>
                </a:lnTo>
                <a:lnTo>
                  <a:pt x="852" y="372"/>
                </a:lnTo>
                <a:lnTo>
                  <a:pt x="858" y="366"/>
                </a:lnTo>
                <a:lnTo>
                  <a:pt x="858" y="348"/>
                </a:lnTo>
                <a:lnTo>
                  <a:pt x="840" y="342"/>
                </a:lnTo>
                <a:lnTo>
                  <a:pt x="762" y="342"/>
                </a:lnTo>
                <a:lnTo>
                  <a:pt x="732" y="282"/>
                </a:lnTo>
                <a:lnTo>
                  <a:pt x="726" y="276"/>
                </a:lnTo>
                <a:lnTo>
                  <a:pt x="714" y="276"/>
                </a:lnTo>
                <a:lnTo>
                  <a:pt x="708" y="282"/>
                </a:lnTo>
                <a:lnTo>
                  <a:pt x="702" y="282"/>
                </a:lnTo>
                <a:lnTo>
                  <a:pt x="696" y="276"/>
                </a:lnTo>
                <a:lnTo>
                  <a:pt x="696" y="234"/>
                </a:lnTo>
                <a:lnTo>
                  <a:pt x="690" y="216"/>
                </a:lnTo>
                <a:lnTo>
                  <a:pt x="690" y="204"/>
                </a:lnTo>
                <a:lnTo>
                  <a:pt x="660" y="204"/>
                </a:lnTo>
                <a:lnTo>
                  <a:pt x="654" y="192"/>
                </a:lnTo>
                <a:lnTo>
                  <a:pt x="642" y="186"/>
                </a:lnTo>
                <a:lnTo>
                  <a:pt x="636" y="168"/>
                </a:lnTo>
                <a:lnTo>
                  <a:pt x="618" y="150"/>
                </a:lnTo>
                <a:lnTo>
                  <a:pt x="612" y="138"/>
                </a:lnTo>
                <a:lnTo>
                  <a:pt x="600" y="138"/>
                </a:lnTo>
                <a:lnTo>
                  <a:pt x="576" y="150"/>
                </a:lnTo>
                <a:lnTo>
                  <a:pt x="570" y="156"/>
                </a:lnTo>
                <a:lnTo>
                  <a:pt x="552" y="156"/>
                </a:lnTo>
                <a:lnTo>
                  <a:pt x="534" y="150"/>
                </a:lnTo>
                <a:lnTo>
                  <a:pt x="474" y="150"/>
                </a:lnTo>
                <a:lnTo>
                  <a:pt x="456" y="156"/>
                </a:lnTo>
                <a:lnTo>
                  <a:pt x="420" y="156"/>
                </a:lnTo>
                <a:lnTo>
                  <a:pt x="414" y="162"/>
                </a:lnTo>
                <a:lnTo>
                  <a:pt x="408" y="162"/>
                </a:lnTo>
                <a:lnTo>
                  <a:pt x="330" y="90"/>
                </a:lnTo>
                <a:lnTo>
                  <a:pt x="264" y="54"/>
                </a:lnTo>
                <a:lnTo>
                  <a:pt x="270" y="66"/>
                </a:lnTo>
                <a:lnTo>
                  <a:pt x="270" y="90"/>
                </a:lnTo>
                <a:lnTo>
                  <a:pt x="264" y="102"/>
                </a:lnTo>
                <a:lnTo>
                  <a:pt x="258" y="108"/>
                </a:lnTo>
                <a:lnTo>
                  <a:pt x="240" y="108"/>
                </a:lnTo>
                <a:lnTo>
                  <a:pt x="228" y="102"/>
                </a:lnTo>
                <a:lnTo>
                  <a:pt x="222" y="96"/>
                </a:lnTo>
                <a:lnTo>
                  <a:pt x="222" y="78"/>
                </a:lnTo>
                <a:lnTo>
                  <a:pt x="210" y="54"/>
                </a:lnTo>
                <a:lnTo>
                  <a:pt x="216" y="36"/>
                </a:lnTo>
                <a:lnTo>
                  <a:pt x="162" y="12"/>
                </a:lnTo>
                <a:lnTo>
                  <a:pt x="156" y="30"/>
                </a:lnTo>
                <a:lnTo>
                  <a:pt x="168" y="36"/>
                </a:lnTo>
                <a:lnTo>
                  <a:pt x="174" y="48"/>
                </a:lnTo>
                <a:lnTo>
                  <a:pt x="174" y="72"/>
                </a:lnTo>
                <a:lnTo>
                  <a:pt x="168" y="78"/>
                </a:lnTo>
                <a:lnTo>
                  <a:pt x="156" y="84"/>
                </a:lnTo>
                <a:lnTo>
                  <a:pt x="150" y="84"/>
                </a:lnTo>
                <a:lnTo>
                  <a:pt x="144" y="78"/>
                </a:lnTo>
                <a:lnTo>
                  <a:pt x="144" y="60"/>
                </a:lnTo>
                <a:lnTo>
                  <a:pt x="132" y="48"/>
                </a:lnTo>
                <a:lnTo>
                  <a:pt x="132" y="42"/>
                </a:lnTo>
                <a:lnTo>
                  <a:pt x="144" y="30"/>
                </a:lnTo>
                <a:lnTo>
                  <a:pt x="150" y="6"/>
                </a:lnTo>
                <a:lnTo>
                  <a:pt x="144" y="0"/>
                </a:lnTo>
                <a:lnTo>
                  <a:pt x="0" y="42"/>
                </a:lnTo>
                <a:lnTo>
                  <a:pt x="48" y="324"/>
                </a:lnTo>
                <a:lnTo>
                  <a:pt x="60" y="324"/>
                </a:lnTo>
                <a:lnTo>
                  <a:pt x="72" y="336"/>
                </a:lnTo>
                <a:lnTo>
                  <a:pt x="138" y="336"/>
                </a:lnTo>
                <a:lnTo>
                  <a:pt x="132" y="324"/>
                </a:lnTo>
                <a:lnTo>
                  <a:pt x="120" y="318"/>
                </a:lnTo>
                <a:lnTo>
                  <a:pt x="114" y="300"/>
                </a:lnTo>
                <a:lnTo>
                  <a:pt x="114" y="288"/>
                </a:lnTo>
                <a:lnTo>
                  <a:pt x="132" y="270"/>
                </a:lnTo>
                <a:lnTo>
                  <a:pt x="144" y="264"/>
                </a:lnTo>
                <a:lnTo>
                  <a:pt x="156" y="264"/>
                </a:lnTo>
                <a:lnTo>
                  <a:pt x="162" y="258"/>
                </a:lnTo>
                <a:lnTo>
                  <a:pt x="168" y="258"/>
                </a:lnTo>
                <a:lnTo>
                  <a:pt x="168" y="246"/>
                </a:lnTo>
                <a:lnTo>
                  <a:pt x="174" y="240"/>
                </a:lnTo>
                <a:lnTo>
                  <a:pt x="180" y="240"/>
                </a:lnTo>
                <a:lnTo>
                  <a:pt x="186" y="246"/>
                </a:lnTo>
                <a:lnTo>
                  <a:pt x="198" y="246"/>
                </a:lnTo>
                <a:lnTo>
                  <a:pt x="204" y="252"/>
                </a:lnTo>
                <a:lnTo>
                  <a:pt x="174" y="222"/>
                </a:lnTo>
                <a:lnTo>
                  <a:pt x="204" y="228"/>
                </a:lnTo>
                <a:lnTo>
                  <a:pt x="210" y="216"/>
                </a:lnTo>
                <a:lnTo>
                  <a:pt x="228" y="240"/>
                </a:lnTo>
                <a:lnTo>
                  <a:pt x="252" y="240"/>
                </a:lnTo>
                <a:lnTo>
                  <a:pt x="252" y="252"/>
                </a:lnTo>
                <a:lnTo>
                  <a:pt x="264" y="258"/>
                </a:lnTo>
                <a:lnTo>
                  <a:pt x="300" y="258"/>
                </a:lnTo>
                <a:lnTo>
                  <a:pt x="306" y="264"/>
                </a:lnTo>
                <a:lnTo>
                  <a:pt x="312" y="276"/>
                </a:lnTo>
                <a:lnTo>
                  <a:pt x="312" y="288"/>
                </a:lnTo>
                <a:lnTo>
                  <a:pt x="324" y="294"/>
                </a:lnTo>
                <a:lnTo>
                  <a:pt x="312" y="306"/>
                </a:lnTo>
                <a:lnTo>
                  <a:pt x="312" y="318"/>
                </a:lnTo>
                <a:lnTo>
                  <a:pt x="330" y="336"/>
                </a:lnTo>
                <a:lnTo>
                  <a:pt x="360" y="336"/>
                </a:lnTo>
                <a:lnTo>
                  <a:pt x="414" y="342"/>
                </a:lnTo>
                <a:lnTo>
                  <a:pt x="414" y="336"/>
                </a:lnTo>
                <a:lnTo>
                  <a:pt x="450" y="354"/>
                </a:lnTo>
                <a:lnTo>
                  <a:pt x="468" y="384"/>
                </a:lnTo>
                <a:lnTo>
                  <a:pt x="486" y="402"/>
                </a:lnTo>
                <a:lnTo>
                  <a:pt x="486" y="408"/>
                </a:lnTo>
                <a:lnTo>
                  <a:pt x="492" y="414"/>
                </a:lnTo>
                <a:lnTo>
                  <a:pt x="510" y="450"/>
                </a:lnTo>
                <a:lnTo>
                  <a:pt x="522" y="462"/>
                </a:lnTo>
                <a:lnTo>
                  <a:pt x="534" y="468"/>
                </a:lnTo>
                <a:lnTo>
                  <a:pt x="552" y="468"/>
                </a:lnTo>
                <a:lnTo>
                  <a:pt x="564" y="474"/>
                </a:lnTo>
                <a:lnTo>
                  <a:pt x="570" y="474"/>
                </a:lnTo>
                <a:lnTo>
                  <a:pt x="582" y="486"/>
                </a:lnTo>
                <a:lnTo>
                  <a:pt x="588" y="498"/>
                </a:lnTo>
                <a:lnTo>
                  <a:pt x="594" y="504"/>
                </a:lnTo>
                <a:lnTo>
                  <a:pt x="624" y="522"/>
                </a:lnTo>
                <a:lnTo>
                  <a:pt x="648" y="522"/>
                </a:lnTo>
                <a:lnTo>
                  <a:pt x="666" y="534"/>
                </a:lnTo>
                <a:lnTo>
                  <a:pt x="690" y="546"/>
                </a:lnTo>
                <a:lnTo>
                  <a:pt x="696" y="552"/>
                </a:lnTo>
                <a:lnTo>
                  <a:pt x="708" y="558"/>
                </a:lnTo>
                <a:lnTo>
                  <a:pt x="720" y="570"/>
                </a:lnTo>
                <a:lnTo>
                  <a:pt x="732" y="570"/>
                </a:lnTo>
                <a:lnTo>
                  <a:pt x="744" y="582"/>
                </a:lnTo>
                <a:lnTo>
                  <a:pt x="750" y="582"/>
                </a:lnTo>
                <a:lnTo>
                  <a:pt x="774" y="576"/>
                </a:lnTo>
                <a:lnTo>
                  <a:pt x="822" y="606"/>
                </a:lnTo>
                <a:lnTo>
                  <a:pt x="816" y="612"/>
                </a:lnTo>
                <a:lnTo>
                  <a:pt x="816" y="630"/>
                </a:lnTo>
                <a:lnTo>
                  <a:pt x="828" y="642"/>
                </a:lnTo>
                <a:lnTo>
                  <a:pt x="828" y="654"/>
                </a:lnTo>
                <a:lnTo>
                  <a:pt x="840" y="654"/>
                </a:lnTo>
                <a:lnTo>
                  <a:pt x="852" y="642"/>
                </a:lnTo>
                <a:lnTo>
                  <a:pt x="870" y="666"/>
                </a:lnTo>
                <a:lnTo>
                  <a:pt x="882" y="660"/>
                </a:lnTo>
                <a:lnTo>
                  <a:pt x="894" y="660"/>
                </a:lnTo>
                <a:lnTo>
                  <a:pt x="900" y="666"/>
                </a:lnTo>
                <a:lnTo>
                  <a:pt x="906" y="666"/>
                </a:lnTo>
                <a:lnTo>
                  <a:pt x="900" y="666"/>
                </a:lnTo>
                <a:lnTo>
                  <a:pt x="900" y="642"/>
                </a:lnTo>
                <a:lnTo>
                  <a:pt x="906" y="636"/>
                </a:lnTo>
                <a:lnTo>
                  <a:pt x="912" y="624"/>
                </a:lnTo>
                <a:lnTo>
                  <a:pt x="924" y="618"/>
                </a:lnTo>
                <a:lnTo>
                  <a:pt x="930" y="606"/>
                </a:lnTo>
                <a:lnTo>
                  <a:pt x="930" y="588"/>
                </a:lnTo>
                <a:lnTo>
                  <a:pt x="918" y="576"/>
                </a:lnTo>
                <a:lnTo>
                  <a:pt x="906" y="570"/>
                </a:lnTo>
                <a:lnTo>
                  <a:pt x="900" y="564"/>
                </a:lnTo>
                <a:lnTo>
                  <a:pt x="900" y="546"/>
                </a:lnTo>
                <a:lnTo>
                  <a:pt x="906" y="540"/>
                </a:lnTo>
                <a:lnTo>
                  <a:pt x="906" y="534"/>
                </a:lnTo>
                <a:lnTo>
                  <a:pt x="894" y="522"/>
                </a:lnTo>
                <a:lnTo>
                  <a:pt x="882" y="522"/>
                </a:lnTo>
                <a:lnTo>
                  <a:pt x="876" y="516"/>
                </a:lnTo>
                <a:lnTo>
                  <a:pt x="870" y="516"/>
                </a:lnTo>
                <a:lnTo>
                  <a:pt x="858" y="504"/>
                </a:lnTo>
                <a:lnTo>
                  <a:pt x="840" y="504"/>
                </a:lnTo>
                <a:lnTo>
                  <a:pt x="840" y="486"/>
                </a:lnTo>
                <a:lnTo>
                  <a:pt x="846" y="480"/>
                </a:lnTo>
                <a:lnTo>
                  <a:pt x="894" y="480"/>
                </a:lnTo>
                <a:lnTo>
                  <a:pt x="918" y="468"/>
                </a:lnTo>
                <a:lnTo>
                  <a:pt x="918" y="456"/>
                </a:lnTo>
                <a:lnTo>
                  <a:pt x="912" y="456"/>
                </a:lnTo>
                <a:lnTo>
                  <a:pt x="930" y="444"/>
                </a:lnTo>
                <a:lnTo>
                  <a:pt x="906" y="420"/>
                </a:lnTo>
                <a:lnTo>
                  <a:pt x="948" y="420"/>
                </a:lnTo>
                <a:lnTo>
                  <a:pt x="948" y="414"/>
                </a:lnTo>
                <a:lnTo>
                  <a:pt x="936" y="402"/>
                </a:lnTo>
                <a:lnTo>
                  <a:pt x="936" y="390"/>
                </a:lnTo>
                <a:lnTo>
                  <a:pt x="942" y="384"/>
                </a:lnTo>
                <a:lnTo>
                  <a:pt x="942" y="372"/>
                </a:lnTo>
                <a:lnTo>
                  <a:pt x="954" y="372"/>
                </a:lnTo>
                <a:lnTo>
                  <a:pt x="972" y="390"/>
                </a:lnTo>
                <a:lnTo>
                  <a:pt x="978" y="390"/>
                </a:lnTo>
                <a:lnTo>
                  <a:pt x="984" y="378"/>
                </a:lnTo>
                <a:lnTo>
                  <a:pt x="996" y="372"/>
                </a:lnTo>
                <a:lnTo>
                  <a:pt x="1002" y="360"/>
                </a:lnTo>
                <a:lnTo>
                  <a:pt x="1020" y="360"/>
                </a:lnTo>
                <a:lnTo>
                  <a:pt x="1032" y="366"/>
                </a:lnTo>
                <a:lnTo>
                  <a:pt x="1038" y="372"/>
                </a:lnTo>
                <a:lnTo>
                  <a:pt x="1014" y="408"/>
                </a:lnTo>
                <a:lnTo>
                  <a:pt x="1026" y="408"/>
                </a:lnTo>
                <a:lnTo>
                  <a:pt x="1032" y="414"/>
                </a:lnTo>
                <a:lnTo>
                  <a:pt x="1044" y="414"/>
                </a:lnTo>
                <a:lnTo>
                  <a:pt x="1050" y="420"/>
                </a:lnTo>
                <a:lnTo>
                  <a:pt x="1056" y="420"/>
                </a:lnTo>
                <a:lnTo>
                  <a:pt x="1068" y="414"/>
                </a:lnTo>
                <a:lnTo>
                  <a:pt x="1086" y="414"/>
                </a:lnTo>
                <a:lnTo>
                  <a:pt x="1092" y="420"/>
                </a:lnTo>
                <a:lnTo>
                  <a:pt x="1098" y="420"/>
                </a:lnTo>
                <a:lnTo>
                  <a:pt x="1104" y="426"/>
                </a:lnTo>
                <a:lnTo>
                  <a:pt x="1110" y="426"/>
                </a:lnTo>
                <a:lnTo>
                  <a:pt x="1128" y="408"/>
                </a:lnTo>
                <a:lnTo>
                  <a:pt x="1146" y="402"/>
                </a:lnTo>
                <a:lnTo>
                  <a:pt x="1146" y="396"/>
                </a:lnTo>
                <a:lnTo>
                  <a:pt x="1158" y="396"/>
                </a:lnTo>
                <a:lnTo>
                  <a:pt x="1170" y="390"/>
                </a:lnTo>
                <a:lnTo>
                  <a:pt x="1182" y="378"/>
                </a:lnTo>
                <a:lnTo>
                  <a:pt x="1182" y="366"/>
                </a:lnTo>
                <a:lnTo>
                  <a:pt x="1170" y="366"/>
                </a:lnTo>
                <a:lnTo>
                  <a:pt x="1158" y="372"/>
                </a:lnTo>
                <a:lnTo>
                  <a:pt x="1152" y="37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4" name="USA"/>
          <p:cNvSpPr>
            <a:spLocks noEditPoints="1"/>
          </p:cNvSpPr>
          <p:nvPr/>
        </p:nvSpPr>
        <p:spPr bwMode="gray">
          <a:xfrm>
            <a:off x="753333" y="2662905"/>
            <a:ext cx="1576388" cy="781050"/>
          </a:xfrm>
          <a:custGeom>
            <a:avLst/>
            <a:gdLst>
              <a:gd name="T0" fmla="*/ 2147483647 w 3918"/>
              <a:gd name="T1" fmla="*/ 2147483647 h 1944"/>
              <a:gd name="T2" fmla="*/ 2147483647 w 3918"/>
              <a:gd name="T3" fmla="*/ 2147483647 h 1944"/>
              <a:gd name="T4" fmla="*/ 2147483647 w 3918"/>
              <a:gd name="T5" fmla="*/ 2147483647 h 1944"/>
              <a:gd name="T6" fmla="*/ 2147483647 w 3918"/>
              <a:gd name="T7" fmla="*/ 2147483647 h 1944"/>
              <a:gd name="T8" fmla="*/ 2147483647 w 3918"/>
              <a:gd name="T9" fmla="*/ 2147483647 h 1944"/>
              <a:gd name="T10" fmla="*/ 2147483647 w 3918"/>
              <a:gd name="T11" fmla="*/ 2147483647 h 1944"/>
              <a:gd name="T12" fmla="*/ 2147483647 w 3918"/>
              <a:gd name="T13" fmla="*/ 2147483647 h 1944"/>
              <a:gd name="T14" fmla="*/ 2147483647 w 3918"/>
              <a:gd name="T15" fmla="*/ 2147483647 h 1944"/>
              <a:gd name="T16" fmla="*/ 2147483647 w 3918"/>
              <a:gd name="T17" fmla="*/ 2147483647 h 1944"/>
              <a:gd name="T18" fmla="*/ 2147483647 w 3918"/>
              <a:gd name="T19" fmla="*/ 2147483647 h 1944"/>
              <a:gd name="T20" fmla="*/ 2147483647 w 3918"/>
              <a:gd name="T21" fmla="*/ 2147483647 h 1944"/>
              <a:gd name="T22" fmla="*/ 2147483647 w 3918"/>
              <a:gd name="T23" fmla="*/ 2147483647 h 1944"/>
              <a:gd name="T24" fmla="*/ 2147483647 w 3918"/>
              <a:gd name="T25" fmla="*/ 2147483647 h 1944"/>
              <a:gd name="T26" fmla="*/ 2147483647 w 3918"/>
              <a:gd name="T27" fmla="*/ 2147483647 h 1944"/>
              <a:gd name="T28" fmla="*/ 2147483647 w 3918"/>
              <a:gd name="T29" fmla="*/ 2147483647 h 1944"/>
              <a:gd name="T30" fmla="*/ 2147483647 w 3918"/>
              <a:gd name="T31" fmla="*/ 2147483647 h 1944"/>
              <a:gd name="T32" fmla="*/ 2147483647 w 3918"/>
              <a:gd name="T33" fmla="*/ 2147483647 h 1944"/>
              <a:gd name="T34" fmla="*/ 2147483647 w 3918"/>
              <a:gd name="T35" fmla="*/ 2147483647 h 1944"/>
              <a:gd name="T36" fmla="*/ 2147483647 w 3918"/>
              <a:gd name="T37" fmla="*/ 2147483647 h 1944"/>
              <a:gd name="T38" fmla="*/ 2147483647 w 3918"/>
              <a:gd name="T39" fmla="*/ 2147483647 h 1944"/>
              <a:gd name="T40" fmla="*/ 2147483647 w 3918"/>
              <a:gd name="T41" fmla="*/ 2147483647 h 1944"/>
              <a:gd name="T42" fmla="*/ 2147483647 w 3918"/>
              <a:gd name="T43" fmla="*/ 2147483647 h 1944"/>
              <a:gd name="T44" fmla="*/ 2147483647 w 3918"/>
              <a:gd name="T45" fmla="*/ 2147483647 h 1944"/>
              <a:gd name="T46" fmla="*/ 2147483647 w 3918"/>
              <a:gd name="T47" fmla="*/ 2147483647 h 1944"/>
              <a:gd name="T48" fmla="*/ 2147483647 w 3918"/>
              <a:gd name="T49" fmla="*/ 2147483647 h 1944"/>
              <a:gd name="T50" fmla="*/ 2147483647 w 3918"/>
              <a:gd name="T51" fmla="*/ 2147483647 h 1944"/>
              <a:gd name="T52" fmla="*/ 2147483647 w 3918"/>
              <a:gd name="T53" fmla="*/ 2147483647 h 1944"/>
              <a:gd name="T54" fmla="*/ 2147483647 w 3918"/>
              <a:gd name="T55" fmla="*/ 2147483647 h 1944"/>
              <a:gd name="T56" fmla="*/ 2147483647 w 3918"/>
              <a:gd name="T57" fmla="*/ 2147483647 h 1944"/>
              <a:gd name="T58" fmla="*/ 2147483647 w 3918"/>
              <a:gd name="T59" fmla="*/ 2147483647 h 1944"/>
              <a:gd name="T60" fmla="*/ 2147483647 w 3918"/>
              <a:gd name="T61" fmla="*/ 2147483647 h 1944"/>
              <a:gd name="T62" fmla="*/ 2147483647 w 3918"/>
              <a:gd name="T63" fmla="*/ 2147483647 h 1944"/>
              <a:gd name="T64" fmla="*/ 2147483647 w 3918"/>
              <a:gd name="T65" fmla="*/ 2147483647 h 1944"/>
              <a:gd name="T66" fmla="*/ 2147483647 w 3918"/>
              <a:gd name="T67" fmla="*/ 2147483647 h 1944"/>
              <a:gd name="T68" fmla="*/ 2147483647 w 3918"/>
              <a:gd name="T69" fmla="*/ 2147483647 h 1944"/>
              <a:gd name="T70" fmla="*/ 2147483647 w 3918"/>
              <a:gd name="T71" fmla="*/ 2147483647 h 1944"/>
              <a:gd name="T72" fmla="*/ 2147483647 w 3918"/>
              <a:gd name="T73" fmla="*/ 2147483647 h 1944"/>
              <a:gd name="T74" fmla="*/ 2147483647 w 3918"/>
              <a:gd name="T75" fmla="*/ 2147483647 h 1944"/>
              <a:gd name="T76" fmla="*/ 2147483647 w 3918"/>
              <a:gd name="T77" fmla="*/ 2147483647 h 1944"/>
              <a:gd name="T78" fmla="*/ 2147483647 w 3918"/>
              <a:gd name="T79" fmla="*/ 2147483647 h 1944"/>
              <a:gd name="T80" fmla="*/ 2147483647 w 3918"/>
              <a:gd name="T81" fmla="*/ 2147483647 h 1944"/>
              <a:gd name="T82" fmla="*/ 2147483647 w 3918"/>
              <a:gd name="T83" fmla="*/ 2147483647 h 1944"/>
              <a:gd name="T84" fmla="*/ 2147483647 w 3918"/>
              <a:gd name="T85" fmla="*/ 2147483647 h 1944"/>
              <a:gd name="T86" fmla="*/ 2147483647 w 3918"/>
              <a:gd name="T87" fmla="*/ 2147483647 h 1944"/>
              <a:gd name="T88" fmla="*/ 2147483647 w 3918"/>
              <a:gd name="T89" fmla="*/ 2147483647 h 1944"/>
              <a:gd name="T90" fmla="*/ 2147483647 w 3918"/>
              <a:gd name="T91" fmla="*/ 2147483647 h 1944"/>
              <a:gd name="T92" fmla="*/ 2147483647 w 3918"/>
              <a:gd name="T93" fmla="*/ 2147483647 h 1944"/>
              <a:gd name="T94" fmla="*/ 2147483647 w 3918"/>
              <a:gd name="T95" fmla="*/ 2147483647 h 1944"/>
              <a:gd name="T96" fmla="*/ 2147483647 w 3918"/>
              <a:gd name="T97" fmla="*/ 2147483647 h 1944"/>
              <a:gd name="T98" fmla="*/ 2147483647 w 3918"/>
              <a:gd name="T99" fmla="*/ 2147483647 h 1944"/>
              <a:gd name="T100" fmla="*/ 2147483647 w 3918"/>
              <a:gd name="T101" fmla="*/ 2147483647 h 1944"/>
              <a:gd name="T102" fmla="*/ 2147483647 w 3918"/>
              <a:gd name="T103" fmla="*/ 2147483647 h 1944"/>
              <a:gd name="T104" fmla="*/ 2147483647 w 3918"/>
              <a:gd name="T105" fmla="*/ 2147483647 h 1944"/>
              <a:gd name="T106" fmla="*/ 2147483647 w 3918"/>
              <a:gd name="T107" fmla="*/ 2147483647 h 1944"/>
              <a:gd name="T108" fmla="*/ 2147483647 w 3918"/>
              <a:gd name="T109" fmla="*/ 2147483647 h 1944"/>
              <a:gd name="T110" fmla="*/ 2147483647 w 3918"/>
              <a:gd name="T111" fmla="*/ 2147483647 h 1944"/>
              <a:gd name="T112" fmla="*/ 2147483647 w 3918"/>
              <a:gd name="T113" fmla="*/ 2147483647 h 1944"/>
              <a:gd name="T114" fmla="*/ 2147483647 w 3918"/>
              <a:gd name="T115" fmla="*/ 2147483647 h 1944"/>
              <a:gd name="T116" fmla="*/ 2147483647 w 3918"/>
              <a:gd name="T117" fmla="*/ 2147483647 h 1944"/>
              <a:gd name="T118" fmla="*/ 2147483647 w 3918"/>
              <a:gd name="T119" fmla="*/ 2147483647 h 1944"/>
              <a:gd name="T120" fmla="*/ 2147483647 w 3918"/>
              <a:gd name="T121" fmla="*/ 2147483647 h 1944"/>
              <a:gd name="T122" fmla="*/ 2147483647 w 3918"/>
              <a:gd name="T123" fmla="*/ 2147483647 h 1944"/>
              <a:gd name="T124" fmla="*/ 2147483647 w 3918"/>
              <a:gd name="T125" fmla="*/ 2147483647 h 194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918"/>
              <a:gd name="T190" fmla="*/ 0 h 1944"/>
              <a:gd name="T191" fmla="*/ 3918 w 3918"/>
              <a:gd name="T192" fmla="*/ 1944 h 194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918" h="1944">
                <a:moveTo>
                  <a:pt x="3858" y="168"/>
                </a:moveTo>
                <a:lnTo>
                  <a:pt x="3852" y="168"/>
                </a:lnTo>
                <a:lnTo>
                  <a:pt x="3846" y="162"/>
                </a:lnTo>
                <a:lnTo>
                  <a:pt x="3846" y="156"/>
                </a:lnTo>
                <a:lnTo>
                  <a:pt x="3840" y="150"/>
                </a:lnTo>
                <a:lnTo>
                  <a:pt x="3828" y="150"/>
                </a:lnTo>
                <a:lnTo>
                  <a:pt x="3804" y="174"/>
                </a:lnTo>
                <a:lnTo>
                  <a:pt x="3798" y="186"/>
                </a:lnTo>
                <a:lnTo>
                  <a:pt x="3756" y="210"/>
                </a:lnTo>
                <a:lnTo>
                  <a:pt x="3756" y="234"/>
                </a:lnTo>
                <a:lnTo>
                  <a:pt x="3744" y="246"/>
                </a:lnTo>
                <a:lnTo>
                  <a:pt x="3738" y="246"/>
                </a:lnTo>
                <a:lnTo>
                  <a:pt x="3726" y="258"/>
                </a:lnTo>
                <a:lnTo>
                  <a:pt x="3720" y="270"/>
                </a:lnTo>
                <a:lnTo>
                  <a:pt x="3720" y="294"/>
                </a:lnTo>
                <a:lnTo>
                  <a:pt x="3714" y="294"/>
                </a:lnTo>
                <a:lnTo>
                  <a:pt x="3708" y="288"/>
                </a:lnTo>
                <a:lnTo>
                  <a:pt x="3696" y="288"/>
                </a:lnTo>
                <a:lnTo>
                  <a:pt x="3690" y="294"/>
                </a:lnTo>
                <a:lnTo>
                  <a:pt x="3678" y="300"/>
                </a:lnTo>
                <a:lnTo>
                  <a:pt x="3666" y="312"/>
                </a:lnTo>
                <a:lnTo>
                  <a:pt x="3666" y="318"/>
                </a:lnTo>
                <a:lnTo>
                  <a:pt x="3660" y="318"/>
                </a:lnTo>
                <a:lnTo>
                  <a:pt x="3648" y="324"/>
                </a:lnTo>
                <a:lnTo>
                  <a:pt x="3630" y="324"/>
                </a:lnTo>
                <a:lnTo>
                  <a:pt x="3618" y="336"/>
                </a:lnTo>
                <a:lnTo>
                  <a:pt x="3618" y="342"/>
                </a:lnTo>
                <a:lnTo>
                  <a:pt x="3384" y="342"/>
                </a:lnTo>
                <a:lnTo>
                  <a:pt x="3372" y="354"/>
                </a:lnTo>
                <a:lnTo>
                  <a:pt x="3360" y="360"/>
                </a:lnTo>
                <a:lnTo>
                  <a:pt x="3336" y="384"/>
                </a:lnTo>
                <a:lnTo>
                  <a:pt x="3324" y="390"/>
                </a:lnTo>
                <a:lnTo>
                  <a:pt x="3312" y="402"/>
                </a:lnTo>
                <a:lnTo>
                  <a:pt x="3282" y="402"/>
                </a:lnTo>
                <a:lnTo>
                  <a:pt x="3282" y="408"/>
                </a:lnTo>
                <a:lnTo>
                  <a:pt x="3276" y="408"/>
                </a:lnTo>
                <a:lnTo>
                  <a:pt x="3282" y="414"/>
                </a:lnTo>
                <a:lnTo>
                  <a:pt x="3282" y="420"/>
                </a:lnTo>
                <a:lnTo>
                  <a:pt x="3288" y="426"/>
                </a:lnTo>
                <a:lnTo>
                  <a:pt x="3282" y="432"/>
                </a:lnTo>
                <a:lnTo>
                  <a:pt x="3282" y="438"/>
                </a:lnTo>
                <a:lnTo>
                  <a:pt x="3276" y="444"/>
                </a:lnTo>
                <a:lnTo>
                  <a:pt x="3270" y="456"/>
                </a:lnTo>
                <a:lnTo>
                  <a:pt x="3264" y="462"/>
                </a:lnTo>
                <a:lnTo>
                  <a:pt x="3264" y="468"/>
                </a:lnTo>
                <a:lnTo>
                  <a:pt x="3246" y="468"/>
                </a:lnTo>
                <a:lnTo>
                  <a:pt x="3246" y="474"/>
                </a:lnTo>
                <a:lnTo>
                  <a:pt x="3240" y="474"/>
                </a:lnTo>
                <a:lnTo>
                  <a:pt x="3228" y="480"/>
                </a:lnTo>
                <a:lnTo>
                  <a:pt x="3204" y="480"/>
                </a:lnTo>
                <a:lnTo>
                  <a:pt x="3198" y="474"/>
                </a:lnTo>
                <a:lnTo>
                  <a:pt x="3186" y="486"/>
                </a:lnTo>
                <a:lnTo>
                  <a:pt x="3162" y="486"/>
                </a:lnTo>
                <a:lnTo>
                  <a:pt x="3150" y="480"/>
                </a:lnTo>
                <a:lnTo>
                  <a:pt x="3144" y="474"/>
                </a:lnTo>
                <a:lnTo>
                  <a:pt x="3114" y="474"/>
                </a:lnTo>
                <a:lnTo>
                  <a:pt x="3096" y="486"/>
                </a:lnTo>
                <a:lnTo>
                  <a:pt x="3078" y="492"/>
                </a:lnTo>
                <a:lnTo>
                  <a:pt x="3072" y="492"/>
                </a:lnTo>
                <a:lnTo>
                  <a:pt x="3072" y="516"/>
                </a:lnTo>
                <a:lnTo>
                  <a:pt x="3066" y="522"/>
                </a:lnTo>
                <a:lnTo>
                  <a:pt x="3078" y="522"/>
                </a:lnTo>
                <a:lnTo>
                  <a:pt x="3066" y="528"/>
                </a:lnTo>
                <a:lnTo>
                  <a:pt x="3036" y="546"/>
                </a:lnTo>
                <a:lnTo>
                  <a:pt x="3000" y="564"/>
                </a:lnTo>
                <a:lnTo>
                  <a:pt x="2964" y="576"/>
                </a:lnTo>
                <a:lnTo>
                  <a:pt x="2946" y="588"/>
                </a:lnTo>
                <a:lnTo>
                  <a:pt x="2934" y="594"/>
                </a:lnTo>
                <a:lnTo>
                  <a:pt x="2928" y="594"/>
                </a:lnTo>
                <a:lnTo>
                  <a:pt x="2856" y="618"/>
                </a:lnTo>
                <a:lnTo>
                  <a:pt x="2850" y="624"/>
                </a:lnTo>
                <a:lnTo>
                  <a:pt x="2838" y="624"/>
                </a:lnTo>
                <a:lnTo>
                  <a:pt x="2826" y="630"/>
                </a:lnTo>
                <a:lnTo>
                  <a:pt x="2808" y="630"/>
                </a:lnTo>
                <a:lnTo>
                  <a:pt x="2802" y="636"/>
                </a:lnTo>
                <a:lnTo>
                  <a:pt x="2778" y="636"/>
                </a:lnTo>
                <a:lnTo>
                  <a:pt x="2772" y="630"/>
                </a:lnTo>
                <a:lnTo>
                  <a:pt x="2772" y="624"/>
                </a:lnTo>
                <a:lnTo>
                  <a:pt x="2760" y="624"/>
                </a:lnTo>
                <a:lnTo>
                  <a:pt x="2748" y="618"/>
                </a:lnTo>
                <a:lnTo>
                  <a:pt x="2736" y="606"/>
                </a:lnTo>
                <a:lnTo>
                  <a:pt x="2742" y="606"/>
                </a:lnTo>
                <a:lnTo>
                  <a:pt x="2748" y="600"/>
                </a:lnTo>
                <a:lnTo>
                  <a:pt x="2772" y="588"/>
                </a:lnTo>
                <a:lnTo>
                  <a:pt x="2772" y="582"/>
                </a:lnTo>
                <a:lnTo>
                  <a:pt x="2796" y="558"/>
                </a:lnTo>
                <a:lnTo>
                  <a:pt x="2832" y="540"/>
                </a:lnTo>
                <a:lnTo>
                  <a:pt x="2838" y="540"/>
                </a:lnTo>
                <a:lnTo>
                  <a:pt x="2844" y="534"/>
                </a:lnTo>
                <a:lnTo>
                  <a:pt x="2844" y="510"/>
                </a:lnTo>
                <a:lnTo>
                  <a:pt x="2850" y="504"/>
                </a:lnTo>
                <a:lnTo>
                  <a:pt x="2856" y="492"/>
                </a:lnTo>
                <a:lnTo>
                  <a:pt x="2850" y="486"/>
                </a:lnTo>
                <a:lnTo>
                  <a:pt x="2850" y="480"/>
                </a:lnTo>
                <a:lnTo>
                  <a:pt x="2856" y="468"/>
                </a:lnTo>
                <a:lnTo>
                  <a:pt x="2856" y="444"/>
                </a:lnTo>
                <a:lnTo>
                  <a:pt x="2862" y="432"/>
                </a:lnTo>
                <a:lnTo>
                  <a:pt x="2862" y="426"/>
                </a:lnTo>
                <a:lnTo>
                  <a:pt x="2856" y="420"/>
                </a:lnTo>
                <a:lnTo>
                  <a:pt x="2850" y="420"/>
                </a:lnTo>
                <a:lnTo>
                  <a:pt x="2844" y="426"/>
                </a:lnTo>
                <a:lnTo>
                  <a:pt x="2832" y="426"/>
                </a:lnTo>
                <a:lnTo>
                  <a:pt x="2814" y="444"/>
                </a:lnTo>
                <a:lnTo>
                  <a:pt x="2802" y="450"/>
                </a:lnTo>
                <a:lnTo>
                  <a:pt x="2796" y="456"/>
                </a:lnTo>
                <a:lnTo>
                  <a:pt x="2778" y="456"/>
                </a:lnTo>
                <a:lnTo>
                  <a:pt x="2772" y="450"/>
                </a:lnTo>
                <a:lnTo>
                  <a:pt x="2778" y="444"/>
                </a:lnTo>
                <a:lnTo>
                  <a:pt x="2784" y="432"/>
                </a:lnTo>
                <a:lnTo>
                  <a:pt x="2808" y="420"/>
                </a:lnTo>
                <a:lnTo>
                  <a:pt x="2826" y="402"/>
                </a:lnTo>
                <a:lnTo>
                  <a:pt x="2850" y="390"/>
                </a:lnTo>
                <a:lnTo>
                  <a:pt x="2856" y="384"/>
                </a:lnTo>
                <a:lnTo>
                  <a:pt x="2856" y="366"/>
                </a:lnTo>
                <a:lnTo>
                  <a:pt x="2850" y="360"/>
                </a:lnTo>
                <a:lnTo>
                  <a:pt x="2850" y="348"/>
                </a:lnTo>
                <a:lnTo>
                  <a:pt x="2856" y="348"/>
                </a:lnTo>
                <a:lnTo>
                  <a:pt x="2862" y="342"/>
                </a:lnTo>
                <a:lnTo>
                  <a:pt x="2868" y="330"/>
                </a:lnTo>
                <a:lnTo>
                  <a:pt x="2868" y="318"/>
                </a:lnTo>
                <a:lnTo>
                  <a:pt x="2862" y="312"/>
                </a:lnTo>
                <a:lnTo>
                  <a:pt x="2850" y="312"/>
                </a:lnTo>
                <a:lnTo>
                  <a:pt x="2838" y="306"/>
                </a:lnTo>
                <a:lnTo>
                  <a:pt x="2832" y="306"/>
                </a:lnTo>
                <a:lnTo>
                  <a:pt x="2826" y="294"/>
                </a:lnTo>
                <a:lnTo>
                  <a:pt x="2820" y="288"/>
                </a:lnTo>
                <a:lnTo>
                  <a:pt x="2820" y="282"/>
                </a:lnTo>
                <a:lnTo>
                  <a:pt x="2814" y="288"/>
                </a:lnTo>
                <a:lnTo>
                  <a:pt x="2808" y="288"/>
                </a:lnTo>
                <a:lnTo>
                  <a:pt x="2808" y="264"/>
                </a:lnTo>
                <a:lnTo>
                  <a:pt x="2844" y="270"/>
                </a:lnTo>
                <a:lnTo>
                  <a:pt x="2850" y="264"/>
                </a:lnTo>
                <a:lnTo>
                  <a:pt x="2850" y="246"/>
                </a:lnTo>
                <a:lnTo>
                  <a:pt x="2862" y="246"/>
                </a:lnTo>
                <a:lnTo>
                  <a:pt x="2868" y="228"/>
                </a:lnTo>
                <a:lnTo>
                  <a:pt x="2850" y="228"/>
                </a:lnTo>
                <a:lnTo>
                  <a:pt x="2844" y="240"/>
                </a:lnTo>
                <a:lnTo>
                  <a:pt x="2820" y="228"/>
                </a:lnTo>
                <a:lnTo>
                  <a:pt x="2820" y="210"/>
                </a:lnTo>
                <a:lnTo>
                  <a:pt x="2802" y="210"/>
                </a:lnTo>
                <a:lnTo>
                  <a:pt x="2790" y="216"/>
                </a:lnTo>
                <a:lnTo>
                  <a:pt x="2736" y="216"/>
                </a:lnTo>
                <a:lnTo>
                  <a:pt x="2724" y="222"/>
                </a:lnTo>
                <a:lnTo>
                  <a:pt x="2712" y="222"/>
                </a:lnTo>
                <a:lnTo>
                  <a:pt x="2700" y="228"/>
                </a:lnTo>
                <a:lnTo>
                  <a:pt x="2682" y="228"/>
                </a:lnTo>
                <a:lnTo>
                  <a:pt x="2658" y="216"/>
                </a:lnTo>
                <a:lnTo>
                  <a:pt x="2658" y="210"/>
                </a:lnTo>
                <a:lnTo>
                  <a:pt x="2652" y="204"/>
                </a:lnTo>
                <a:lnTo>
                  <a:pt x="2652" y="198"/>
                </a:lnTo>
                <a:lnTo>
                  <a:pt x="2646" y="192"/>
                </a:lnTo>
                <a:lnTo>
                  <a:pt x="2628" y="192"/>
                </a:lnTo>
                <a:lnTo>
                  <a:pt x="2622" y="198"/>
                </a:lnTo>
                <a:lnTo>
                  <a:pt x="2616" y="198"/>
                </a:lnTo>
                <a:lnTo>
                  <a:pt x="2610" y="192"/>
                </a:lnTo>
                <a:lnTo>
                  <a:pt x="2670" y="162"/>
                </a:lnTo>
                <a:lnTo>
                  <a:pt x="2658" y="150"/>
                </a:lnTo>
                <a:lnTo>
                  <a:pt x="2640" y="150"/>
                </a:lnTo>
                <a:lnTo>
                  <a:pt x="2628" y="162"/>
                </a:lnTo>
                <a:lnTo>
                  <a:pt x="2616" y="168"/>
                </a:lnTo>
                <a:lnTo>
                  <a:pt x="2610" y="174"/>
                </a:lnTo>
                <a:lnTo>
                  <a:pt x="2604" y="174"/>
                </a:lnTo>
                <a:lnTo>
                  <a:pt x="2580" y="186"/>
                </a:lnTo>
                <a:lnTo>
                  <a:pt x="2562" y="192"/>
                </a:lnTo>
                <a:lnTo>
                  <a:pt x="2538" y="204"/>
                </a:lnTo>
                <a:lnTo>
                  <a:pt x="2508" y="204"/>
                </a:lnTo>
                <a:lnTo>
                  <a:pt x="2496" y="216"/>
                </a:lnTo>
                <a:lnTo>
                  <a:pt x="2448" y="216"/>
                </a:lnTo>
                <a:lnTo>
                  <a:pt x="2448" y="210"/>
                </a:lnTo>
                <a:lnTo>
                  <a:pt x="2454" y="204"/>
                </a:lnTo>
                <a:lnTo>
                  <a:pt x="2460" y="204"/>
                </a:lnTo>
                <a:lnTo>
                  <a:pt x="2472" y="192"/>
                </a:lnTo>
                <a:lnTo>
                  <a:pt x="2460" y="192"/>
                </a:lnTo>
                <a:lnTo>
                  <a:pt x="2448" y="198"/>
                </a:lnTo>
                <a:lnTo>
                  <a:pt x="2412" y="198"/>
                </a:lnTo>
                <a:lnTo>
                  <a:pt x="2400" y="204"/>
                </a:lnTo>
                <a:lnTo>
                  <a:pt x="2394" y="210"/>
                </a:lnTo>
                <a:lnTo>
                  <a:pt x="2370" y="210"/>
                </a:lnTo>
                <a:lnTo>
                  <a:pt x="2370" y="198"/>
                </a:lnTo>
                <a:lnTo>
                  <a:pt x="2400" y="180"/>
                </a:lnTo>
                <a:lnTo>
                  <a:pt x="2442" y="168"/>
                </a:lnTo>
                <a:lnTo>
                  <a:pt x="2502" y="138"/>
                </a:lnTo>
                <a:lnTo>
                  <a:pt x="2520" y="126"/>
                </a:lnTo>
                <a:lnTo>
                  <a:pt x="2544" y="120"/>
                </a:lnTo>
                <a:lnTo>
                  <a:pt x="2574" y="114"/>
                </a:lnTo>
                <a:lnTo>
                  <a:pt x="2580" y="114"/>
                </a:lnTo>
                <a:lnTo>
                  <a:pt x="2592" y="108"/>
                </a:lnTo>
                <a:lnTo>
                  <a:pt x="2574" y="108"/>
                </a:lnTo>
                <a:lnTo>
                  <a:pt x="2562" y="102"/>
                </a:lnTo>
                <a:lnTo>
                  <a:pt x="2556" y="102"/>
                </a:lnTo>
                <a:lnTo>
                  <a:pt x="2556" y="96"/>
                </a:lnTo>
                <a:lnTo>
                  <a:pt x="2508" y="102"/>
                </a:lnTo>
                <a:lnTo>
                  <a:pt x="2508" y="84"/>
                </a:lnTo>
                <a:lnTo>
                  <a:pt x="2502" y="90"/>
                </a:lnTo>
                <a:lnTo>
                  <a:pt x="2490" y="96"/>
                </a:lnTo>
                <a:lnTo>
                  <a:pt x="2478" y="108"/>
                </a:lnTo>
                <a:lnTo>
                  <a:pt x="2466" y="108"/>
                </a:lnTo>
                <a:lnTo>
                  <a:pt x="2448" y="90"/>
                </a:lnTo>
                <a:lnTo>
                  <a:pt x="2418" y="90"/>
                </a:lnTo>
                <a:lnTo>
                  <a:pt x="2412" y="84"/>
                </a:lnTo>
                <a:lnTo>
                  <a:pt x="2412" y="78"/>
                </a:lnTo>
                <a:lnTo>
                  <a:pt x="2400" y="66"/>
                </a:lnTo>
                <a:lnTo>
                  <a:pt x="2388" y="60"/>
                </a:lnTo>
                <a:lnTo>
                  <a:pt x="2376" y="60"/>
                </a:lnTo>
                <a:lnTo>
                  <a:pt x="2364" y="72"/>
                </a:lnTo>
                <a:lnTo>
                  <a:pt x="2364" y="78"/>
                </a:lnTo>
                <a:lnTo>
                  <a:pt x="2352" y="78"/>
                </a:lnTo>
                <a:lnTo>
                  <a:pt x="2334" y="60"/>
                </a:lnTo>
                <a:lnTo>
                  <a:pt x="2322" y="60"/>
                </a:lnTo>
                <a:lnTo>
                  <a:pt x="2304" y="54"/>
                </a:lnTo>
                <a:lnTo>
                  <a:pt x="2292" y="48"/>
                </a:lnTo>
                <a:lnTo>
                  <a:pt x="2292" y="36"/>
                </a:lnTo>
                <a:lnTo>
                  <a:pt x="2298" y="24"/>
                </a:lnTo>
                <a:lnTo>
                  <a:pt x="2310" y="12"/>
                </a:lnTo>
                <a:lnTo>
                  <a:pt x="2298" y="0"/>
                </a:lnTo>
                <a:lnTo>
                  <a:pt x="2286" y="6"/>
                </a:lnTo>
                <a:lnTo>
                  <a:pt x="2280" y="12"/>
                </a:lnTo>
                <a:lnTo>
                  <a:pt x="2274" y="24"/>
                </a:lnTo>
                <a:lnTo>
                  <a:pt x="2274" y="30"/>
                </a:lnTo>
                <a:lnTo>
                  <a:pt x="2268" y="42"/>
                </a:lnTo>
                <a:lnTo>
                  <a:pt x="558" y="42"/>
                </a:lnTo>
                <a:lnTo>
                  <a:pt x="552" y="54"/>
                </a:lnTo>
                <a:lnTo>
                  <a:pt x="552" y="60"/>
                </a:lnTo>
                <a:lnTo>
                  <a:pt x="546" y="60"/>
                </a:lnTo>
                <a:lnTo>
                  <a:pt x="546" y="72"/>
                </a:lnTo>
                <a:lnTo>
                  <a:pt x="540" y="84"/>
                </a:lnTo>
                <a:lnTo>
                  <a:pt x="540" y="108"/>
                </a:lnTo>
                <a:lnTo>
                  <a:pt x="510" y="126"/>
                </a:lnTo>
                <a:lnTo>
                  <a:pt x="504" y="144"/>
                </a:lnTo>
                <a:lnTo>
                  <a:pt x="486" y="168"/>
                </a:lnTo>
                <a:lnTo>
                  <a:pt x="438" y="180"/>
                </a:lnTo>
                <a:lnTo>
                  <a:pt x="474" y="162"/>
                </a:lnTo>
                <a:lnTo>
                  <a:pt x="450" y="162"/>
                </a:lnTo>
                <a:lnTo>
                  <a:pt x="456" y="156"/>
                </a:lnTo>
                <a:lnTo>
                  <a:pt x="462" y="144"/>
                </a:lnTo>
                <a:lnTo>
                  <a:pt x="486" y="120"/>
                </a:lnTo>
                <a:lnTo>
                  <a:pt x="492" y="120"/>
                </a:lnTo>
                <a:lnTo>
                  <a:pt x="504" y="108"/>
                </a:lnTo>
                <a:lnTo>
                  <a:pt x="504" y="102"/>
                </a:lnTo>
                <a:lnTo>
                  <a:pt x="456" y="102"/>
                </a:lnTo>
                <a:lnTo>
                  <a:pt x="450" y="96"/>
                </a:lnTo>
                <a:lnTo>
                  <a:pt x="438" y="90"/>
                </a:lnTo>
                <a:lnTo>
                  <a:pt x="432" y="84"/>
                </a:lnTo>
                <a:lnTo>
                  <a:pt x="420" y="78"/>
                </a:lnTo>
                <a:lnTo>
                  <a:pt x="402" y="78"/>
                </a:lnTo>
                <a:lnTo>
                  <a:pt x="390" y="90"/>
                </a:lnTo>
                <a:lnTo>
                  <a:pt x="384" y="102"/>
                </a:lnTo>
                <a:lnTo>
                  <a:pt x="384" y="150"/>
                </a:lnTo>
                <a:lnTo>
                  <a:pt x="378" y="156"/>
                </a:lnTo>
                <a:lnTo>
                  <a:pt x="378" y="162"/>
                </a:lnTo>
                <a:lnTo>
                  <a:pt x="360" y="180"/>
                </a:lnTo>
                <a:lnTo>
                  <a:pt x="390" y="186"/>
                </a:lnTo>
                <a:lnTo>
                  <a:pt x="360" y="192"/>
                </a:lnTo>
                <a:lnTo>
                  <a:pt x="366" y="210"/>
                </a:lnTo>
                <a:lnTo>
                  <a:pt x="348" y="234"/>
                </a:lnTo>
                <a:lnTo>
                  <a:pt x="354" y="234"/>
                </a:lnTo>
                <a:lnTo>
                  <a:pt x="366" y="246"/>
                </a:lnTo>
                <a:lnTo>
                  <a:pt x="372" y="246"/>
                </a:lnTo>
                <a:lnTo>
                  <a:pt x="378" y="252"/>
                </a:lnTo>
                <a:lnTo>
                  <a:pt x="330" y="252"/>
                </a:lnTo>
                <a:lnTo>
                  <a:pt x="324" y="264"/>
                </a:lnTo>
                <a:lnTo>
                  <a:pt x="306" y="282"/>
                </a:lnTo>
                <a:lnTo>
                  <a:pt x="270" y="342"/>
                </a:lnTo>
                <a:lnTo>
                  <a:pt x="258" y="360"/>
                </a:lnTo>
                <a:lnTo>
                  <a:pt x="216" y="402"/>
                </a:lnTo>
                <a:lnTo>
                  <a:pt x="192" y="432"/>
                </a:lnTo>
                <a:lnTo>
                  <a:pt x="174" y="456"/>
                </a:lnTo>
                <a:lnTo>
                  <a:pt x="168" y="462"/>
                </a:lnTo>
                <a:lnTo>
                  <a:pt x="174" y="480"/>
                </a:lnTo>
                <a:lnTo>
                  <a:pt x="168" y="480"/>
                </a:lnTo>
                <a:lnTo>
                  <a:pt x="162" y="486"/>
                </a:lnTo>
                <a:lnTo>
                  <a:pt x="150" y="492"/>
                </a:lnTo>
                <a:lnTo>
                  <a:pt x="126" y="516"/>
                </a:lnTo>
                <a:lnTo>
                  <a:pt x="120" y="534"/>
                </a:lnTo>
                <a:lnTo>
                  <a:pt x="120" y="546"/>
                </a:lnTo>
                <a:lnTo>
                  <a:pt x="102" y="570"/>
                </a:lnTo>
                <a:lnTo>
                  <a:pt x="96" y="618"/>
                </a:lnTo>
                <a:lnTo>
                  <a:pt x="90" y="630"/>
                </a:lnTo>
                <a:lnTo>
                  <a:pt x="72" y="648"/>
                </a:lnTo>
                <a:lnTo>
                  <a:pt x="60" y="672"/>
                </a:lnTo>
                <a:lnTo>
                  <a:pt x="54" y="678"/>
                </a:lnTo>
                <a:lnTo>
                  <a:pt x="42" y="684"/>
                </a:lnTo>
                <a:lnTo>
                  <a:pt x="18" y="708"/>
                </a:lnTo>
                <a:lnTo>
                  <a:pt x="12" y="720"/>
                </a:lnTo>
                <a:lnTo>
                  <a:pt x="18" y="732"/>
                </a:lnTo>
                <a:lnTo>
                  <a:pt x="36" y="750"/>
                </a:lnTo>
                <a:lnTo>
                  <a:pt x="36" y="762"/>
                </a:lnTo>
                <a:lnTo>
                  <a:pt x="30" y="774"/>
                </a:lnTo>
                <a:lnTo>
                  <a:pt x="18" y="786"/>
                </a:lnTo>
                <a:lnTo>
                  <a:pt x="12" y="798"/>
                </a:lnTo>
                <a:lnTo>
                  <a:pt x="6" y="816"/>
                </a:lnTo>
                <a:lnTo>
                  <a:pt x="0" y="828"/>
                </a:lnTo>
                <a:lnTo>
                  <a:pt x="0" y="840"/>
                </a:lnTo>
                <a:lnTo>
                  <a:pt x="6" y="852"/>
                </a:lnTo>
                <a:lnTo>
                  <a:pt x="12" y="870"/>
                </a:lnTo>
                <a:lnTo>
                  <a:pt x="12" y="882"/>
                </a:lnTo>
                <a:lnTo>
                  <a:pt x="18" y="900"/>
                </a:lnTo>
                <a:lnTo>
                  <a:pt x="24" y="906"/>
                </a:lnTo>
                <a:lnTo>
                  <a:pt x="24" y="912"/>
                </a:lnTo>
                <a:lnTo>
                  <a:pt x="48" y="894"/>
                </a:lnTo>
                <a:lnTo>
                  <a:pt x="114" y="900"/>
                </a:lnTo>
                <a:lnTo>
                  <a:pt x="78" y="900"/>
                </a:lnTo>
                <a:lnTo>
                  <a:pt x="66" y="906"/>
                </a:lnTo>
                <a:lnTo>
                  <a:pt x="60" y="906"/>
                </a:lnTo>
                <a:lnTo>
                  <a:pt x="48" y="918"/>
                </a:lnTo>
                <a:lnTo>
                  <a:pt x="48" y="942"/>
                </a:lnTo>
                <a:lnTo>
                  <a:pt x="30" y="924"/>
                </a:lnTo>
                <a:lnTo>
                  <a:pt x="24" y="924"/>
                </a:lnTo>
                <a:lnTo>
                  <a:pt x="18" y="936"/>
                </a:lnTo>
                <a:lnTo>
                  <a:pt x="18" y="942"/>
                </a:lnTo>
                <a:lnTo>
                  <a:pt x="12" y="960"/>
                </a:lnTo>
                <a:lnTo>
                  <a:pt x="12" y="978"/>
                </a:lnTo>
                <a:lnTo>
                  <a:pt x="18" y="984"/>
                </a:lnTo>
                <a:lnTo>
                  <a:pt x="30" y="990"/>
                </a:lnTo>
                <a:lnTo>
                  <a:pt x="42" y="990"/>
                </a:lnTo>
                <a:lnTo>
                  <a:pt x="42" y="1002"/>
                </a:lnTo>
                <a:lnTo>
                  <a:pt x="36" y="1008"/>
                </a:lnTo>
                <a:lnTo>
                  <a:pt x="36" y="1014"/>
                </a:lnTo>
                <a:lnTo>
                  <a:pt x="18" y="1032"/>
                </a:lnTo>
                <a:lnTo>
                  <a:pt x="12" y="1044"/>
                </a:lnTo>
                <a:lnTo>
                  <a:pt x="12" y="1056"/>
                </a:lnTo>
                <a:lnTo>
                  <a:pt x="18" y="1068"/>
                </a:lnTo>
                <a:lnTo>
                  <a:pt x="24" y="1074"/>
                </a:lnTo>
                <a:lnTo>
                  <a:pt x="36" y="1098"/>
                </a:lnTo>
                <a:lnTo>
                  <a:pt x="42" y="1104"/>
                </a:lnTo>
                <a:lnTo>
                  <a:pt x="54" y="1128"/>
                </a:lnTo>
                <a:lnTo>
                  <a:pt x="60" y="1134"/>
                </a:lnTo>
                <a:lnTo>
                  <a:pt x="60" y="1146"/>
                </a:lnTo>
                <a:lnTo>
                  <a:pt x="54" y="1152"/>
                </a:lnTo>
                <a:lnTo>
                  <a:pt x="42" y="1176"/>
                </a:lnTo>
                <a:lnTo>
                  <a:pt x="36" y="1182"/>
                </a:lnTo>
                <a:lnTo>
                  <a:pt x="36" y="1188"/>
                </a:lnTo>
                <a:lnTo>
                  <a:pt x="42" y="1194"/>
                </a:lnTo>
                <a:lnTo>
                  <a:pt x="54" y="1194"/>
                </a:lnTo>
                <a:lnTo>
                  <a:pt x="72" y="1200"/>
                </a:lnTo>
                <a:lnTo>
                  <a:pt x="102" y="1200"/>
                </a:lnTo>
                <a:lnTo>
                  <a:pt x="102" y="1212"/>
                </a:lnTo>
                <a:lnTo>
                  <a:pt x="120" y="1230"/>
                </a:lnTo>
                <a:lnTo>
                  <a:pt x="132" y="1230"/>
                </a:lnTo>
                <a:lnTo>
                  <a:pt x="144" y="1224"/>
                </a:lnTo>
                <a:lnTo>
                  <a:pt x="150" y="1224"/>
                </a:lnTo>
                <a:lnTo>
                  <a:pt x="162" y="1218"/>
                </a:lnTo>
                <a:lnTo>
                  <a:pt x="168" y="1248"/>
                </a:lnTo>
                <a:lnTo>
                  <a:pt x="174" y="1248"/>
                </a:lnTo>
                <a:lnTo>
                  <a:pt x="180" y="1254"/>
                </a:lnTo>
                <a:lnTo>
                  <a:pt x="204" y="1266"/>
                </a:lnTo>
                <a:lnTo>
                  <a:pt x="216" y="1290"/>
                </a:lnTo>
                <a:lnTo>
                  <a:pt x="216" y="1314"/>
                </a:lnTo>
                <a:lnTo>
                  <a:pt x="210" y="1338"/>
                </a:lnTo>
                <a:lnTo>
                  <a:pt x="216" y="1344"/>
                </a:lnTo>
                <a:lnTo>
                  <a:pt x="360" y="1338"/>
                </a:lnTo>
                <a:lnTo>
                  <a:pt x="354" y="1344"/>
                </a:lnTo>
                <a:lnTo>
                  <a:pt x="354" y="1350"/>
                </a:lnTo>
                <a:lnTo>
                  <a:pt x="360" y="1350"/>
                </a:lnTo>
                <a:lnTo>
                  <a:pt x="570" y="1446"/>
                </a:lnTo>
                <a:lnTo>
                  <a:pt x="774" y="1446"/>
                </a:lnTo>
                <a:lnTo>
                  <a:pt x="774" y="1440"/>
                </a:lnTo>
                <a:lnTo>
                  <a:pt x="780" y="1428"/>
                </a:lnTo>
                <a:lnTo>
                  <a:pt x="780" y="1410"/>
                </a:lnTo>
                <a:lnTo>
                  <a:pt x="786" y="1404"/>
                </a:lnTo>
                <a:lnTo>
                  <a:pt x="900" y="1404"/>
                </a:lnTo>
                <a:lnTo>
                  <a:pt x="912" y="1416"/>
                </a:lnTo>
                <a:lnTo>
                  <a:pt x="912" y="1440"/>
                </a:lnTo>
                <a:lnTo>
                  <a:pt x="942" y="1452"/>
                </a:lnTo>
                <a:lnTo>
                  <a:pt x="948" y="1482"/>
                </a:lnTo>
                <a:lnTo>
                  <a:pt x="960" y="1482"/>
                </a:lnTo>
                <a:lnTo>
                  <a:pt x="972" y="1488"/>
                </a:lnTo>
                <a:lnTo>
                  <a:pt x="984" y="1500"/>
                </a:lnTo>
                <a:lnTo>
                  <a:pt x="990" y="1512"/>
                </a:lnTo>
                <a:lnTo>
                  <a:pt x="990" y="1554"/>
                </a:lnTo>
                <a:lnTo>
                  <a:pt x="984" y="1566"/>
                </a:lnTo>
                <a:lnTo>
                  <a:pt x="984" y="1578"/>
                </a:lnTo>
                <a:lnTo>
                  <a:pt x="1014" y="1608"/>
                </a:lnTo>
                <a:lnTo>
                  <a:pt x="1026" y="1614"/>
                </a:lnTo>
                <a:lnTo>
                  <a:pt x="1044" y="1626"/>
                </a:lnTo>
                <a:lnTo>
                  <a:pt x="1056" y="1626"/>
                </a:lnTo>
                <a:lnTo>
                  <a:pt x="1080" y="1614"/>
                </a:lnTo>
                <a:lnTo>
                  <a:pt x="1092" y="1602"/>
                </a:lnTo>
                <a:lnTo>
                  <a:pt x="1104" y="1578"/>
                </a:lnTo>
                <a:lnTo>
                  <a:pt x="1116" y="1566"/>
                </a:lnTo>
                <a:lnTo>
                  <a:pt x="1134" y="1566"/>
                </a:lnTo>
                <a:lnTo>
                  <a:pt x="1134" y="1560"/>
                </a:lnTo>
                <a:lnTo>
                  <a:pt x="1152" y="1566"/>
                </a:lnTo>
                <a:lnTo>
                  <a:pt x="1194" y="1566"/>
                </a:lnTo>
                <a:lnTo>
                  <a:pt x="1200" y="1578"/>
                </a:lnTo>
                <a:lnTo>
                  <a:pt x="1206" y="1584"/>
                </a:lnTo>
                <a:lnTo>
                  <a:pt x="1212" y="1596"/>
                </a:lnTo>
                <a:lnTo>
                  <a:pt x="1224" y="1608"/>
                </a:lnTo>
                <a:lnTo>
                  <a:pt x="1230" y="1620"/>
                </a:lnTo>
                <a:lnTo>
                  <a:pt x="1242" y="1632"/>
                </a:lnTo>
                <a:lnTo>
                  <a:pt x="1242" y="1656"/>
                </a:lnTo>
                <a:lnTo>
                  <a:pt x="1236" y="1668"/>
                </a:lnTo>
                <a:lnTo>
                  <a:pt x="1236" y="1680"/>
                </a:lnTo>
                <a:lnTo>
                  <a:pt x="1242" y="1692"/>
                </a:lnTo>
                <a:lnTo>
                  <a:pt x="1254" y="1698"/>
                </a:lnTo>
                <a:lnTo>
                  <a:pt x="1254" y="1722"/>
                </a:lnTo>
                <a:lnTo>
                  <a:pt x="1260" y="1728"/>
                </a:lnTo>
                <a:lnTo>
                  <a:pt x="1272" y="1734"/>
                </a:lnTo>
                <a:lnTo>
                  <a:pt x="1284" y="1746"/>
                </a:lnTo>
                <a:lnTo>
                  <a:pt x="1284" y="1752"/>
                </a:lnTo>
                <a:lnTo>
                  <a:pt x="1278" y="1758"/>
                </a:lnTo>
                <a:lnTo>
                  <a:pt x="1272" y="1758"/>
                </a:lnTo>
                <a:lnTo>
                  <a:pt x="1272" y="1794"/>
                </a:lnTo>
                <a:lnTo>
                  <a:pt x="1284" y="1806"/>
                </a:lnTo>
                <a:lnTo>
                  <a:pt x="1284" y="1836"/>
                </a:lnTo>
                <a:lnTo>
                  <a:pt x="1296" y="1848"/>
                </a:lnTo>
                <a:lnTo>
                  <a:pt x="1314" y="1854"/>
                </a:lnTo>
                <a:lnTo>
                  <a:pt x="1326" y="1854"/>
                </a:lnTo>
                <a:lnTo>
                  <a:pt x="1338" y="1866"/>
                </a:lnTo>
                <a:lnTo>
                  <a:pt x="1380" y="1866"/>
                </a:lnTo>
                <a:lnTo>
                  <a:pt x="1380" y="1872"/>
                </a:lnTo>
                <a:lnTo>
                  <a:pt x="1386" y="1884"/>
                </a:lnTo>
                <a:lnTo>
                  <a:pt x="1410" y="1884"/>
                </a:lnTo>
                <a:lnTo>
                  <a:pt x="1410" y="1878"/>
                </a:lnTo>
                <a:lnTo>
                  <a:pt x="1398" y="1806"/>
                </a:lnTo>
                <a:lnTo>
                  <a:pt x="1416" y="1788"/>
                </a:lnTo>
                <a:lnTo>
                  <a:pt x="1398" y="1776"/>
                </a:lnTo>
                <a:lnTo>
                  <a:pt x="1398" y="1758"/>
                </a:lnTo>
                <a:lnTo>
                  <a:pt x="1404" y="1764"/>
                </a:lnTo>
                <a:lnTo>
                  <a:pt x="1422" y="1764"/>
                </a:lnTo>
                <a:lnTo>
                  <a:pt x="1428" y="1758"/>
                </a:lnTo>
                <a:lnTo>
                  <a:pt x="1428" y="1728"/>
                </a:lnTo>
                <a:lnTo>
                  <a:pt x="1452" y="1722"/>
                </a:lnTo>
                <a:lnTo>
                  <a:pt x="1458" y="1698"/>
                </a:lnTo>
                <a:lnTo>
                  <a:pt x="1476" y="1704"/>
                </a:lnTo>
                <a:lnTo>
                  <a:pt x="1494" y="1692"/>
                </a:lnTo>
                <a:lnTo>
                  <a:pt x="1488" y="1668"/>
                </a:lnTo>
                <a:lnTo>
                  <a:pt x="1500" y="1680"/>
                </a:lnTo>
                <a:lnTo>
                  <a:pt x="1500" y="1668"/>
                </a:lnTo>
                <a:lnTo>
                  <a:pt x="1506" y="1656"/>
                </a:lnTo>
                <a:lnTo>
                  <a:pt x="1512" y="1650"/>
                </a:lnTo>
                <a:lnTo>
                  <a:pt x="1518" y="1650"/>
                </a:lnTo>
                <a:lnTo>
                  <a:pt x="1524" y="1656"/>
                </a:lnTo>
                <a:lnTo>
                  <a:pt x="1524" y="1668"/>
                </a:lnTo>
                <a:lnTo>
                  <a:pt x="1542" y="1668"/>
                </a:lnTo>
                <a:lnTo>
                  <a:pt x="1554" y="1662"/>
                </a:lnTo>
                <a:lnTo>
                  <a:pt x="1572" y="1656"/>
                </a:lnTo>
                <a:lnTo>
                  <a:pt x="1596" y="1644"/>
                </a:lnTo>
                <a:lnTo>
                  <a:pt x="1602" y="1638"/>
                </a:lnTo>
                <a:lnTo>
                  <a:pt x="1608" y="1626"/>
                </a:lnTo>
                <a:lnTo>
                  <a:pt x="1620" y="1620"/>
                </a:lnTo>
                <a:lnTo>
                  <a:pt x="1626" y="1608"/>
                </a:lnTo>
                <a:lnTo>
                  <a:pt x="1632" y="1602"/>
                </a:lnTo>
                <a:lnTo>
                  <a:pt x="1632" y="1590"/>
                </a:lnTo>
                <a:lnTo>
                  <a:pt x="1626" y="1584"/>
                </a:lnTo>
                <a:lnTo>
                  <a:pt x="1626" y="1566"/>
                </a:lnTo>
                <a:lnTo>
                  <a:pt x="1632" y="1566"/>
                </a:lnTo>
                <a:lnTo>
                  <a:pt x="1656" y="1578"/>
                </a:lnTo>
                <a:lnTo>
                  <a:pt x="1662" y="1584"/>
                </a:lnTo>
                <a:lnTo>
                  <a:pt x="1674" y="1590"/>
                </a:lnTo>
                <a:lnTo>
                  <a:pt x="1686" y="1590"/>
                </a:lnTo>
                <a:lnTo>
                  <a:pt x="1692" y="1584"/>
                </a:lnTo>
                <a:lnTo>
                  <a:pt x="1710" y="1548"/>
                </a:lnTo>
                <a:lnTo>
                  <a:pt x="1716" y="1548"/>
                </a:lnTo>
                <a:lnTo>
                  <a:pt x="1734" y="1566"/>
                </a:lnTo>
                <a:lnTo>
                  <a:pt x="1746" y="1566"/>
                </a:lnTo>
                <a:lnTo>
                  <a:pt x="1752" y="1560"/>
                </a:lnTo>
                <a:lnTo>
                  <a:pt x="1758" y="1548"/>
                </a:lnTo>
                <a:lnTo>
                  <a:pt x="1764" y="1542"/>
                </a:lnTo>
                <a:lnTo>
                  <a:pt x="1770" y="1554"/>
                </a:lnTo>
                <a:lnTo>
                  <a:pt x="1776" y="1560"/>
                </a:lnTo>
                <a:lnTo>
                  <a:pt x="1782" y="1572"/>
                </a:lnTo>
                <a:lnTo>
                  <a:pt x="1794" y="1578"/>
                </a:lnTo>
                <a:lnTo>
                  <a:pt x="1800" y="1584"/>
                </a:lnTo>
                <a:lnTo>
                  <a:pt x="1818" y="1584"/>
                </a:lnTo>
                <a:lnTo>
                  <a:pt x="1824" y="1578"/>
                </a:lnTo>
                <a:lnTo>
                  <a:pt x="1830" y="1566"/>
                </a:lnTo>
                <a:lnTo>
                  <a:pt x="1842" y="1554"/>
                </a:lnTo>
                <a:lnTo>
                  <a:pt x="1848" y="1554"/>
                </a:lnTo>
                <a:lnTo>
                  <a:pt x="1860" y="1560"/>
                </a:lnTo>
                <a:lnTo>
                  <a:pt x="1872" y="1572"/>
                </a:lnTo>
                <a:lnTo>
                  <a:pt x="1872" y="1584"/>
                </a:lnTo>
                <a:lnTo>
                  <a:pt x="1878" y="1596"/>
                </a:lnTo>
                <a:lnTo>
                  <a:pt x="1878" y="1614"/>
                </a:lnTo>
                <a:lnTo>
                  <a:pt x="1914" y="1614"/>
                </a:lnTo>
                <a:lnTo>
                  <a:pt x="1920" y="1620"/>
                </a:lnTo>
                <a:lnTo>
                  <a:pt x="1926" y="1620"/>
                </a:lnTo>
                <a:lnTo>
                  <a:pt x="1926" y="1608"/>
                </a:lnTo>
                <a:lnTo>
                  <a:pt x="1932" y="1602"/>
                </a:lnTo>
                <a:lnTo>
                  <a:pt x="1932" y="1608"/>
                </a:lnTo>
                <a:lnTo>
                  <a:pt x="1956" y="1632"/>
                </a:lnTo>
                <a:lnTo>
                  <a:pt x="1962" y="1626"/>
                </a:lnTo>
                <a:lnTo>
                  <a:pt x="1968" y="1614"/>
                </a:lnTo>
                <a:lnTo>
                  <a:pt x="1968" y="1596"/>
                </a:lnTo>
                <a:lnTo>
                  <a:pt x="1962" y="1584"/>
                </a:lnTo>
                <a:lnTo>
                  <a:pt x="1980" y="1590"/>
                </a:lnTo>
                <a:lnTo>
                  <a:pt x="1992" y="1608"/>
                </a:lnTo>
                <a:lnTo>
                  <a:pt x="2004" y="1614"/>
                </a:lnTo>
                <a:lnTo>
                  <a:pt x="2004" y="1626"/>
                </a:lnTo>
                <a:lnTo>
                  <a:pt x="2010" y="1626"/>
                </a:lnTo>
                <a:lnTo>
                  <a:pt x="2016" y="1632"/>
                </a:lnTo>
                <a:lnTo>
                  <a:pt x="2028" y="1632"/>
                </a:lnTo>
                <a:lnTo>
                  <a:pt x="2034" y="1626"/>
                </a:lnTo>
                <a:lnTo>
                  <a:pt x="2034" y="1620"/>
                </a:lnTo>
                <a:lnTo>
                  <a:pt x="2028" y="1608"/>
                </a:lnTo>
                <a:lnTo>
                  <a:pt x="2022" y="1602"/>
                </a:lnTo>
                <a:lnTo>
                  <a:pt x="2010" y="1596"/>
                </a:lnTo>
                <a:lnTo>
                  <a:pt x="2004" y="1590"/>
                </a:lnTo>
                <a:lnTo>
                  <a:pt x="1998" y="1578"/>
                </a:lnTo>
                <a:lnTo>
                  <a:pt x="2010" y="1578"/>
                </a:lnTo>
                <a:lnTo>
                  <a:pt x="2022" y="1566"/>
                </a:lnTo>
                <a:lnTo>
                  <a:pt x="2022" y="1554"/>
                </a:lnTo>
                <a:lnTo>
                  <a:pt x="2016" y="1548"/>
                </a:lnTo>
                <a:lnTo>
                  <a:pt x="1968" y="1548"/>
                </a:lnTo>
                <a:lnTo>
                  <a:pt x="1962" y="1542"/>
                </a:lnTo>
                <a:lnTo>
                  <a:pt x="1962" y="1530"/>
                </a:lnTo>
                <a:lnTo>
                  <a:pt x="1968" y="1524"/>
                </a:lnTo>
                <a:lnTo>
                  <a:pt x="1986" y="1524"/>
                </a:lnTo>
                <a:lnTo>
                  <a:pt x="1998" y="1530"/>
                </a:lnTo>
                <a:lnTo>
                  <a:pt x="2004" y="1530"/>
                </a:lnTo>
                <a:lnTo>
                  <a:pt x="2016" y="1536"/>
                </a:lnTo>
                <a:lnTo>
                  <a:pt x="2028" y="1536"/>
                </a:lnTo>
                <a:lnTo>
                  <a:pt x="2064" y="1518"/>
                </a:lnTo>
                <a:lnTo>
                  <a:pt x="2070" y="1512"/>
                </a:lnTo>
                <a:lnTo>
                  <a:pt x="2082" y="1512"/>
                </a:lnTo>
                <a:lnTo>
                  <a:pt x="2082" y="1518"/>
                </a:lnTo>
                <a:lnTo>
                  <a:pt x="2106" y="1518"/>
                </a:lnTo>
                <a:lnTo>
                  <a:pt x="2118" y="1512"/>
                </a:lnTo>
                <a:lnTo>
                  <a:pt x="2124" y="1512"/>
                </a:lnTo>
                <a:lnTo>
                  <a:pt x="2130" y="1506"/>
                </a:lnTo>
                <a:lnTo>
                  <a:pt x="2130" y="1500"/>
                </a:lnTo>
                <a:lnTo>
                  <a:pt x="2136" y="1488"/>
                </a:lnTo>
                <a:lnTo>
                  <a:pt x="2136" y="1482"/>
                </a:lnTo>
                <a:lnTo>
                  <a:pt x="2142" y="1482"/>
                </a:lnTo>
                <a:lnTo>
                  <a:pt x="2142" y="1488"/>
                </a:lnTo>
                <a:lnTo>
                  <a:pt x="2148" y="1500"/>
                </a:lnTo>
                <a:lnTo>
                  <a:pt x="2148" y="1524"/>
                </a:lnTo>
                <a:lnTo>
                  <a:pt x="2154" y="1524"/>
                </a:lnTo>
                <a:lnTo>
                  <a:pt x="2160" y="1518"/>
                </a:lnTo>
                <a:lnTo>
                  <a:pt x="2172" y="1512"/>
                </a:lnTo>
                <a:lnTo>
                  <a:pt x="2190" y="1512"/>
                </a:lnTo>
                <a:lnTo>
                  <a:pt x="2202" y="1506"/>
                </a:lnTo>
                <a:lnTo>
                  <a:pt x="2214" y="1506"/>
                </a:lnTo>
                <a:lnTo>
                  <a:pt x="2226" y="1512"/>
                </a:lnTo>
                <a:lnTo>
                  <a:pt x="2232" y="1524"/>
                </a:lnTo>
                <a:lnTo>
                  <a:pt x="2232" y="1506"/>
                </a:lnTo>
                <a:lnTo>
                  <a:pt x="2244" y="1506"/>
                </a:lnTo>
                <a:lnTo>
                  <a:pt x="2256" y="1518"/>
                </a:lnTo>
                <a:lnTo>
                  <a:pt x="2256" y="1530"/>
                </a:lnTo>
                <a:lnTo>
                  <a:pt x="2286" y="1524"/>
                </a:lnTo>
                <a:lnTo>
                  <a:pt x="2280" y="1536"/>
                </a:lnTo>
                <a:lnTo>
                  <a:pt x="2280" y="1548"/>
                </a:lnTo>
                <a:lnTo>
                  <a:pt x="2286" y="1554"/>
                </a:lnTo>
                <a:lnTo>
                  <a:pt x="2286" y="1566"/>
                </a:lnTo>
                <a:lnTo>
                  <a:pt x="2298" y="1578"/>
                </a:lnTo>
                <a:lnTo>
                  <a:pt x="2310" y="1578"/>
                </a:lnTo>
                <a:lnTo>
                  <a:pt x="2328" y="1572"/>
                </a:lnTo>
                <a:lnTo>
                  <a:pt x="2352" y="1548"/>
                </a:lnTo>
                <a:lnTo>
                  <a:pt x="2370" y="1542"/>
                </a:lnTo>
                <a:lnTo>
                  <a:pt x="2382" y="1542"/>
                </a:lnTo>
                <a:lnTo>
                  <a:pt x="2394" y="1548"/>
                </a:lnTo>
                <a:lnTo>
                  <a:pt x="2400" y="1554"/>
                </a:lnTo>
                <a:lnTo>
                  <a:pt x="2418" y="1590"/>
                </a:lnTo>
                <a:lnTo>
                  <a:pt x="2418" y="1602"/>
                </a:lnTo>
                <a:lnTo>
                  <a:pt x="2424" y="1608"/>
                </a:lnTo>
                <a:lnTo>
                  <a:pt x="2436" y="1614"/>
                </a:lnTo>
                <a:lnTo>
                  <a:pt x="2466" y="1614"/>
                </a:lnTo>
                <a:lnTo>
                  <a:pt x="2460" y="1656"/>
                </a:lnTo>
                <a:lnTo>
                  <a:pt x="2460" y="1662"/>
                </a:lnTo>
                <a:lnTo>
                  <a:pt x="2454" y="1668"/>
                </a:lnTo>
                <a:lnTo>
                  <a:pt x="2436" y="1704"/>
                </a:lnTo>
                <a:lnTo>
                  <a:pt x="2436" y="1710"/>
                </a:lnTo>
                <a:lnTo>
                  <a:pt x="2448" y="1722"/>
                </a:lnTo>
                <a:lnTo>
                  <a:pt x="2454" y="1722"/>
                </a:lnTo>
                <a:lnTo>
                  <a:pt x="2460" y="1734"/>
                </a:lnTo>
                <a:lnTo>
                  <a:pt x="2436" y="1758"/>
                </a:lnTo>
                <a:lnTo>
                  <a:pt x="2454" y="1806"/>
                </a:lnTo>
                <a:lnTo>
                  <a:pt x="2472" y="1788"/>
                </a:lnTo>
                <a:lnTo>
                  <a:pt x="2478" y="1788"/>
                </a:lnTo>
                <a:lnTo>
                  <a:pt x="2478" y="1794"/>
                </a:lnTo>
                <a:lnTo>
                  <a:pt x="2472" y="1800"/>
                </a:lnTo>
                <a:lnTo>
                  <a:pt x="2466" y="1812"/>
                </a:lnTo>
                <a:lnTo>
                  <a:pt x="2466" y="1818"/>
                </a:lnTo>
                <a:lnTo>
                  <a:pt x="2460" y="1830"/>
                </a:lnTo>
                <a:lnTo>
                  <a:pt x="2478" y="1830"/>
                </a:lnTo>
                <a:lnTo>
                  <a:pt x="2478" y="1878"/>
                </a:lnTo>
                <a:lnTo>
                  <a:pt x="2496" y="1878"/>
                </a:lnTo>
                <a:lnTo>
                  <a:pt x="2502" y="1884"/>
                </a:lnTo>
                <a:lnTo>
                  <a:pt x="2508" y="1884"/>
                </a:lnTo>
                <a:lnTo>
                  <a:pt x="2508" y="1896"/>
                </a:lnTo>
                <a:lnTo>
                  <a:pt x="2502" y="1908"/>
                </a:lnTo>
                <a:lnTo>
                  <a:pt x="2502" y="1920"/>
                </a:lnTo>
                <a:lnTo>
                  <a:pt x="2526" y="1944"/>
                </a:lnTo>
                <a:lnTo>
                  <a:pt x="2532" y="1944"/>
                </a:lnTo>
                <a:lnTo>
                  <a:pt x="2538" y="1938"/>
                </a:lnTo>
                <a:lnTo>
                  <a:pt x="2550" y="1932"/>
                </a:lnTo>
                <a:lnTo>
                  <a:pt x="2556" y="1932"/>
                </a:lnTo>
                <a:lnTo>
                  <a:pt x="2562" y="1926"/>
                </a:lnTo>
                <a:lnTo>
                  <a:pt x="2568" y="1914"/>
                </a:lnTo>
                <a:lnTo>
                  <a:pt x="2568" y="1896"/>
                </a:lnTo>
                <a:lnTo>
                  <a:pt x="2586" y="1896"/>
                </a:lnTo>
                <a:lnTo>
                  <a:pt x="2586" y="1872"/>
                </a:lnTo>
                <a:lnTo>
                  <a:pt x="2604" y="1836"/>
                </a:lnTo>
                <a:lnTo>
                  <a:pt x="2604" y="1818"/>
                </a:lnTo>
                <a:lnTo>
                  <a:pt x="2610" y="1806"/>
                </a:lnTo>
                <a:lnTo>
                  <a:pt x="2610" y="1794"/>
                </a:lnTo>
                <a:lnTo>
                  <a:pt x="2604" y="1782"/>
                </a:lnTo>
                <a:lnTo>
                  <a:pt x="2604" y="1770"/>
                </a:lnTo>
                <a:lnTo>
                  <a:pt x="2598" y="1752"/>
                </a:lnTo>
                <a:lnTo>
                  <a:pt x="2592" y="1740"/>
                </a:lnTo>
                <a:lnTo>
                  <a:pt x="2586" y="1722"/>
                </a:lnTo>
                <a:lnTo>
                  <a:pt x="2586" y="1704"/>
                </a:lnTo>
                <a:lnTo>
                  <a:pt x="2592" y="1686"/>
                </a:lnTo>
                <a:lnTo>
                  <a:pt x="2598" y="1674"/>
                </a:lnTo>
                <a:lnTo>
                  <a:pt x="2598" y="1644"/>
                </a:lnTo>
                <a:lnTo>
                  <a:pt x="2592" y="1626"/>
                </a:lnTo>
                <a:lnTo>
                  <a:pt x="2586" y="1614"/>
                </a:lnTo>
                <a:lnTo>
                  <a:pt x="2580" y="1596"/>
                </a:lnTo>
                <a:lnTo>
                  <a:pt x="2574" y="1584"/>
                </a:lnTo>
                <a:lnTo>
                  <a:pt x="2574" y="1518"/>
                </a:lnTo>
                <a:lnTo>
                  <a:pt x="2580" y="1488"/>
                </a:lnTo>
                <a:lnTo>
                  <a:pt x="2586" y="1470"/>
                </a:lnTo>
                <a:lnTo>
                  <a:pt x="2598" y="1452"/>
                </a:lnTo>
                <a:lnTo>
                  <a:pt x="2604" y="1440"/>
                </a:lnTo>
                <a:lnTo>
                  <a:pt x="2610" y="1422"/>
                </a:lnTo>
                <a:lnTo>
                  <a:pt x="2616" y="1416"/>
                </a:lnTo>
                <a:lnTo>
                  <a:pt x="2616" y="1410"/>
                </a:lnTo>
                <a:lnTo>
                  <a:pt x="2628" y="1398"/>
                </a:lnTo>
                <a:lnTo>
                  <a:pt x="2652" y="1380"/>
                </a:lnTo>
                <a:lnTo>
                  <a:pt x="2658" y="1356"/>
                </a:lnTo>
                <a:lnTo>
                  <a:pt x="2670" y="1368"/>
                </a:lnTo>
                <a:lnTo>
                  <a:pt x="2676" y="1344"/>
                </a:lnTo>
                <a:lnTo>
                  <a:pt x="2730" y="1344"/>
                </a:lnTo>
                <a:lnTo>
                  <a:pt x="2730" y="1314"/>
                </a:lnTo>
                <a:lnTo>
                  <a:pt x="2748" y="1320"/>
                </a:lnTo>
                <a:lnTo>
                  <a:pt x="2754" y="1308"/>
                </a:lnTo>
                <a:lnTo>
                  <a:pt x="2772" y="1308"/>
                </a:lnTo>
                <a:lnTo>
                  <a:pt x="2796" y="1278"/>
                </a:lnTo>
                <a:lnTo>
                  <a:pt x="2796" y="1272"/>
                </a:lnTo>
                <a:lnTo>
                  <a:pt x="2802" y="1266"/>
                </a:lnTo>
                <a:lnTo>
                  <a:pt x="2814" y="1242"/>
                </a:lnTo>
                <a:lnTo>
                  <a:pt x="2832" y="1236"/>
                </a:lnTo>
                <a:lnTo>
                  <a:pt x="2862" y="1236"/>
                </a:lnTo>
                <a:lnTo>
                  <a:pt x="2874" y="1242"/>
                </a:lnTo>
                <a:lnTo>
                  <a:pt x="2886" y="1242"/>
                </a:lnTo>
                <a:lnTo>
                  <a:pt x="2892" y="1236"/>
                </a:lnTo>
                <a:lnTo>
                  <a:pt x="2904" y="1212"/>
                </a:lnTo>
                <a:lnTo>
                  <a:pt x="2910" y="1206"/>
                </a:lnTo>
                <a:lnTo>
                  <a:pt x="2916" y="1194"/>
                </a:lnTo>
                <a:lnTo>
                  <a:pt x="2928" y="1200"/>
                </a:lnTo>
                <a:lnTo>
                  <a:pt x="2934" y="1176"/>
                </a:lnTo>
                <a:lnTo>
                  <a:pt x="3018" y="1170"/>
                </a:lnTo>
                <a:lnTo>
                  <a:pt x="3024" y="1146"/>
                </a:lnTo>
                <a:lnTo>
                  <a:pt x="2982" y="1152"/>
                </a:lnTo>
                <a:lnTo>
                  <a:pt x="2988" y="1146"/>
                </a:lnTo>
                <a:lnTo>
                  <a:pt x="3000" y="1140"/>
                </a:lnTo>
                <a:lnTo>
                  <a:pt x="3006" y="1140"/>
                </a:lnTo>
                <a:lnTo>
                  <a:pt x="3006" y="1134"/>
                </a:lnTo>
                <a:lnTo>
                  <a:pt x="3000" y="1128"/>
                </a:lnTo>
                <a:lnTo>
                  <a:pt x="2994" y="1116"/>
                </a:lnTo>
                <a:lnTo>
                  <a:pt x="2988" y="1110"/>
                </a:lnTo>
                <a:lnTo>
                  <a:pt x="3024" y="1104"/>
                </a:lnTo>
                <a:lnTo>
                  <a:pt x="3048" y="1116"/>
                </a:lnTo>
                <a:lnTo>
                  <a:pt x="3078" y="1080"/>
                </a:lnTo>
                <a:lnTo>
                  <a:pt x="3024" y="1074"/>
                </a:lnTo>
                <a:lnTo>
                  <a:pt x="3024" y="1050"/>
                </a:lnTo>
                <a:lnTo>
                  <a:pt x="3036" y="1062"/>
                </a:lnTo>
                <a:lnTo>
                  <a:pt x="3078" y="1050"/>
                </a:lnTo>
                <a:lnTo>
                  <a:pt x="3084" y="990"/>
                </a:lnTo>
                <a:lnTo>
                  <a:pt x="3054" y="1002"/>
                </a:lnTo>
                <a:lnTo>
                  <a:pt x="3048" y="972"/>
                </a:lnTo>
                <a:lnTo>
                  <a:pt x="3024" y="960"/>
                </a:lnTo>
                <a:lnTo>
                  <a:pt x="3072" y="978"/>
                </a:lnTo>
                <a:lnTo>
                  <a:pt x="3078" y="972"/>
                </a:lnTo>
                <a:lnTo>
                  <a:pt x="3060" y="954"/>
                </a:lnTo>
                <a:lnTo>
                  <a:pt x="3090" y="954"/>
                </a:lnTo>
                <a:lnTo>
                  <a:pt x="3084" y="948"/>
                </a:lnTo>
                <a:lnTo>
                  <a:pt x="3078" y="936"/>
                </a:lnTo>
                <a:lnTo>
                  <a:pt x="3060" y="918"/>
                </a:lnTo>
                <a:lnTo>
                  <a:pt x="3054" y="906"/>
                </a:lnTo>
                <a:lnTo>
                  <a:pt x="3054" y="894"/>
                </a:lnTo>
                <a:lnTo>
                  <a:pt x="3060" y="888"/>
                </a:lnTo>
                <a:lnTo>
                  <a:pt x="3042" y="870"/>
                </a:lnTo>
                <a:lnTo>
                  <a:pt x="3042" y="864"/>
                </a:lnTo>
                <a:lnTo>
                  <a:pt x="3048" y="864"/>
                </a:lnTo>
                <a:lnTo>
                  <a:pt x="3066" y="846"/>
                </a:lnTo>
                <a:lnTo>
                  <a:pt x="3072" y="846"/>
                </a:lnTo>
                <a:lnTo>
                  <a:pt x="3066" y="870"/>
                </a:lnTo>
                <a:lnTo>
                  <a:pt x="3096" y="894"/>
                </a:lnTo>
                <a:lnTo>
                  <a:pt x="3096" y="888"/>
                </a:lnTo>
                <a:lnTo>
                  <a:pt x="3102" y="882"/>
                </a:lnTo>
                <a:lnTo>
                  <a:pt x="3102" y="864"/>
                </a:lnTo>
                <a:lnTo>
                  <a:pt x="3108" y="852"/>
                </a:lnTo>
                <a:lnTo>
                  <a:pt x="3108" y="834"/>
                </a:lnTo>
                <a:lnTo>
                  <a:pt x="3114" y="822"/>
                </a:lnTo>
                <a:lnTo>
                  <a:pt x="3144" y="792"/>
                </a:lnTo>
                <a:lnTo>
                  <a:pt x="3156" y="786"/>
                </a:lnTo>
                <a:lnTo>
                  <a:pt x="3162" y="786"/>
                </a:lnTo>
                <a:lnTo>
                  <a:pt x="3162" y="792"/>
                </a:lnTo>
                <a:lnTo>
                  <a:pt x="3150" y="816"/>
                </a:lnTo>
                <a:lnTo>
                  <a:pt x="3132" y="834"/>
                </a:lnTo>
                <a:lnTo>
                  <a:pt x="3126" y="846"/>
                </a:lnTo>
                <a:lnTo>
                  <a:pt x="3120" y="882"/>
                </a:lnTo>
                <a:lnTo>
                  <a:pt x="3138" y="882"/>
                </a:lnTo>
                <a:lnTo>
                  <a:pt x="3138" y="894"/>
                </a:lnTo>
                <a:lnTo>
                  <a:pt x="3132" y="906"/>
                </a:lnTo>
                <a:lnTo>
                  <a:pt x="3132" y="918"/>
                </a:lnTo>
                <a:lnTo>
                  <a:pt x="3114" y="936"/>
                </a:lnTo>
                <a:lnTo>
                  <a:pt x="3102" y="960"/>
                </a:lnTo>
                <a:lnTo>
                  <a:pt x="3102" y="978"/>
                </a:lnTo>
                <a:lnTo>
                  <a:pt x="3126" y="954"/>
                </a:lnTo>
                <a:lnTo>
                  <a:pt x="3132" y="942"/>
                </a:lnTo>
                <a:lnTo>
                  <a:pt x="3144" y="930"/>
                </a:lnTo>
                <a:lnTo>
                  <a:pt x="3168" y="918"/>
                </a:lnTo>
                <a:lnTo>
                  <a:pt x="3180" y="906"/>
                </a:lnTo>
                <a:lnTo>
                  <a:pt x="3192" y="882"/>
                </a:lnTo>
                <a:lnTo>
                  <a:pt x="3192" y="798"/>
                </a:lnTo>
                <a:lnTo>
                  <a:pt x="3198" y="780"/>
                </a:lnTo>
                <a:lnTo>
                  <a:pt x="3198" y="768"/>
                </a:lnTo>
                <a:lnTo>
                  <a:pt x="3204" y="756"/>
                </a:lnTo>
                <a:lnTo>
                  <a:pt x="3210" y="756"/>
                </a:lnTo>
                <a:lnTo>
                  <a:pt x="3210" y="768"/>
                </a:lnTo>
                <a:lnTo>
                  <a:pt x="3204" y="780"/>
                </a:lnTo>
                <a:lnTo>
                  <a:pt x="3204" y="798"/>
                </a:lnTo>
                <a:lnTo>
                  <a:pt x="3210" y="798"/>
                </a:lnTo>
                <a:lnTo>
                  <a:pt x="3216" y="804"/>
                </a:lnTo>
                <a:lnTo>
                  <a:pt x="3216" y="840"/>
                </a:lnTo>
                <a:lnTo>
                  <a:pt x="3234" y="822"/>
                </a:lnTo>
                <a:lnTo>
                  <a:pt x="3240" y="810"/>
                </a:lnTo>
                <a:lnTo>
                  <a:pt x="3288" y="762"/>
                </a:lnTo>
                <a:lnTo>
                  <a:pt x="3300" y="756"/>
                </a:lnTo>
                <a:lnTo>
                  <a:pt x="3324" y="732"/>
                </a:lnTo>
                <a:lnTo>
                  <a:pt x="3324" y="726"/>
                </a:lnTo>
                <a:lnTo>
                  <a:pt x="3318" y="720"/>
                </a:lnTo>
                <a:lnTo>
                  <a:pt x="3312" y="720"/>
                </a:lnTo>
                <a:lnTo>
                  <a:pt x="3306" y="714"/>
                </a:lnTo>
                <a:lnTo>
                  <a:pt x="3306" y="702"/>
                </a:lnTo>
                <a:lnTo>
                  <a:pt x="3312" y="696"/>
                </a:lnTo>
                <a:lnTo>
                  <a:pt x="3324" y="696"/>
                </a:lnTo>
                <a:lnTo>
                  <a:pt x="3330" y="702"/>
                </a:lnTo>
                <a:lnTo>
                  <a:pt x="3360" y="702"/>
                </a:lnTo>
                <a:lnTo>
                  <a:pt x="3390" y="696"/>
                </a:lnTo>
                <a:lnTo>
                  <a:pt x="3450" y="672"/>
                </a:lnTo>
                <a:lnTo>
                  <a:pt x="3462" y="666"/>
                </a:lnTo>
                <a:lnTo>
                  <a:pt x="3444" y="660"/>
                </a:lnTo>
                <a:lnTo>
                  <a:pt x="3438" y="660"/>
                </a:lnTo>
                <a:lnTo>
                  <a:pt x="3432" y="666"/>
                </a:lnTo>
                <a:lnTo>
                  <a:pt x="3414" y="672"/>
                </a:lnTo>
                <a:lnTo>
                  <a:pt x="3402" y="672"/>
                </a:lnTo>
                <a:lnTo>
                  <a:pt x="3390" y="678"/>
                </a:lnTo>
                <a:lnTo>
                  <a:pt x="3372" y="678"/>
                </a:lnTo>
                <a:lnTo>
                  <a:pt x="3360" y="684"/>
                </a:lnTo>
                <a:lnTo>
                  <a:pt x="3348" y="684"/>
                </a:lnTo>
                <a:lnTo>
                  <a:pt x="3342" y="678"/>
                </a:lnTo>
                <a:lnTo>
                  <a:pt x="3342" y="672"/>
                </a:lnTo>
                <a:lnTo>
                  <a:pt x="3348" y="666"/>
                </a:lnTo>
                <a:lnTo>
                  <a:pt x="3354" y="654"/>
                </a:lnTo>
                <a:lnTo>
                  <a:pt x="3366" y="654"/>
                </a:lnTo>
                <a:lnTo>
                  <a:pt x="3378" y="648"/>
                </a:lnTo>
                <a:lnTo>
                  <a:pt x="3402" y="648"/>
                </a:lnTo>
                <a:lnTo>
                  <a:pt x="3492" y="642"/>
                </a:lnTo>
                <a:lnTo>
                  <a:pt x="3534" y="606"/>
                </a:lnTo>
                <a:lnTo>
                  <a:pt x="3546" y="618"/>
                </a:lnTo>
                <a:lnTo>
                  <a:pt x="3570" y="606"/>
                </a:lnTo>
                <a:lnTo>
                  <a:pt x="3570" y="642"/>
                </a:lnTo>
                <a:lnTo>
                  <a:pt x="3600" y="618"/>
                </a:lnTo>
                <a:lnTo>
                  <a:pt x="3624" y="612"/>
                </a:lnTo>
                <a:lnTo>
                  <a:pt x="3630" y="582"/>
                </a:lnTo>
                <a:lnTo>
                  <a:pt x="3618" y="570"/>
                </a:lnTo>
                <a:lnTo>
                  <a:pt x="3612" y="600"/>
                </a:lnTo>
                <a:lnTo>
                  <a:pt x="3588" y="600"/>
                </a:lnTo>
                <a:lnTo>
                  <a:pt x="3588" y="576"/>
                </a:lnTo>
                <a:lnTo>
                  <a:pt x="3570" y="552"/>
                </a:lnTo>
                <a:lnTo>
                  <a:pt x="3594" y="540"/>
                </a:lnTo>
                <a:lnTo>
                  <a:pt x="3600" y="504"/>
                </a:lnTo>
                <a:lnTo>
                  <a:pt x="3612" y="498"/>
                </a:lnTo>
                <a:lnTo>
                  <a:pt x="3618" y="486"/>
                </a:lnTo>
                <a:lnTo>
                  <a:pt x="3630" y="480"/>
                </a:lnTo>
                <a:lnTo>
                  <a:pt x="3636" y="474"/>
                </a:lnTo>
                <a:lnTo>
                  <a:pt x="3648" y="468"/>
                </a:lnTo>
                <a:lnTo>
                  <a:pt x="3654" y="456"/>
                </a:lnTo>
                <a:lnTo>
                  <a:pt x="3654" y="450"/>
                </a:lnTo>
                <a:lnTo>
                  <a:pt x="3660" y="444"/>
                </a:lnTo>
                <a:lnTo>
                  <a:pt x="3660" y="438"/>
                </a:lnTo>
                <a:lnTo>
                  <a:pt x="3690" y="444"/>
                </a:lnTo>
                <a:lnTo>
                  <a:pt x="3702" y="426"/>
                </a:lnTo>
                <a:lnTo>
                  <a:pt x="3708" y="432"/>
                </a:lnTo>
                <a:lnTo>
                  <a:pt x="3720" y="432"/>
                </a:lnTo>
                <a:lnTo>
                  <a:pt x="3726" y="426"/>
                </a:lnTo>
                <a:lnTo>
                  <a:pt x="3738" y="420"/>
                </a:lnTo>
                <a:lnTo>
                  <a:pt x="3744" y="408"/>
                </a:lnTo>
                <a:lnTo>
                  <a:pt x="3756" y="402"/>
                </a:lnTo>
                <a:lnTo>
                  <a:pt x="3774" y="384"/>
                </a:lnTo>
                <a:lnTo>
                  <a:pt x="3774" y="414"/>
                </a:lnTo>
                <a:lnTo>
                  <a:pt x="3786" y="408"/>
                </a:lnTo>
                <a:lnTo>
                  <a:pt x="3792" y="402"/>
                </a:lnTo>
                <a:lnTo>
                  <a:pt x="3828" y="384"/>
                </a:lnTo>
                <a:lnTo>
                  <a:pt x="3834" y="378"/>
                </a:lnTo>
                <a:lnTo>
                  <a:pt x="3846" y="378"/>
                </a:lnTo>
                <a:lnTo>
                  <a:pt x="3858" y="372"/>
                </a:lnTo>
                <a:lnTo>
                  <a:pt x="3876" y="372"/>
                </a:lnTo>
                <a:lnTo>
                  <a:pt x="3888" y="366"/>
                </a:lnTo>
                <a:lnTo>
                  <a:pt x="3900" y="366"/>
                </a:lnTo>
                <a:lnTo>
                  <a:pt x="3900" y="330"/>
                </a:lnTo>
                <a:lnTo>
                  <a:pt x="3876" y="330"/>
                </a:lnTo>
                <a:lnTo>
                  <a:pt x="3876" y="324"/>
                </a:lnTo>
                <a:lnTo>
                  <a:pt x="3882" y="312"/>
                </a:lnTo>
                <a:lnTo>
                  <a:pt x="3894" y="300"/>
                </a:lnTo>
                <a:lnTo>
                  <a:pt x="3888" y="294"/>
                </a:lnTo>
                <a:lnTo>
                  <a:pt x="3882" y="294"/>
                </a:lnTo>
                <a:lnTo>
                  <a:pt x="3876" y="288"/>
                </a:lnTo>
                <a:lnTo>
                  <a:pt x="3876" y="276"/>
                </a:lnTo>
                <a:lnTo>
                  <a:pt x="3888" y="252"/>
                </a:lnTo>
                <a:lnTo>
                  <a:pt x="3900" y="222"/>
                </a:lnTo>
                <a:lnTo>
                  <a:pt x="3912" y="198"/>
                </a:lnTo>
                <a:lnTo>
                  <a:pt x="3918" y="174"/>
                </a:lnTo>
                <a:lnTo>
                  <a:pt x="3918" y="168"/>
                </a:lnTo>
                <a:lnTo>
                  <a:pt x="3912" y="162"/>
                </a:lnTo>
                <a:lnTo>
                  <a:pt x="3876" y="162"/>
                </a:lnTo>
                <a:lnTo>
                  <a:pt x="3864" y="168"/>
                </a:lnTo>
                <a:lnTo>
                  <a:pt x="3858" y="168"/>
                </a:lnTo>
                <a:close/>
                <a:moveTo>
                  <a:pt x="2718" y="366"/>
                </a:moveTo>
                <a:lnTo>
                  <a:pt x="2712" y="366"/>
                </a:lnTo>
                <a:lnTo>
                  <a:pt x="2712" y="354"/>
                </a:lnTo>
                <a:lnTo>
                  <a:pt x="2718" y="348"/>
                </a:lnTo>
                <a:lnTo>
                  <a:pt x="2718" y="336"/>
                </a:lnTo>
                <a:lnTo>
                  <a:pt x="2712" y="336"/>
                </a:lnTo>
                <a:lnTo>
                  <a:pt x="2700" y="342"/>
                </a:lnTo>
                <a:lnTo>
                  <a:pt x="2694" y="348"/>
                </a:lnTo>
                <a:lnTo>
                  <a:pt x="2682" y="354"/>
                </a:lnTo>
                <a:lnTo>
                  <a:pt x="2676" y="372"/>
                </a:lnTo>
                <a:lnTo>
                  <a:pt x="2664" y="366"/>
                </a:lnTo>
                <a:lnTo>
                  <a:pt x="2664" y="378"/>
                </a:lnTo>
                <a:lnTo>
                  <a:pt x="2652" y="402"/>
                </a:lnTo>
                <a:lnTo>
                  <a:pt x="2628" y="414"/>
                </a:lnTo>
                <a:lnTo>
                  <a:pt x="2628" y="426"/>
                </a:lnTo>
                <a:lnTo>
                  <a:pt x="2634" y="432"/>
                </a:lnTo>
                <a:lnTo>
                  <a:pt x="2628" y="432"/>
                </a:lnTo>
                <a:lnTo>
                  <a:pt x="2598" y="462"/>
                </a:lnTo>
                <a:lnTo>
                  <a:pt x="2598" y="468"/>
                </a:lnTo>
                <a:lnTo>
                  <a:pt x="2604" y="474"/>
                </a:lnTo>
                <a:lnTo>
                  <a:pt x="2610" y="474"/>
                </a:lnTo>
                <a:lnTo>
                  <a:pt x="2616" y="480"/>
                </a:lnTo>
                <a:lnTo>
                  <a:pt x="2616" y="492"/>
                </a:lnTo>
                <a:lnTo>
                  <a:pt x="2610" y="498"/>
                </a:lnTo>
                <a:lnTo>
                  <a:pt x="2604" y="498"/>
                </a:lnTo>
                <a:lnTo>
                  <a:pt x="2604" y="510"/>
                </a:lnTo>
                <a:lnTo>
                  <a:pt x="2592" y="534"/>
                </a:lnTo>
                <a:lnTo>
                  <a:pt x="2580" y="552"/>
                </a:lnTo>
                <a:lnTo>
                  <a:pt x="2550" y="582"/>
                </a:lnTo>
                <a:lnTo>
                  <a:pt x="2478" y="618"/>
                </a:lnTo>
                <a:lnTo>
                  <a:pt x="2484" y="588"/>
                </a:lnTo>
                <a:lnTo>
                  <a:pt x="2478" y="582"/>
                </a:lnTo>
                <a:lnTo>
                  <a:pt x="2478" y="576"/>
                </a:lnTo>
                <a:lnTo>
                  <a:pt x="2472" y="570"/>
                </a:lnTo>
                <a:lnTo>
                  <a:pt x="2472" y="564"/>
                </a:lnTo>
                <a:lnTo>
                  <a:pt x="2478" y="552"/>
                </a:lnTo>
                <a:lnTo>
                  <a:pt x="2496" y="534"/>
                </a:lnTo>
                <a:lnTo>
                  <a:pt x="2502" y="522"/>
                </a:lnTo>
                <a:lnTo>
                  <a:pt x="2502" y="516"/>
                </a:lnTo>
                <a:lnTo>
                  <a:pt x="2496" y="510"/>
                </a:lnTo>
                <a:lnTo>
                  <a:pt x="2496" y="492"/>
                </a:lnTo>
                <a:lnTo>
                  <a:pt x="2502" y="480"/>
                </a:lnTo>
                <a:lnTo>
                  <a:pt x="2508" y="474"/>
                </a:lnTo>
                <a:lnTo>
                  <a:pt x="2514" y="462"/>
                </a:lnTo>
                <a:lnTo>
                  <a:pt x="2526" y="456"/>
                </a:lnTo>
                <a:lnTo>
                  <a:pt x="2532" y="450"/>
                </a:lnTo>
                <a:lnTo>
                  <a:pt x="2532" y="432"/>
                </a:lnTo>
                <a:lnTo>
                  <a:pt x="2538" y="432"/>
                </a:lnTo>
                <a:lnTo>
                  <a:pt x="2622" y="348"/>
                </a:lnTo>
                <a:lnTo>
                  <a:pt x="2592" y="354"/>
                </a:lnTo>
                <a:lnTo>
                  <a:pt x="2580" y="360"/>
                </a:lnTo>
                <a:lnTo>
                  <a:pt x="2574" y="366"/>
                </a:lnTo>
                <a:lnTo>
                  <a:pt x="2562" y="372"/>
                </a:lnTo>
                <a:lnTo>
                  <a:pt x="2556" y="378"/>
                </a:lnTo>
                <a:lnTo>
                  <a:pt x="2550" y="378"/>
                </a:lnTo>
                <a:lnTo>
                  <a:pt x="2550" y="372"/>
                </a:lnTo>
                <a:lnTo>
                  <a:pt x="2556" y="366"/>
                </a:lnTo>
                <a:lnTo>
                  <a:pt x="2568" y="360"/>
                </a:lnTo>
                <a:lnTo>
                  <a:pt x="2592" y="336"/>
                </a:lnTo>
                <a:lnTo>
                  <a:pt x="2604" y="330"/>
                </a:lnTo>
                <a:lnTo>
                  <a:pt x="2658" y="276"/>
                </a:lnTo>
                <a:lnTo>
                  <a:pt x="2670" y="288"/>
                </a:lnTo>
                <a:lnTo>
                  <a:pt x="2682" y="276"/>
                </a:lnTo>
                <a:lnTo>
                  <a:pt x="2682" y="288"/>
                </a:lnTo>
                <a:lnTo>
                  <a:pt x="2694" y="288"/>
                </a:lnTo>
                <a:lnTo>
                  <a:pt x="2700" y="282"/>
                </a:lnTo>
                <a:lnTo>
                  <a:pt x="2700" y="270"/>
                </a:lnTo>
                <a:lnTo>
                  <a:pt x="2724" y="276"/>
                </a:lnTo>
                <a:lnTo>
                  <a:pt x="2736" y="270"/>
                </a:lnTo>
                <a:lnTo>
                  <a:pt x="2742" y="270"/>
                </a:lnTo>
                <a:lnTo>
                  <a:pt x="2754" y="264"/>
                </a:lnTo>
                <a:lnTo>
                  <a:pt x="2772" y="264"/>
                </a:lnTo>
                <a:lnTo>
                  <a:pt x="2784" y="270"/>
                </a:lnTo>
                <a:lnTo>
                  <a:pt x="2790" y="276"/>
                </a:lnTo>
                <a:lnTo>
                  <a:pt x="2796" y="288"/>
                </a:lnTo>
                <a:lnTo>
                  <a:pt x="2772" y="294"/>
                </a:lnTo>
                <a:lnTo>
                  <a:pt x="2772" y="318"/>
                </a:lnTo>
                <a:lnTo>
                  <a:pt x="2742" y="318"/>
                </a:lnTo>
                <a:lnTo>
                  <a:pt x="2736" y="324"/>
                </a:lnTo>
                <a:lnTo>
                  <a:pt x="2736" y="360"/>
                </a:lnTo>
                <a:lnTo>
                  <a:pt x="2730" y="366"/>
                </a:lnTo>
                <a:lnTo>
                  <a:pt x="2718" y="36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5" name="Uruguay"/>
          <p:cNvSpPr>
            <a:spLocks/>
          </p:cNvSpPr>
          <p:nvPr/>
        </p:nvSpPr>
        <p:spPr bwMode="gray">
          <a:xfrm>
            <a:off x="2434496" y="5237830"/>
            <a:ext cx="149225" cy="153988"/>
          </a:xfrm>
          <a:custGeom>
            <a:avLst/>
            <a:gdLst>
              <a:gd name="T0" fmla="*/ 2147483647 w 366"/>
              <a:gd name="T1" fmla="*/ 2147483647 h 384"/>
              <a:gd name="T2" fmla="*/ 2147483647 w 366"/>
              <a:gd name="T3" fmla="*/ 2147483647 h 384"/>
              <a:gd name="T4" fmla="*/ 2147483647 w 366"/>
              <a:gd name="T5" fmla="*/ 2147483647 h 384"/>
              <a:gd name="T6" fmla="*/ 2147483647 w 366"/>
              <a:gd name="T7" fmla="*/ 2147483647 h 384"/>
              <a:gd name="T8" fmla="*/ 2147483647 w 366"/>
              <a:gd name="T9" fmla="*/ 2147483647 h 384"/>
              <a:gd name="T10" fmla="*/ 2147483647 w 366"/>
              <a:gd name="T11" fmla="*/ 2147483647 h 384"/>
              <a:gd name="T12" fmla="*/ 2147483647 w 366"/>
              <a:gd name="T13" fmla="*/ 2147483647 h 384"/>
              <a:gd name="T14" fmla="*/ 2147483647 w 366"/>
              <a:gd name="T15" fmla="*/ 2147483647 h 384"/>
              <a:gd name="T16" fmla="*/ 2147483647 w 366"/>
              <a:gd name="T17" fmla="*/ 2147483647 h 384"/>
              <a:gd name="T18" fmla="*/ 2147483647 w 366"/>
              <a:gd name="T19" fmla="*/ 2147483647 h 384"/>
              <a:gd name="T20" fmla="*/ 2147483647 w 366"/>
              <a:gd name="T21" fmla="*/ 2147483647 h 384"/>
              <a:gd name="T22" fmla="*/ 2147483647 w 366"/>
              <a:gd name="T23" fmla="*/ 2147483647 h 384"/>
              <a:gd name="T24" fmla="*/ 2147483647 w 366"/>
              <a:gd name="T25" fmla="*/ 2147483647 h 384"/>
              <a:gd name="T26" fmla="*/ 2147483647 w 366"/>
              <a:gd name="T27" fmla="*/ 2147483647 h 384"/>
              <a:gd name="T28" fmla="*/ 2147483647 w 366"/>
              <a:gd name="T29" fmla="*/ 2147483647 h 384"/>
              <a:gd name="T30" fmla="*/ 2147483647 w 366"/>
              <a:gd name="T31" fmla="*/ 2147483647 h 384"/>
              <a:gd name="T32" fmla="*/ 2147483647 w 366"/>
              <a:gd name="T33" fmla="*/ 2147483647 h 384"/>
              <a:gd name="T34" fmla="*/ 2147483647 w 366"/>
              <a:gd name="T35" fmla="*/ 2147483647 h 384"/>
              <a:gd name="T36" fmla="*/ 2147483647 w 366"/>
              <a:gd name="T37" fmla="*/ 2147483647 h 384"/>
              <a:gd name="T38" fmla="*/ 2147483647 w 366"/>
              <a:gd name="T39" fmla="*/ 2147483647 h 384"/>
              <a:gd name="T40" fmla="*/ 2147483647 w 366"/>
              <a:gd name="T41" fmla="*/ 2147483647 h 384"/>
              <a:gd name="T42" fmla="*/ 2147483647 w 366"/>
              <a:gd name="T43" fmla="*/ 2147483647 h 384"/>
              <a:gd name="T44" fmla="*/ 2147483647 w 366"/>
              <a:gd name="T45" fmla="*/ 0 h 384"/>
              <a:gd name="T46" fmla="*/ 2147483647 w 366"/>
              <a:gd name="T47" fmla="*/ 2147483647 h 384"/>
              <a:gd name="T48" fmla="*/ 2147483647 w 366"/>
              <a:gd name="T49" fmla="*/ 2147483647 h 384"/>
              <a:gd name="T50" fmla="*/ 0 w 366"/>
              <a:gd name="T51" fmla="*/ 2147483647 h 384"/>
              <a:gd name="T52" fmla="*/ 2147483647 w 366"/>
              <a:gd name="T53" fmla="*/ 2147483647 h 384"/>
              <a:gd name="T54" fmla="*/ 2147483647 w 366"/>
              <a:gd name="T55" fmla="*/ 2147483647 h 384"/>
              <a:gd name="T56" fmla="*/ 2147483647 w 366"/>
              <a:gd name="T57" fmla="*/ 2147483647 h 384"/>
              <a:gd name="T58" fmla="*/ 2147483647 w 366"/>
              <a:gd name="T59" fmla="*/ 2147483647 h 384"/>
              <a:gd name="T60" fmla="*/ 2147483647 w 366"/>
              <a:gd name="T61" fmla="*/ 2147483647 h 384"/>
              <a:gd name="T62" fmla="*/ 2147483647 w 366"/>
              <a:gd name="T63" fmla="*/ 2147483647 h 384"/>
              <a:gd name="T64" fmla="*/ 2147483647 w 366"/>
              <a:gd name="T65" fmla="*/ 2147483647 h 384"/>
              <a:gd name="T66" fmla="*/ 2147483647 w 366"/>
              <a:gd name="T67" fmla="*/ 2147483647 h 384"/>
              <a:gd name="T68" fmla="*/ 2147483647 w 366"/>
              <a:gd name="T69" fmla="*/ 2147483647 h 384"/>
              <a:gd name="T70" fmla="*/ 2147483647 w 366"/>
              <a:gd name="T71" fmla="*/ 2147483647 h 384"/>
              <a:gd name="T72" fmla="*/ 2147483647 w 366"/>
              <a:gd name="T73" fmla="*/ 2147483647 h 384"/>
              <a:gd name="T74" fmla="*/ 2147483647 w 366"/>
              <a:gd name="T75" fmla="*/ 2147483647 h 384"/>
              <a:gd name="T76" fmla="*/ 2147483647 w 366"/>
              <a:gd name="T77" fmla="*/ 2147483647 h 38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66"/>
              <a:gd name="T118" fmla="*/ 0 h 384"/>
              <a:gd name="T119" fmla="*/ 366 w 366"/>
              <a:gd name="T120" fmla="*/ 384 h 38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66" h="384">
                <a:moveTo>
                  <a:pt x="138" y="372"/>
                </a:moveTo>
                <a:lnTo>
                  <a:pt x="174" y="372"/>
                </a:lnTo>
                <a:lnTo>
                  <a:pt x="198" y="378"/>
                </a:lnTo>
                <a:lnTo>
                  <a:pt x="228" y="378"/>
                </a:lnTo>
                <a:lnTo>
                  <a:pt x="288" y="384"/>
                </a:lnTo>
                <a:lnTo>
                  <a:pt x="330" y="366"/>
                </a:lnTo>
                <a:lnTo>
                  <a:pt x="342" y="354"/>
                </a:lnTo>
                <a:lnTo>
                  <a:pt x="360" y="300"/>
                </a:lnTo>
                <a:lnTo>
                  <a:pt x="366" y="294"/>
                </a:lnTo>
                <a:lnTo>
                  <a:pt x="348" y="294"/>
                </a:lnTo>
                <a:lnTo>
                  <a:pt x="348" y="264"/>
                </a:lnTo>
                <a:lnTo>
                  <a:pt x="342" y="264"/>
                </a:lnTo>
                <a:lnTo>
                  <a:pt x="342" y="240"/>
                </a:lnTo>
                <a:lnTo>
                  <a:pt x="348" y="234"/>
                </a:lnTo>
                <a:lnTo>
                  <a:pt x="360" y="210"/>
                </a:lnTo>
                <a:lnTo>
                  <a:pt x="360" y="198"/>
                </a:lnTo>
                <a:lnTo>
                  <a:pt x="354" y="198"/>
                </a:lnTo>
                <a:lnTo>
                  <a:pt x="342" y="192"/>
                </a:lnTo>
                <a:lnTo>
                  <a:pt x="336" y="192"/>
                </a:lnTo>
                <a:lnTo>
                  <a:pt x="318" y="174"/>
                </a:lnTo>
                <a:lnTo>
                  <a:pt x="312" y="162"/>
                </a:lnTo>
                <a:lnTo>
                  <a:pt x="306" y="156"/>
                </a:lnTo>
                <a:lnTo>
                  <a:pt x="300" y="144"/>
                </a:lnTo>
                <a:lnTo>
                  <a:pt x="288" y="144"/>
                </a:lnTo>
                <a:lnTo>
                  <a:pt x="270" y="138"/>
                </a:lnTo>
                <a:lnTo>
                  <a:pt x="258" y="132"/>
                </a:lnTo>
                <a:lnTo>
                  <a:pt x="252" y="126"/>
                </a:lnTo>
                <a:lnTo>
                  <a:pt x="252" y="114"/>
                </a:lnTo>
                <a:lnTo>
                  <a:pt x="246" y="114"/>
                </a:lnTo>
                <a:lnTo>
                  <a:pt x="228" y="96"/>
                </a:lnTo>
                <a:lnTo>
                  <a:pt x="210" y="96"/>
                </a:lnTo>
                <a:lnTo>
                  <a:pt x="192" y="78"/>
                </a:lnTo>
                <a:lnTo>
                  <a:pt x="186" y="66"/>
                </a:lnTo>
                <a:lnTo>
                  <a:pt x="174" y="60"/>
                </a:lnTo>
                <a:lnTo>
                  <a:pt x="168" y="60"/>
                </a:lnTo>
                <a:lnTo>
                  <a:pt x="156" y="72"/>
                </a:lnTo>
                <a:lnTo>
                  <a:pt x="156" y="78"/>
                </a:lnTo>
                <a:lnTo>
                  <a:pt x="144" y="78"/>
                </a:lnTo>
                <a:lnTo>
                  <a:pt x="144" y="66"/>
                </a:lnTo>
                <a:lnTo>
                  <a:pt x="132" y="54"/>
                </a:lnTo>
                <a:lnTo>
                  <a:pt x="126" y="42"/>
                </a:lnTo>
                <a:lnTo>
                  <a:pt x="120" y="36"/>
                </a:lnTo>
                <a:lnTo>
                  <a:pt x="108" y="30"/>
                </a:lnTo>
                <a:lnTo>
                  <a:pt x="102" y="18"/>
                </a:lnTo>
                <a:lnTo>
                  <a:pt x="78" y="6"/>
                </a:lnTo>
                <a:lnTo>
                  <a:pt x="72" y="0"/>
                </a:lnTo>
                <a:lnTo>
                  <a:pt x="60" y="0"/>
                </a:lnTo>
                <a:lnTo>
                  <a:pt x="48" y="6"/>
                </a:lnTo>
                <a:lnTo>
                  <a:pt x="42" y="12"/>
                </a:lnTo>
                <a:lnTo>
                  <a:pt x="18" y="12"/>
                </a:lnTo>
                <a:lnTo>
                  <a:pt x="0" y="30"/>
                </a:lnTo>
                <a:lnTo>
                  <a:pt x="0" y="36"/>
                </a:lnTo>
                <a:lnTo>
                  <a:pt x="24" y="60"/>
                </a:lnTo>
                <a:lnTo>
                  <a:pt x="30" y="60"/>
                </a:lnTo>
                <a:lnTo>
                  <a:pt x="6" y="72"/>
                </a:lnTo>
                <a:lnTo>
                  <a:pt x="6" y="108"/>
                </a:lnTo>
                <a:lnTo>
                  <a:pt x="30" y="126"/>
                </a:lnTo>
                <a:lnTo>
                  <a:pt x="12" y="126"/>
                </a:lnTo>
                <a:lnTo>
                  <a:pt x="0" y="138"/>
                </a:lnTo>
                <a:lnTo>
                  <a:pt x="6" y="144"/>
                </a:lnTo>
                <a:lnTo>
                  <a:pt x="12" y="156"/>
                </a:lnTo>
                <a:lnTo>
                  <a:pt x="24" y="168"/>
                </a:lnTo>
                <a:lnTo>
                  <a:pt x="12" y="186"/>
                </a:lnTo>
                <a:lnTo>
                  <a:pt x="18" y="192"/>
                </a:lnTo>
                <a:lnTo>
                  <a:pt x="24" y="204"/>
                </a:lnTo>
                <a:lnTo>
                  <a:pt x="36" y="210"/>
                </a:lnTo>
                <a:lnTo>
                  <a:pt x="42" y="222"/>
                </a:lnTo>
                <a:lnTo>
                  <a:pt x="42" y="228"/>
                </a:lnTo>
                <a:lnTo>
                  <a:pt x="36" y="228"/>
                </a:lnTo>
                <a:lnTo>
                  <a:pt x="30" y="234"/>
                </a:lnTo>
                <a:lnTo>
                  <a:pt x="6" y="234"/>
                </a:lnTo>
                <a:lnTo>
                  <a:pt x="6" y="282"/>
                </a:lnTo>
                <a:lnTo>
                  <a:pt x="36" y="318"/>
                </a:lnTo>
                <a:lnTo>
                  <a:pt x="42" y="318"/>
                </a:lnTo>
                <a:lnTo>
                  <a:pt x="54" y="324"/>
                </a:lnTo>
                <a:lnTo>
                  <a:pt x="78" y="348"/>
                </a:lnTo>
                <a:lnTo>
                  <a:pt x="90" y="354"/>
                </a:lnTo>
                <a:lnTo>
                  <a:pt x="126" y="354"/>
                </a:lnTo>
                <a:lnTo>
                  <a:pt x="138" y="37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" name="United Arab Emirates"/>
          <p:cNvSpPr>
            <a:spLocks/>
          </p:cNvSpPr>
          <p:nvPr/>
        </p:nvSpPr>
        <p:spPr bwMode="gray">
          <a:xfrm>
            <a:off x="5465033" y="3399505"/>
            <a:ext cx="134938" cy="128588"/>
          </a:xfrm>
          <a:custGeom>
            <a:avLst/>
            <a:gdLst>
              <a:gd name="T0" fmla="*/ 2147483647 w 336"/>
              <a:gd name="T1" fmla="*/ 2147483647 h 318"/>
              <a:gd name="T2" fmla="*/ 2147483647 w 336"/>
              <a:gd name="T3" fmla="*/ 2147483647 h 318"/>
              <a:gd name="T4" fmla="*/ 2147483647 w 336"/>
              <a:gd name="T5" fmla="*/ 2147483647 h 318"/>
              <a:gd name="T6" fmla="*/ 2147483647 w 336"/>
              <a:gd name="T7" fmla="*/ 2147483647 h 318"/>
              <a:gd name="T8" fmla="*/ 2147483647 w 336"/>
              <a:gd name="T9" fmla="*/ 2147483647 h 318"/>
              <a:gd name="T10" fmla="*/ 2147483647 w 336"/>
              <a:gd name="T11" fmla="*/ 0 h 318"/>
              <a:gd name="T12" fmla="*/ 2147483647 w 336"/>
              <a:gd name="T13" fmla="*/ 2147483647 h 318"/>
              <a:gd name="T14" fmla="*/ 2147483647 w 336"/>
              <a:gd name="T15" fmla="*/ 2147483647 h 318"/>
              <a:gd name="T16" fmla="*/ 2147483647 w 336"/>
              <a:gd name="T17" fmla="*/ 2147483647 h 318"/>
              <a:gd name="T18" fmla="*/ 2147483647 w 336"/>
              <a:gd name="T19" fmla="*/ 2147483647 h 318"/>
              <a:gd name="T20" fmla="*/ 2147483647 w 336"/>
              <a:gd name="T21" fmla="*/ 2147483647 h 318"/>
              <a:gd name="T22" fmla="*/ 2147483647 w 336"/>
              <a:gd name="T23" fmla="*/ 2147483647 h 318"/>
              <a:gd name="T24" fmla="*/ 2147483647 w 336"/>
              <a:gd name="T25" fmla="*/ 2147483647 h 318"/>
              <a:gd name="T26" fmla="*/ 2147483647 w 336"/>
              <a:gd name="T27" fmla="*/ 2147483647 h 318"/>
              <a:gd name="T28" fmla="*/ 2147483647 w 336"/>
              <a:gd name="T29" fmla="*/ 2147483647 h 318"/>
              <a:gd name="T30" fmla="*/ 2147483647 w 336"/>
              <a:gd name="T31" fmla="*/ 2147483647 h 318"/>
              <a:gd name="T32" fmla="*/ 2147483647 w 336"/>
              <a:gd name="T33" fmla="*/ 2147483647 h 318"/>
              <a:gd name="T34" fmla="*/ 2147483647 w 336"/>
              <a:gd name="T35" fmla="*/ 2147483647 h 318"/>
              <a:gd name="T36" fmla="*/ 0 w 336"/>
              <a:gd name="T37" fmla="*/ 2147483647 h 318"/>
              <a:gd name="T38" fmla="*/ 2147483647 w 336"/>
              <a:gd name="T39" fmla="*/ 2147483647 h 318"/>
              <a:gd name="T40" fmla="*/ 2147483647 w 336"/>
              <a:gd name="T41" fmla="*/ 2147483647 h 318"/>
              <a:gd name="T42" fmla="*/ 2147483647 w 336"/>
              <a:gd name="T43" fmla="*/ 2147483647 h 318"/>
              <a:gd name="T44" fmla="*/ 2147483647 w 336"/>
              <a:gd name="T45" fmla="*/ 2147483647 h 318"/>
              <a:gd name="T46" fmla="*/ 2147483647 w 336"/>
              <a:gd name="T47" fmla="*/ 2147483647 h 318"/>
              <a:gd name="T48" fmla="*/ 2147483647 w 336"/>
              <a:gd name="T49" fmla="*/ 2147483647 h 318"/>
              <a:gd name="T50" fmla="*/ 2147483647 w 336"/>
              <a:gd name="T51" fmla="*/ 2147483647 h 318"/>
              <a:gd name="T52" fmla="*/ 2147483647 w 336"/>
              <a:gd name="T53" fmla="*/ 2147483647 h 318"/>
              <a:gd name="T54" fmla="*/ 2147483647 w 336"/>
              <a:gd name="T55" fmla="*/ 2147483647 h 318"/>
              <a:gd name="T56" fmla="*/ 2147483647 w 336"/>
              <a:gd name="T57" fmla="*/ 2147483647 h 318"/>
              <a:gd name="T58" fmla="*/ 2147483647 w 336"/>
              <a:gd name="T59" fmla="*/ 2147483647 h 318"/>
              <a:gd name="T60" fmla="*/ 2147483647 w 336"/>
              <a:gd name="T61" fmla="*/ 2147483647 h 318"/>
              <a:gd name="T62" fmla="*/ 2147483647 w 336"/>
              <a:gd name="T63" fmla="*/ 2147483647 h 318"/>
              <a:gd name="T64" fmla="*/ 2147483647 w 336"/>
              <a:gd name="T65" fmla="*/ 2147483647 h 318"/>
              <a:gd name="T66" fmla="*/ 2147483647 w 336"/>
              <a:gd name="T67" fmla="*/ 2147483647 h 318"/>
              <a:gd name="T68" fmla="*/ 2147483647 w 336"/>
              <a:gd name="T69" fmla="*/ 2147483647 h 31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6"/>
              <a:gd name="T106" fmla="*/ 0 h 318"/>
              <a:gd name="T107" fmla="*/ 336 w 336"/>
              <a:gd name="T108" fmla="*/ 318 h 31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6" h="318">
                <a:moveTo>
                  <a:pt x="300" y="120"/>
                </a:moveTo>
                <a:lnTo>
                  <a:pt x="306" y="120"/>
                </a:lnTo>
                <a:lnTo>
                  <a:pt x="306" y="126"/>
                </a:lnTo>
                <a:lnTo>
                  <a:pt x="312" y="138"/>
                </a:lnTo>
                <a:lnTo>
                  <a:pt x="336" y="132"/>
                </a:lnTo>
                <a:lnTo>
                  <a:pt x="330" y="120"/>
                </a:lnTo>
                <a:lnTo>
                  <a:pt x="324" y="102"/>
                </a:lnTo>
                <a:lnTo>
                  <a:pt x="324" y="60"/>
                </a:lnTo>
                <a:lnTo>
                  <a:pt x="330" y="42"/>
                </a:lnTo>
                <a:lnTo>
                  <a:pt x="330" y="6"/>
                </a:lnTo>
                <a:lnTo>
                  <a:pt x="324" y="0"/>
                </a:lnTo>
                <a:lnTo>
                  <a:pt x="318" y="0"/>
                </a:lnTo>
                <a:lnTo>
                  <a:pt x="312" y="6"/>
                </a:lnTo>
                <a:lnTo>
                  <a:pt x="306" y="18"/>
                </a:lnTo>
                <a:lnTo>
                  <a:pt x="300" y="36"/>
                </a:lnTo>
                <a:lnTo>
                  <a:pt x="288" y="60"/>
                </a:lnTo>
                <a:lnTo>
                  <a:pt x="282" y="66"/>
                </a:lnTo>
                <a:lnTo>
                  <a:pt x="282" y="72"/>
                </a:lnTo>
                <a:lnTo>
                  <a:pt x="276" y="72"/>
                </a:lnTo>
                <a:lnTo>
                  <a:pt x="264" y="78"/>
                </a:lnTo>
                <a:lnTo>
                  <a:pt x="234" y="108"/>
                </a:lnTo>
                <a:lnTo>
                  <a:pt x="228" y="120"/>
                </a:lnTo>
                <a:lnTo>
                  <a:pt x="216" y="132"/>
                </a:lnTo>
                <a:lnTo>
                  <a:pt x="204" y="138"/>
                </a:lnTo>
                <a:lnTo>
                  <a:pt x="198" y="150"/>
                </a:lnTo>
                <a:lnTo>
                  <a:pt x="198" y="168"/>
                </a:lnTo>
                <a:lnTo>
                  <a:pt x="192" y="180"/>
                </a:lnTo>
                <a:lnTo>
                  <a:pt x="192" y="186"/>
                </a:lnTo>
                <a:lnTo>
                  <a:pt x="186" y="192"/>
                </a:lnTo>
                <a:lnTo>
                  <a:pt x="150" y="192"/>
                </a:lnTo>
                <a:lnTo>
                  <a:pt x="132" y="186"/>
                </a:lnTo>
                <a:lnTo>
                  <a:pt x="90" y="186"/>
                </a:lnTo>
                <a:lnTo>
                  <a:pt x="72" y="192"/>
                </a:lnTo>
                <a:lnTo>
                  <a:pt x="48" y="204"/>
                </a:lnTo>
                <a:lnTo>
                  <a:pt x="24" y="204"/>
                </a:lnTo>
                <a:lnTo>
                  <a:pt x="12" y="192"/>
                </a:lnTo>
                <a:lnTo>
                  <a:pt x="0" y="186"/>
                </a:lnTo>
                <a:lnTo>
                  <a:pt x="0" y="198"/>
                </a:lnTo>
                <a:lnTo>
                  <a:pt x="18" y="216"/>
                </a:lnTo>
                <a:lnTo>
                  <a:pt x="30" y="240"/>
                </a:lnTo>
                <a:lnTo>
                  <a:pt x="54" y="264"/>
                </a:lnTo>
                <a:lnTo>
                  <a:pt x="60" y="276"/>
                </a:lnTo>
                <a:lnTo>
                  <a:pt x="72" y="282"/>
                </a:lnTo>
                <a:lnTo>
                  <a:pt x="78" y="294"/>
                </a:lnTo>
                <a:lnTo>
                  <a:pt x="96" y="294"/>
                </a:lnTo>
                <a:lnTo>
                  <a:pt x="132" y="300"/>
                </a:lnTo>
                <a:lnTo>
                  <a:pt x="228" y="312"/>
                </a:lnTo>
                <a:lnTo>
                  <a:pt x="270" y="318"/>
                </a:lnTo>
                <a:lnTo>
                  <a:pt x="264" y="306"/>
                </a:lnTo>
                <a:lnTo>
                  <a:pt x="258" y="300"/>
                </a:lnTo>
                <a:lnTo>
                  <a:pt x="252" y="288"/>
                </a:lnTo>
                <a:lnTo>
                  <a:pt x="252" y="276"/>
                </a:lnTo>
                <a:lnTo>
                  <a:pt x="258" y="270"/>
                </a:lnTo>
                <a:lnTo>
                  <a:pt x="264" y="258"/>
                </a:lnTo>
                <a:lnTo>
                  <a:pt x="270" y="252"/>
                </a:lnTo>
                <a:lnTo>
                  <a:pt x="276" y="240"/>
                </a:lnTo>
                <a:lnTo>
                  <a:pt x="276" y="228"/>
                </a:lnTo>
                <a:lnTo>
                  <a:pt x="282" y="216"/>
                </a:lnTo>
                <a:lnTo>
                  <a:pt x="282" y="204"/>
                </a:lnTo>
                <a:lnTo>
                  <a:pt x="288" y="198"/>
                </a:lnTo>
                <a:lnTo>
                  <a:pt x="288" y="192"/>
                </a:lnTo>
                <a:lnTo>
                  <a:pt x="300" y="192"/>
                </a:lnTo>
                <a:lnTo>
                  <a:pt x="300" y="198"/>
                </a:lnTo>
                <a:lnTo>
                  <a:pt x="306" y="198"/>
                </a:lnTo>
                <a:lnTo>
                  <a:pt x="306" y="192"/>
                </a:lnTo>
                <a:lnTo>
                  <a:pt x="288" y="174"/>
                </a:lnTo>
                <a:lnTo>
                  <a:pt x="288" y="144"/>
                </a:lnTo>
                <a:lnTo>
                  <a:pt x="294" y="132"/>
                </a:lnTo>
                <a:lnTo>
                  <a:pt x="294" y="126"/>
                </a:lnTo>
                <a:lnTo>
                  <a:pt x="300" y="12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" name="Ukraine"/>
          <p:cNvSpPr>
            <a:spLocks/>
          </p:cNvSpPr>
          <p:nvPr/>
        </p:nvSpPr>
        <p:spPr bwMode="gray">
          <a:xfrm>
            <a:off x="4609371" y="2570830"/>
            <a:ext cx="449262" cy="252413"/>
          </a:xfrm>
          <a:custGeom>
            <a:avLst/>
            <a:gdLst>
              <a:gd name="T0" fmla="*/ 2147483647 w 1116"/>
              <a:gd name="T1" fmla="*/ 2147483647 h 624"/>
              <a:gd name="T2" fmla="*/ 2147483647 w 1116"/>
              <a:gd name="T3" fmla="*/ 2147483647 h 624"/>
              <a:gd name="T4" fmla="*/ 2147483647 w 1116"/>
              <a:gd name="T5" fmla="*/ 2147483647 h 624"/>
              <a:gd name="T6" fmla="*/ 2147483647 w 1116"/>
              <a:gd name="T7" fmla="*/ 2147483647 h 624"/>
              <a:gd name="T8" fmla="*/ 2147483647 w 1116"/>
              <a:gd name="T9" fmla="*/ 2147483647 h 624"/>
              <a:gd name="T10" fmla="*/ 2147483647 w 1116"/>
              <a:gd name="T11" fmla="*/ 2147483647 h 624"/>
              <a:gd name="T12" fmla="*/ 2147483647 w 1116"/>
              <a:gd name="T13" fmla="*/ 2147483647 h 624"/>
              <a:gd name="T14" fmla="*/ 2147483647 w 1116"/>
              <a:gd name="T15" fmla="*/ 2147483647 h 624"/>
              <a:gd name="T16" fmla="*/ 2147483647 w 1116"/>
              <a:gd name="T17" fmla="*/ 2147483647 h 624"/>
              <a:gd name="T18" fmla="*/ 2147483647 w 1116"/>
              <a:gd name="T19" fmla="*/ 2147483647 h 624"/>
              <a:gd name="T20" fmla="*/ 2147483647 w 1116"/>
              <a:gd name="T21" fmla="*/ 2147483647 h 624"/>
              <a:gd name="T22" fmla="*/ 2147483647 w 1116"/>
              <a:gd name="T23" fmla="*/ 2147483647 h 624"/>
              <a:gd name="T24" fmla="*/ 2147483647 w 1116"/>
              <a:gd name="T25" fmla="*/ 2147483647 h 624"/>
              <a:gd name="T26" fmla="*/ 2147483647 w 1116"/>
              <a:gd name="T27" fmla="*/ 2147483647 h 624"/>
              <a:gd name="T28" fmla="*/ 2147483647 w 1116"/>
              <a:gd name="T29" fmla="*/ 2147483647 h 624"/>
              <a:gd name="T30" fmla="*/ 2147483647 w 1116"/>
              <a:gd name="T31" fmla="*/ 2147483647 h 624"/>
              <a:gd name="T32" fmla="*/ 2147483647 w 1116"/>
              <a:gd name="T33" fmla="*/ 2147483647 h 624"/>
              <a:gd name="T34" fmla="*/ 2147483647 w 1116"/>
              <a:gd name="T35" fmla="*/ 2147483647 h 624"/>
              <a:gd name="T36" fmla="*/ 2147483647 w 1116"/>
              <a:gd name="T37" fmla="*/ 2147483647 h 624"/>
              <a:gd name="T38" fmla="*/ 2147483647 w 1116"/>
              <a:gd name="T39" fmla="*/ 2147483647 h 624"/>
              <a:gd name="T40" fmla="*/ 2147483647 w 1116"/>
              <a:gd name="T41" fmla="*/ 2147483647 h 624"/>
              <a:gd name="T42" fmla="*/ 2147483647 w 1116"/>
              <a:gd name="T43" fmla="*/ 2147483647 h 624"/>
              <a:gd name="T44" fmla="*/ 2147483647 w 1116"/>
              <a:gd name="T45" fmla="*/ 2147483647 h 624"/>
              <a:gd name="T46" fmla="*/ 2147483647 w 1116"/>
              <a:gd name="T47" fmla="*/ 2147483647 h 624"/>
              <a:gd name="T48" fmla="*/ 2147483647 w 1116"/>
              <a:gd name="T49" fmla="*/ 2147483647 h 624"/>
              <a:gd name="T50" fmla="*/ 2147483647 w 1116"/>
              <a:gd name="T51" fmla="*/ 2147483647 h 624"/>
              <a:gd name="T52" fmla="*/ 2147483647 w 1116"/>
              <a:gd name="T53" fmla="*/ 2147483647 h 624"/>
              <a:gd name="T54" fmla="*/ 2147483647 w 1116"/>
              <a:gd name="T55" fmla="*/ 2147483647 h 624"/>
              <a:gd name="T56" fmla="*/ 2147483647 w 1116"/>
              <a:gd name="T57" fmla="*/ 2147483647 h 624"/>
              <a:gd name="T58" fmla="*/ 2147483647 w 1116"/>
              <a:gd name="T59" fmla="*/ 2147483647 h 624"/>
              <a:gd name="T60" fmla="*/ 2147483647 w 1116"/>
              <a:gd name="T61" fmla="*/ 2147483647 h 624"/>
              <a:gd name="T62" fmla="*/ 2147483647 w 1116"/>
              <a:gd name="T63" fmla="*/ 2147483647 h 624"/>
              <a:gd name="T64" fmla="*/ 2147483647 w 1116"/>
              <a:gd name="T65" fmla="*/ 2147483647 h 624"/>
              <a:gd name="T66" fmla="*/ 2147483647 w 1116"/>
              <a:gd name="T67" fmla="*/ 2147483647 h 624"/>
              <a:gd name="T68" fmla="*/ 2147483647 w 1116"/>
              <a:gd name="T69" fmla="*/ 2147483647 h 624"/>
              <a:gd name="T70" fmla="*/ 2147483647 w 1116"/>
              <a:gd name="T71" fmla="*/ 2147483647 h 624"/>
              <a:gd name="T72" fmla="*/ 2147483647 w 1116"/>
              <a:gd name="T73" fmla="*/ 2147483647 h 624"/>
              <a:gd name="T74" fmla="*/ 2147483647 w 1116"/>
              <a:gd name="T75" fmla="*/ 2147483647 h 624"/>
              <a:gd name="T76" fmla="*/ 2147483647 w 1116"/>
              <a:gd name="T77" fmla="*/ 2147483647 h 624"/>
              <a:gd name="T78" fmla="*/ 2147483647 w 1116"/>
              <a:gd name="T79" fmla="*/ 2147483647 h 624"/>
              <a:gd name="T80" fmla="*/ 2147483647 w 1116"/>
              <a:gd name="T81" fmla="*/ 2147483647 h 624"/>
              <a:gd name="T82" fmla="*/ 2147483647 w 1116"/>
              <a:gd name="T83" fmla="*/ 2147483647 h 624"/>
              <a:gd name="T84" fmla="*/ 2147483647 w 1116"/>
              <a:gd name="T85" fmla="*/ 2147483647 h 624"/>
              <a:gd name="T86" fmla="*/ 2147483647 w 1116"/>
              <a:gd name="T87" fmla="*/ 2147483647 h 624"/>
              <a:gd name="T88" fmla="*/ 2147483647 w 1116"/>
              <a:gd name="T89" fmla="*/ 0 h 624"/>
              <a:gd name="T90" fmla="*/ 2147483647 w 1116"/>
              <a:gd name="T91" fmla="*/ 2147483647 h 624"/>
              <a:gd name="T92" fmla="*/ 2147483647 w 1116"/>
              <a:gd name="T93" fmla="*/ 2147483647 h 624"/>
              <a:gd name="T94" fmla="*/ 2147483647 w 1116"/>
              <a:gd name="T95" fmla="*/ 2147483647 h 624"/>
              <a:gd name="T96" fmla="*/ 2147483647 w 1116"/>
              <a:gd name="T97" fmla="*/ 2147483647 h 624"/>
              <a:gd name="T98" fmla="*/ 2147483647 w 1116"/>
              <a:gd name="T99" fmla="*/ 2147483647 h 624"/>
              <a:gd name="T100" fmla="*/ 2147483647 w 1116"/>
              <a:gd name="T101" fmla="*/ 2147483647 h 624"/>
              <a:gd name="T102" fmla="*/ 2147483647 w 1116"/>
              <a:gd name="T103" fmla="*/ 2147483647 h 624"/>
              <a:gd name="T104" fmla="*/ 2147483647 w 1116"/>
              <a:gd name="T105" fmla="*/ 2147483647 h 624"/>
              <a:gd name="T106" fmla="*/ 2147483647 w 1116"/>
              <a:gd name="T107" fmla="*/ 2147483647 h 624"/>
              <a:gd name="T108" fmla="*/ 2147483647 w 1116"/>
              <a:gd name="T109" fmla="*/ 2147483647 h 624"/>
              <a:gd name="T110" fmla="*/ 2147483647 w 1116"/>
              <a:gd name="T111" fmla="*/ 2147483647 h 624"/>
              <a:gd name="T112" fmla="*/ 2147483647 w 1116"/>
              <a:gd name="T113" fmla="*/ 2147483647 h 624"/>
              <a:gd name="T114" fmla="*/ 2147483647 w 1116"/>
              <a:gd name="T115" fmla="*/ 2147483647 h 624"/>
              <a:gd name="T116" fmla="*/ 2147483647 w 1116"/>
              <a:gd name="T117" fmla="*/ 2147483647 h 6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16"/>
              <a:gd name="T178" fmla="*/ 0 h 624"/>
              <a:gd name="T179" fmla="*/ 1116 w 1116"/>
              <a:gd name="T180" fmla="*/ 624 h 6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16" h="624">
                <a:moveTo>
                  <a:pt x="24" y="324"/>
                </a:moveTo>
                <a:lnTo>
                  <a:pt x="30" y="324"/>
                </a:lnTo>
                <a:lnTo>
                  <a:pt x="36" y="330"/>
                </a:lnTo>
                <a:lnTo>
                  <a:pt x="48" y="330"/>
                </a:lnTo>
                <a:lnTo>
                  <a:pt x="54" y="336"/>
                </a:lnTo>
                <a:lnTo>
                  <a:pt x="78" y="336"/>
                </a:lnTo>
                <a:lnTo>
                  <a:pt x="84" y="342"/>
                </a:lnTo>
                <a:lnTo>
                  <a:pt x="108" y="342"/>
                </a:lnTo>
                <a:lnTo>
                  <a:pt x="114" y="348"/>
                </a:lnTo>
                <a:lnTo>
                  <a:pt x="126" y="342"/>
                </a:lnTo>
                <a:lnTo>
                  <a:pt x="132" y="342"/>
                </a:lnTo>
                <a:lnTo>
                  <a:pt x="144" y="336"/>
                </a:lnTo>
                <a:lnTo>
                  <a:pt x="150" y="336"/>
                </a:lnTo>
                <a:lnTo>
                  <a:pt x="174" y="360"/>
                </a:lnTo>
                <a:lnTo>
                  <a:pt x="186" y="360"/>
                </a:lnTo>
                <a:lnTo>
                  <a:pt x="198" y="348"/>
                </a:lnTo>
                <a:lnTo>
                  <a:pt x="198" y="342"/>
                </a:lnTo>
                <a:lnTo>
                  <a:pt x="222" y="348"/>
                </a:lnTo>
                <a:lnTo>
                  <a:pt x="228" y="336"/>
                </a:lnTo>
                <a:lnTo>
                  <a:pt x="234" y="342"/>
                </a:lnTo>
                <a:lnTo>
                  <a:pt x="252" y="342"/>
                </a:lnTo>
                <a:lnTo>
                  <a:pt x="258" y="336"/>
                </a:lnTo>
                <a:lnTo>
                  <a:pt x="258" y="330"/>
                </a:lnTo>
                <a:lnTo>
                  <a:pt x="270" y="318"/>
                </a:lnTo>
                <a:lnTo>
                  <a:pt x="282" y="318"/>
                </a:lnTo>
                <a:lnTo>
                  <a:pt x="288" y="306"/>
                </a:lnTo>
                <a:lnTo>
                  <a:pt x="294" y="306"/>
                </a:lnTo>
                <a:lnTo>
                  <a:pt x="306" y="312"/>
                </a:lnTo>
                <a:lnTo>
                  <a:pt x="318" y="312"/>
                </a:lnTo>
                <a:lnTo>
                  <a:pt x="318" y="306"/>
                </a:lnTo>
                <a:lnTo>
                  <a:pt x="324" y="306"/>
                </a:lnTo>
                <a:lnTo>
                  <a:pt x="336" y="300"/>
                </a:lnTo>
                <a:lnTo>
                  <a:pt x="342" y="300"/>
                </a:lnTo>
                <a:lnTo>
                  <a:pt x="354" y="312"/>
                </a:lnTo>
                <a:lnTo>
                  <a:pt x="360" y="312"/>
                </a:lnTo>
                <a:lnTo>
                  <a:pt x="360" y="318"/>
                </a:lnTo>
                <a:lnTo>
                  <a:pt x="402" y="318"/>
                </a:lnTo>
                <a:lnTo>
                  <a:pt x="408" y="324"/>
                </a:lnTo>
                <a:lnTo>
                  <a:pt x="408" y="336"/>
                </a:lnTo>
                <a:lnTo>
                  <a:pt x="426" y="336"/>
                </a:lnTo>
                <a:lnTo>
                  <a:pt x="438" y="342"/>
                </a:lnTo>
                <a:lnTo>
                  <a:pt x="444" y="348"/>
                </a:lnTo>
                <a:lnTo>
                  <a:pt x="450" y="360"/>
                </a:lnTo>
                <a:lnTo>
                  <a:pt x="444" y="366"/>
                </a:lnTo>
                <a:lnTo>
                  <a:pt x="444" y="390"/>
                </a:lnTo>
                <a:lnTo>
                  <a:pt x="456" y="384"/>
                </a:lnTo>
                <a:lnTo>
                  <a:pt x="462" y="384"/>
                </a:lnTo>
                <a:lnTo>
                  <a:pt x="468" y="390"/>
                </a:lnTo>
                <a:lnTo>
                  <a:pt x="462" y="396"/>
                </a:lnTo>
                <a:lnTo>
                  <a:pt x="462" y="414"/>
                </a:lnTo>
                <a:lnTo>
                  <a:pt x="474" y="414"/>
                </a:lnTo>
                <a:lnTo>
                  <a:pt x="480" y="420"/>
                </a:lnTo>
                <a:lnTo>
                  <a:pt x="492" y="420"/>
                </a:lnTo>
                <a:lnTo>
                  <a:pt x="498" y="426"/>
                </a:lnTo>
                <a:lnTo>
                  <a:pt x="498" y="456"/>
                </a:lnTo>
                <a:lnTo>
                  <a:pt x="492" y="456"/>
                </a:lnTo>
                <a:lnTo>
                  <a:pt x="480" y="462"/>
                </a:lnTo>
                <a:lnTo>
                  <a:pt x="462" y="462"/>
                </a:lnTo>
                <a:lnTo>
                  <a:pt x="456" y="456"/>
                </a:lnTo>
                <a:lnTo>
                  <a:pt x="438" y="456"/>
                </a:lnTo>
                <a:lnTo>
                  <a:pt x="432" y="462"/>
                </a:lnTo>
                <a:lnTo>
                  <a:pt x="432" y="468"/>
                </a:lnTo>
                <a:lnTo>
                  <a:pt x="438" y="468"/>
                </a:lnTo>
                <a:lnTo>
                  <a:pt x="450" y="474"/>
                </a:lnTo>
                <a:lnTo>
                  <a:pt x="456" y="480"/>
                </a:lnTo>
                <a:lnTo>
                  <a:pt x="438" y="492"/>
                </a:lnTo>
                <a:lnTo>
                  <a:pt x="432" y="498"/>
                </a:lnTo>
                <a:lnTo>
                  <a:pt x="420" y="504"/>
                </a:lnTo>
                <a:lnTo>
                  <a:pt x="414" y="504"/>
                </a:lnTo>
                <a:lnTo>
                  <a:pt x="414" y="516"/>
                </a:lnTo>
                <a:lnTo>
                  <a:pt x="420" y="522"/>
                </a:lnTo>
                <a:lnTo>
                  <a:pt x="420" y="534"/>
                </a:lnTo>
                <a:lnTo>
                  <a:pt x="396" y="540"/>
                </a:lnTo>
                <a:lnTo>
                  <a:pt x="390" y="528"/>
                </a:lnTo>
                <a:lnTo>
                  <a:pt x="390" y="516"/>
                </a:lnTo>
                <a:lnTo>
                  <a:pt x="390" y="528"/>
                </a:lnTo>
                <a:lnTo>
                  <a:pt x="396" y="540"/>
                </a:lnTo>
                <a:lnTo>
                  <a:pt x="396" y="546"/>
                </a:lnTo>
                <a:lnTo>
                  <a:pt x="408" y="552"/>
                </a:lnTo>
                <a:lnTo>
                  <a:pt x="438" y="552"/>
                </a:lnTo>
                <a:lnTo>
                  <a:pt x="444" y="546"/>
                </a:lnTo>
                <a:lnTo>
                  <a:pt x="450" y="546"/>
                </a:lnTo>
                <a:lnTo>
                  <a:pt x="456" y="540"/>
                </a:lnTo>
                <a:lnTo>
                  <a:pt x="474" y="540"/>
                </a:lnTo>
                <a:lnTo>
                  <a:pt x="480" y="534"/>
                </a:lnTo>
                <a:lnTo>
                  <a:pt x="486" y="534"/>
                </a:lnTo>
                <a:lnTo>
                  <a:pt x="480" y="528"/>
                </a:lnTo>
                <a:lnTo>
                  <a:pt x="486" y="528"/>
                </a:lnTo>
                <a:lnTo>
                  <a:pt x="492" y="522"/>
                </a:lnTo>
                <a:lnTo>
                  <a:pt x="510" y="516"/>
                </a:lnTo>
                <a:lnTo>
                  <a:pt x="522" y="510"/>
                </a:lnTo>
                <a:lnTo>
                  <a:pt x="528" y="504"/>
                </a:lnTo>
                <a:lnTo>
                  <a:pt x="534" y="492"/>
                </a:lnTo>
                <a:lnTo>
                  <a:pt x="540" y="486"/>
                </a:lnTo>
                <a:lnTo>
                  <a:pt x="546" y="474"/>
                </a:lnTo>
                <a:lnTo>
                  <a:pt x="552" y="468"/>
                </a:lnTo>
                <a:lnTo>
                  <a:pt x="552" y="462"/>
                </a:lnTo>
                <a:lnTo>
                  <a:pt x="582" y="450"/>
                </a:lnTo>
                <a:lnTo>
                  <a:pt x="600" y="438"/>
                </a:lnTo>
                <a:lnTo>
                  <a:pt x="612" y="444"/>
                </a:lnTo>
                <a:lnTo>
                  <a:pt x="624" y="444"/>
                </a:lnTo>
                <a:lnTo>
                  <a:pt x="636" y="450"/>
                </a:lnTo>
                <a:lnTo>
                  <a:pt x="654" y="450"/>
                </a:lnTo>
                <a:lnTo>
                  <a:pt x="666" y="438"/>
                </a:lnTo>
                <a:lnTo>
                  <a:pt x="648" y="462"/>
                </a:lnTo>
                <a:lnTo>
                  <a:pt x="624" y="462"/>
                </a:lnTo>
                <a:lnTo>
                  <a:pt x="630" y="468"/>
                </a:lnTo>
                <a:lnTo>
                  <a:pt x="642" y="474"/>
                </a:lnTo>
                <a:lnTo>
                  <a:pt x="654" y="486"/>
                </a:lnTo>
                <a:lnTo>
                  <a:pt x="726" y="486"/>
                </a:lnTo>
                <a:lnTo>
                  <a:pt x="738" y="504"/>
                </a:lnTo>
                <a:lnTo>
                  <a:pt x="726" y="510"/>
                </a:lnTo>
                <a:lnTo>
                  <a:pt x="720" y="516"/>
                </a:lnTo>
                <a:lnTo>
                  <a:pt x="684" y="534"/>
                </a:lnTo>
                <a:lnTo>
                  <a:pt x="678" y="540"/>
                </a:lnTo>
                <a:lnTo>
                  <a:pt x="678" y="546"/>
                </a:lnTo>
                <a:lnTo>
                  <a:pt x="684" y="546"/>
                </a:lnTo>
                <a:lnTo>
                  <a:pt x="690" y="552"/>
                </a:lnTo>
                <a:lnTo>
                  <a:pt x="720" y="552"/>
                </a:lnTo>
                <a:lnTo>
                  <a:pt x="732" y="558"/>
                </a:lnTo>
                <a:lnTo>
                  <a:pt x="744" y="570"/>
                </a:lnTo>
                <a:lnTo>
                  <a:pt x="744" y="594"/>
                </a:lnTo>
                <a:lnTo>
                  <a:pt x="738" y="606"/>
                </a:lnTo>
                <a:lnTo>
                  <a:pt x="738" y="618"/>
                </a:lnTo>
                <a:lnTo>
                  <a:pt x="756" y="618"/>
                </a:lnTo>
                <a:lnTo>
                  <a:pt x="768" y="624"/>
                </a:lnTo>
                <a:lnTo>
                  <a:pt x="780" y="624"/>
                </a:lnTo>
                <a:lnTo>
                  <a:pt x="780" y="618"/>
                </a:lnTo>
                <a:lnTo>
                  <a:pt x="792" y="606"/>
                </a:lnTo>
                <a:lnTo>
                  <a:pt x="804" y="600"/>
                </a:lnTo>
                <a:lnTo>
                  <a:pt x="810" y="594"/>
                </a:lnTo>
                <a:lnTo>
                  <a:pt x="840" y="594"/>
                </a:lnTo>
                <a:lnTo>
                  <a:pt x="858" y="576"/>
                </a:lnTo>
                <a:lnTo>
                  <a:pt x="858" y="570"/>
                </a:lnTo>
                <a:lnTo>
                  <a:pt x="864" y="564"/>
                </a:lnTo>
                <a:lnTo>
                  <a:pt x="870" y="564"/>
                </a:lnTo>
                <a:lnTo>
                  <a:pt x="882" y="576"/>
                </a:lnTo>
                <a:lnTo>
                  <a:pt x="918" y="570"/>
                </a:lnTo>
                <a:lnTo>
                  <a:pt x="918" y="552"/>
                </a:lnTo>
                <a:lnTo>
                  <a:pt x="930" y="540"/>
                </a:lnTo>
                <a:lnTo>
                  <a:pt x="900" y="540"/>
                </a:lnTo>
                <a:lnTo>
                  <a:pt x="894" y="546"/>
                </a:lnTo>
                <a:lnTo>
                  <a:pt x="882" y="552"/>
                </a:lnTo>
                <a:lnTo>
                  <a:pt x="852" y="552"/>
                </a:lnTo>
                <a:lnTo>
                  <a:pt x="846" y="546"/>
                </a:lnTo>
                <a:lnTo>
                  <a:pt x="834" y="540"/>
                </a:lnTo>
                <a:lnTo>
                  <a:pt x="828" y="534"/>
                </a:lnTo>
                <a:lnTo>
                  <a:pt x="828" y="522"/>
                </a:lnTo>
                <a:lnTo>
                  <a:pt x="822" y="516"/>
                </a:lnTo>
                <a:lnTo>
                  <a:pt x="810" y="516"/>
                </a:lnTo>
                <a:lnTo>
                  <a:pt x="786" y="498"/>
                </a:lnTo>
                <a:lnTo>
                  <a:pt x="750" y="492"/>
                </a:lnTo>
                <a:lnTo>
                  <a:pt x="744" y="480"/>
                </a:lnTo>
                <a:lnTo>
                  <a:pt x="810" y="480"/>
                </a:lnTo>
                <a:lnTo>
                  <a:pt x="822" y="474"/>
                </a:lnTo>
                <a:lnTo>
                  <a:pt x="834" y="462"/>
                </a:lnTo>
                <a:lnTo>
                  <a:pt x="846" y="468"/>
                </a:lnTo>
                <a:lnTo>
                  <a:pt x="852" y="462"/>
                </a:lnTo>
                <a:lnTo>
                  <a:pt x="864" y="456"/>
                </a:lnTo>
                <a:lnTo>
                  <a:pt x="870" y="450"/>
                </a:lnTo>
                <a:lnTo>
                  <a:pt x="882" y="444"/>
                </a:lnTo>
                <a:lnTo>
                  <a:pt x="906" y="444"/>
                </a:lnTo>
                <a:lnTo>
                  <a:pt x="918" y="438"/>
                </a:lnTo>
                <a:lnTo>
                  <a:pt x="930" y="438"/>
                </a:lnTo>
                <a:lnTo>
                  <a:pt x="978" y="408"/>
                </a:lnTo>
                <a:lnTo>
                  <a:pt x="1014" y="408"/>
                </a:lnTo>
                <a:lnTo>
                  <a:pt x="1014" y="372"/>
                </a:lnTo>
                <a:lnTo>
                  <a:pt x="1032" y="372"/>
                </a:lnTo>
                <a:lnTo>
                  <a:pt x="1038" y="366"/>
                </a:lnTo>
                <a:lnTo>
                  <a:pt x="1038" y="360"/>
                </a:lnTo>
                <a:lnTo>
                  <a:pt x="1050" y="348"/>
                </a:lnTo>
                <a:lnTo>
                  <a:pt x="1080" y="348"/>
                </a:lnTo>
                <a:lnTo>
                  <a:pt x="1092" y="342"/>
                </a:lnTo>
                <a:lnTo>
                  <a:pt x="1104" y="342"/>
                </a:lnTo>
                <a:lnTo>
                  <a:pt x="1116" y="330"/>
                </a:lnTo>
                <a:lnTo>
                  <a:pt x="1116" y="324"/>
                </a:lnTo>
                <a:lnTo>
                  <a:pt x="1110" y="312"/>
                </a:lnTo>
                <a:lnTo>
                  <a:pt x="1110" y="300"/>
                </a:lnTo>
                <a:lnTo>
                  <a:pt x="1098" y="294"/>
                </a:lnTo>
                <a:lnTo>
                  <a:pt x="1086" y="282"/>
                </a:lnTo>
                <a:lnTo>
                  <a:pt x="1092" y="276"/>
                </a:lnTo>
                <a:lnTo>
                  <a:pt x="1110" y="276"/>
                </a:lnTo>
                <a:lnTo>
                  <a:pt x="1116" y="270"/>
                </a:lnTo>
                <a:lnTo>
                  <a:pt x="1110" y="264"/>
                </a:lnTo>
                <a:lnTo>
                  <a:pt x="1104" y="264"/>
                </a:lnTo>
                <a:lnTo>
                  <a:pt x="1098" y="258"/>
                </a:lnTo>
                <a:lnTo>
                  <a:pt x="1092" y="258"/>
                </a:lnTo>
                <a:lnTo>
                  <a:pt x="1110" y="246"/>
                </a:lnTo>
                <a:lnTo>
                  <a:pt x="1110" y="222"/>
                </a:lnTo>
                <a:lnTo>
                  <a:pt x="1104" y="216"/>
                </a:lnTo>
                <a:lnTo>
                  <a:pt x="1080" y="216"/>
                </a:lnTo>
                <a:lnTo>
                  <a:pt x="1062" y="204"/>
                </a:lnTo>
                <a:lnTo>
                  <a:pt x="1056" y="198"/>
                </a:lnTo>
                <a:lnTo>
                  <a:pt x="1056" y="192"/>
                </a:lnTo>
                <a:lnTo>
                  <a:pt x="1014" y="192"/>
                </a:lnTo>
                <a:lnTo>
                  <a:pt x="1002" y="186"/>
                </a:lnTo>
                <a:lnTo>
                  <a:pt x="996" y="180"/>
                </a:lnTo>
                <a:lnTo>
                  <a:pt x="978" y="180"/>
                </a:lnTo>
                <a:lnTo>
                  <a:pt x="966" y="186"/>
                </a:lnTo>
                <a:lnTo>
                  <a:pt x="942" y="162"/>
                </a:lnTo>
                <a:lnTo>
                  <a:pt x="936" y="150"/>
                </a:lnTo>
                <a:lnTo>
                  <a:pt x="924" y="150"/>
                </a:lnTo>
                <a:lnTo>
                  <a:pt x="918" y="156"/>
                </a:lnTo>
                <a:lnTo>
                  <a:pt x="918" y="162"/>
                </a:lnTo>
                <a:lnTo>
                  <a:pt x="912" y="156"/>
                </a:lnTo>
                <a:lnTo>
                  <a:pt x="864" y="156"/>
                </a:lnTo>
                <a:lnTo>
                  <a:pt x="858" y="150"/>
                </a:lnTo>
                <a:lnTo>
                  <a:pt x="846" y="150"/>
                </a:lnTo>
                <a:lnTo>
                  <a:pt x="840" y="144"/>
                </a:lnTo>
                <a:lnTo>
                  <a:pt x="816" y="150"/>
                </a:lnTo>
                <a:lnTo>
                  <a:pt x="810" y="150"/>
                </a:lnTo>
                <a:lnTo>
                  <a:pt x="798" y="102"/>
                </a:lnTo>
                <a:lnTo>
                  <a:pt x="756" y="84"/>
                </a:lnTo>
                <a:lnTo>
                  <a:pt x="720" y="84"/>
                </a:lnTo>
                <a:lnTo>
                  <a:pt x="720" y="66"/>
                </a:lnTo>
                <a:lnTo>
                  <a:pt x="714" y="48"/>
                </a:lnTo>
                <a:lnTo>
                  <a:pt x="720" y="48"/>
                </a:lnTo>
                <a:lnTo>
                  <a:pt x="726" y="42"/>
                </a:lnTo>
                <a:lnTo>
                  <a:pt x="726" y="30"/>
                </a:lnTo>
                <a:lnTo>
                  <a:pt x="720" y="30"/>
                </a:lnTo>
                <a:lnTo>
                  <a:pt x="708" y="24"/>
                </a:lnTo>
                <a:lnTo>
                  <a:pt x="702" y="18"/>
                </a:lnTo>
                <a:lnTo>
                  <a:pt x="696" y="18"/>
                </a:lnTo>
                <a:lnTo>
                  <a:pt x="690" y="0"/>
                </a:lnTo>
                <a:lnTo>
                  <a:pt x="642" y="0"/>
                </a:lnTo>
                <a:lnTo>
                  <a:pt x="630" y="6"/>
                </a:lnTo>
                <a:lnTo>
                  <a:pt x="600" y="6"/>
                </a:lnTo>
                <a:lnTo>
                  <a:pt x="600" y="18"/>
                </a:lnTo>
                <a:lnTo>
                  <a:pt x="594" y="24"/>
                </a:lnTo>
                <a:lnTo>
                  <a:pt x="558" y="24"/>
                </a:lnTo>
                <a:lnTo>
                  <a:pt x="546" y="18"/>
                </a:lnTo>
                <a:lnTo>
                  <a:pt x="516" y="18"/>
                </a:lnTo>
                <a:lnTo>
                  <a:pt x="510" y="30"/>
                </a:lnTo>
                <a:lnTo>
                  <a:pt x="498" y="36"/>
                </a:lnTo>
                <a:lnTo>
                  <a:pt x="492" y="42"/>
                </a:lnTo>
                <a:lnTo>
                  <a:pt x="486" y="54"/>
                </a:lnTo>
                <a:lnTo>
                  <a:pt x="492" y="60"/>
                </a:lnTo>
                <a:lnTo>
                  <a:pt x="492" y="72"/>
                </a:lnTo>
                <a:lnTo>
                  <a:pt x="486" y="78"/>
                </a:lnTo>
                <a:lnTo>
                  <a:pt x="468" y="78"/>
                </a:lnTo>
                <a:lnTo>
                  <a:pt x="462" y="72"/>
                </a:lnTo>
                <a:lnTo>
                  <a:pt x="438" y="72"/>
                </a:lnTo>
                <a:lnTo>
                  <a:pt x="426" y="78"/>
                </a:lnTo>
                <a:lnTo>
                  <a:pt x="420" y="78"/>
                </a:lnTo>
                <a:lnTo>
                  <a:pt x="420" y="66"/>
                </a:lnTo>
                <a:lnTo>
                  <a:pt x="414" y="60"/>
                </a:lnTo>
                <a:lnTo>
                  <a:pt x="396" y="60"/>
                </a:lnTo>
                <a:lnTo>
                  <a:pt x="390" y="66"/>
                </a:lnTo>
                <a:lnTo>
                  <a:pt x="390" y="72"/>
                </a:lnTo>
                <a:lnTo>
                  <a:pt x="378" y="60"/>
                </a:lnTo>
                <a:lnTo>
                  <a:pt x="366" y="66"/>
                </a:lnTo>
                <a:lnTo>
                  <a:pt x="360" y="60"/>
                </a:lnTo>
                <a:lnTo>
                  <a:pt x="342" y="66"/>
                </a:lnTo>
                <a:lnTo>
                  <a:pt x="336" y="54"/>
                </a:lnTo>
                <a:lnTo>
                  <a:pt x="324" y="66"/>
                </a:lnTo>
                <a:lnTo>
                  <a:pt x="306" y="54"/>
                </a:lnTo>
                <a:lnTo>
                  <a:pt x="300" y="60"/>
                </a:lnTo>
                <a:lnTo>
                  <a:pt x="282" y="48"/>
                </a:lnTo>
                <a:lnTo>
                  <a:pt x="258" y="42"/>
                </a:lnTo>
                <a:lnTo>
                  <a:pt x="222" y="42"/>
                </a:lnTo>
                <a:lnTo>
                  <a:pt x="216" y="36"/>
                </a:lnTo>
                <a:lnTo>
                  <a:pt x="216" y="30"/>
                </a:lnTo>
                <a:lnTo>
                  <a:pt x="168" y="30"/>
                </a:lnTo>
                <a:lnTo>
                  <a:pt x="162" y="36"/>
                </a:lnTo>
                <a:lnTo>
                  <a:pt x="150" y="42"/>
                </a:lnTo>
                <a:lnTo>
                  <a:pt x="114" y="42"/>
                </a:lnTo>
                <a:lnTo>
                  <a:pt x="114" y="48"/>
                </a:lnTo>
                <a:lnTo>
                  <a:pt x="96" y="66"/>
                </a:lnTo>
                <a:lnTo>
                  <a:pt x="78" y="66"/>
                </a:lnTo>
                <a:lnTo>
                  <a:pt x="66" y="60"/>
                </a:lnTo>
                <a:lnTo>
                  <a:pt x="72" y="78"/>
                </a:lnTo>
                <a:lnTo>
                  <a:pt x="90" y="96"/>
                </a:lnTo>
                <a:lnTo>
                  <a:pt x="90" y="102"/>
                </a:lnTo>
                <a:lnTo>
                  <a:pt x="102" y="108"/>
                </a:lnTo>
                <a:lnTo>
                  <a:pt x="108" y="114"/>
                </a:lnTo>
                <a:lnTo>
                  <a:pt x="102" y="126"/>
                </a:lnTo>
                <a:lnTo>
                  <a:pt x="108" y="132"/>
                </a:lnTo>
                <a:lnTo>
                  <a:pt x="108" y="138"/>
                </a:lnTo>
                <a:lnTo>
                  <a:pt x="114" y="144"/>
                </a:lnTo>
                <a:lnTo>
                  <a:pt x="108" y="150"/>
                </a:lnTo>
                <a:lnTo>
                  <a:pt x="102" y="150"/>
                </a:lnTo>
                <a:lnTo>
                  <a:pt x="96" y="156"/>
                </a:lnTo>
                <a:lnTo>
                  <a:pt x="84" y="156"/>
                </a:lnTo>
                <a:lnTo>
                  <a:pt x="30" y="204"/>
                </a:lnTo>
                <a:lnTo>
                  <a:pt x="30" y="246"/>
                </a:lnTo>
                <a:lnTo>
                  <a:pt x="42" y="258"/>
                </a:lnTo>
                <a:lnTo>
                  <a:pt x="18" y="258"/>
                </a:lnTo>
                <a:lnTo>
                  <a:pt x="18" y="270"/>
                </a:lnTo>
                <a:lnTo>
                  <a:pt x="12" y="276"/>
                </a:lnTo>
                <a:lnTo>
                  <a:pt x="12" y="282"/>
                </a:lnTo>
                <a:lnTo>
                  <a:pt x="6" y="288"/>
                </a:lnTo>
                <a:lnTo>
                  <a:pt x="0" y="288"/>
                </a:lnTo>
                <a:lnTo>
                  <a:pt x="0" y="306"/>
                </a:lnTo>
                <a:lnTo>
                  <a:pt x="6" y="306"/>
                </a:lnTo>
                <a:lnTo>
                  <a:pt x="24" y="3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8" name="Uganda"/>
          <p:cNvSpPr>
            <a:spLocks noEditPoints="1"/>
          </p:cNvSpPr>
          <p:nvPr/>
        </p:nvSpPr>
        <p:spPr bwMode="gray">
          <a:xfrm>
            <a:off x="4864958" y="4124993"/>
            <a:ext cx="157163" cy="185737"/>
          </a:xfrm>
          <a:custGeom>
            <a:avLst/>
            <a:gdLst>
              <a:gd name="T0" fmla="*/ 2147483647 w 390"/>
              <a:gd name="T1" fmla="*/ 2147483647 h 462"/>
              <a:gd name="T2" fmla="*/ 2147483647 w 390"/>
              <a:gd name="T3" fmla="*/ 2147483647 h 462"/>
              <a:gd name="T4" fmla="*/ 2147483647 w 390"/>
              <a:gd name="T5" fmla="*/ 2147483647 h 462"/>
              <a:gd name="T6" fmla="*/ 2147483647 w 390"/>
              <a:gd name="T7" fmla="*/ 2147483647 h 462"/>
              <a:gd name="T8" fmla="*/ 2147483647 w 390"/>
              <a:gd name="T9" fmla="*/ 2147483647 h 462"/>
              <a:gd name="T10" fmla="*/ 2147483647 w 390"/>
              <a:gd name="T11" fmla="*/ 2147483647 h 462"/>
              <a:gd name="T12" fmla="*/ 2147483647 w 390"/>
              <a:gd name="T13" fmla="*/ 2147483647 h 462"/>
              <a:gd name="T14" fmla="*/ 2147483647 w 390"/>
              <a:gd name="T15" fmla="*/ 2147483647 h 462"/>
              <a:gd name="T16" fmla="*/ 2147483647 w 390"/>
              <a:gd name="T17" fmla="*/ 2147483647 h 462"/>
              <a:gd name="T18" fmla="*/ 2147483647 w 390"/>
              <a:gd name="T19" fmla="*/ 2147483647 h 462"/>
              <a:gd name="T20" fmla="*/ 2147483647 w 390"/>
              <a:gd name="T21" fmla="*/ 2147483647 h 462"/>
              <a:gd name="T22" fmla="*/ 2147483647 w 390"/>
              <a:gd name="T23" fmla="*/ 2147483647 h 462"/>
              <a:gd name="T24" fmla="*/ 2147483647 w 390"/>
              <a:gd name="T25" fmla="*/ 0 h 462"/>
              <a:gd name="T26" fmla="*/ 2147483647 w 390"/>
              <a:gd name="T27" fmla="*/ 2147483647 h 462"/>
              <a:gd name="T28" fmla="*/ 2147483647 w 390"/>
              <a:gd name="T29" fmla="*/ 2147483647 h 462"/>
              <a:gd name="T30" fmla="*/ 2147483647 w 390"/>
              <a:gd name="T31" fmla="*/ 2147483647 h 462"/>
              <a:gd name="T32" fmla="*/ 2147483647 w 390"/>
              <a:gd name="T33" fmla="*/ 2147483647 h 462"/>
              <a:gd name="T34" fmla="*/ 2147483647 w 390"/>
              <a:gd name="T35" fmla="*/ 2147483647 h 462"/>
              <a:gd name="T36" fmla="*/ 2147483647 w 390"/>
              <a:gd name="T37" fmla="*/ 2147483647 h 462"/>
              <a:gd name="T38" fmla="*/ 2147483647 w 390"/>
              <a:gd name="T39" fmla="*/ 2147483647 h 462"/>
              <a:gd name="T40" fmla="*/ 2147483647 w 390"/>
              <a:gd name="T41" fmla="*/ 2147483647 h 462"/>
              <a:gd name="T42" fmla="*/ 2147483647 w 390"/>
              <a:gd name="T43" fmla="*/ 2147483647 h 462"/>
              <a:gd name="T44" fmla="*/ 2147483647 w 390"/>
              <a:gd name="T45" fmla="*/ 2147483647 h 462"/>
              <a:gd name="T46" fmla="*/ 2147483647 w 390"/>
              <a:gd name="T47" fmla="*/ 2147483647 h 462"/>
              <a:gd name="T48" fmla="*/ 2147483647 w 390"/>
              <a:gd name="T49" fmla="*/ 2147483647 h 462"/>
              <a:gd name="T50" fmla="*/ 2147483647 w 390"/>
              <a:gd name="T51" fmla="*/ 2147483647 h 462"/>
              <a:gd name="T52" fmla="*/ 2147483647 w 390"/>
              <a:gd name="T53" fmla="*/ 2147483647 h 462"/>
              <a:gd name="T54" fmla="*/ 2147483647 w 390"/>
              <a:gd name="T55" fmla="*/ 2147483647 h 462"/>
              <a:gd name="T56" fmla="*/ 2147483647 w 390"/>
              <a:gd name="T57" fmla="*/ 2147483647 h 462"/>
              <a:gd name="T58" fmla="*/ 2147483647 w 390"/>
              <a:gd name="T59" fmla="*/ 2147483647 h 462"/>
              <a:gd name="T60" fmla="*/ 2147483647 w 390"/>
              <a:gd name="T61" fmla="*/ 2147483647 h 462"/>
              <a:gd name="T62" fmla="*/ 2147483647 w 390"/>
              <a:gd name="T63" fmla="*/ 2147483647 h 462"/>
              <a:gd name="T64" fmla="*/ 2147483647 w 390"/>
              <a:gd name="T65" fmla="*/ 2147483647 h 462"/>
              <a:gd name="T66" fmla="*/ 2147483647 w 390"/>
              <a:gd name="T67" fmla="*/ 2147483647 h 462"/>
              <a:gd name="T68" fmla="*/ 2147483647 w 390"/>
              <a:gd name="T69" fmla="*/ 2147483647 h 462"/>
              <a:gd name="T70" fmla="*/ 2147483647 w 390"/>
              <a:gd name="T71" fmla="*/ 2147483647 h 462"/>
              <a:gd name="T72" fmla="*/ 2147483647 w 390"/>
              <a:gd name="T73" fmla="*/ 2147483647 h 462"/>
              <a:gd name="T74" fmla="*/ 2147483647 w 390"/>
              <a:gd name="T75" fmla="*/ 2147483647 h 462"/>
              <a:gd name="T76" fmla="*/ 2147483647 w 390"/>
              <a:gd name="T77" fmla="*/ 2147483647 h 462"/>
              <a:gd name="T78" fmla="*/ 2147483647 w 390"/>
              <a:gd name="T79" fmla="*/ 2147483647 h 462"/>
              <a:gd name="T80" fmla="*/ 2147483647 w 390"/>
              <a:gd name="T81" fmla="*/ 2147483647 h 462"/>
              <a:gd name="T82" fmla="*/ 2147483647 w 390"/>
              <a:gd name="T83" fmla="*/ 2147483647 h 462"/>
              <a:gd name="T84" fmla="*/ 2147483647 w 390"/>
              <a:gd name="T85" fmla="*/ 2147483647 h 462"/>
              <a:gd name="T86" fmla="*/ 2147483647 w 390"/>
              <a:gd name="T87" fmla="*/ 2147483647 h 462"/>
              <a:gd name="T88" fmla="*/ 2147483647 w 390"/>
              <a:gd name="T89" fmla="*/ 2147483647 h 462"/>
              <a:gd name="T90" fmla="*/ 2147483647 w 390"/>
              <a:gd name="T91" fmla="*/ 2147483647 h 462"/>
              <a:gd name="T92" fmla="*/ 2147483647 w 390"/>
              <a:gd name="T93" fmla="*/ 2147483647 h 462"/>
              <a:gd name="T94" fmla="*/ 2147483647 w 390"/>
              <a:gd name="T95" fmla="*/ 2147483647 h 462"/>
              <a:gd name="T96" fmla="*/ 2147483647 w 390"/>
              <a:gd name="T97" fmla="*/ 2147483647 h 462"/>
              <a:gd name="T98" fmla="*/ 2147483647 w 390"/>
              <a:gd name="T99" fmla="*/ 2147483647 h 462"/>
              <a:gd name="T100" fmla="*/ 2147483647 w 390"/>
              <a:gd name="T101" fmla="*/ 2147483647 h 462"/>
              <a:gd name="T102" fmla="*/ 2147483647 w 390"/>
              <a:gd name="T103" fmla="*/ 2147483647 h 462"/>
              <a:gd name="T104" fmla="*/ 2147483647 w 390"/>
              <a:gd name="T105" fmla="*/ 2147483647 h 462"/>
              <a:gd name="T106" fmla="*/ 2147483647 w 390"/>
              <a:gd name="T107" fmla="*/ 2147483647 h 46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90"/>
              <a:gd name="T163" fmla="*/ 0 h 462"/>
              <a:gd name="T164" fmla="*/ 390 w 390"/>
              <a:gd name="T165" fmla="*/ 462 h 46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90" h="462">
                <a:moveTo>
                  <a:pt x="306" y="426"/>
                </a:moveTo>
                <a:lnTo>
                  <a:pt x="318" y="426"/>
                </a:lnTo>
                <a:lnTo>
                  <a:pt x="318" y="420"/>
                </a:lnTo>
                <a:lnTo>
                  <a:pt x="306" y="420"/>
                </a:lnTo>
                <a:lnTo>
                  <a:pt x="306" y="426"/>
                </a:lnTo>
                <a:close/>
                <a:moveTo>
                  <a:pt x="390" y="192"/>
                </a:moveTo>
                <a:lnTo>
                  <a:pt x="384" y="180"/>
                </a:lnTo>
                <a:lnTo>
                  <a:pt x="378" y="174"/>
                </a:lnTo>
                <a:lnTo>
                  <a:pt x="366" y="150"/>
                </a:lnTo>
                <a:lnTo>
                  <a:pt x="366" y="144"/>
                </a:lnTo>
                <a:lnTo>
                  <a:pt x="372" y="138"/>
                </a:lnTo>
                <a:lnTo>
                  <a:pt x="378" y="138"/>
                </a:lnTo>
                <a:lnTo>
                  <a:pt x="384" y="132"/>
                </a:lnTo>
                <a:lnTo>
                  <a:pt x="348" y="90"/>
                </a:lnTo>
                <a:lnTo>
                  <a:pt x="354" y="84"/>
                </a:lnTo>
                <a:lnTo>
                  <a:pt x="336" y="66"/>
                </a:lnTo>
                <a:lnTo>
                  <a:pt x="336" y="60"/>
                </a:lnTo>
                <a:lnTo>
                  <a:pt x="342" y="54"/>
                </a:lnTo>
                <a:lnTo>
                  <a:pt x="342" y="42"/>
                </a:lnTo>
                <a:lnTo>
                  <a:pt x="336" y="42"/>
                </a:lnTo>
                <a:lnTo>
                  <a:pt x="336" y="48"/>
                </a:lnTo>
                <a:lnTo>
                  <a:pt x="330" y="42"/>
                </a:lnTo>
                <a:lnTo>
                  <a:pt x="324" y="42"/>
                </a:lnTo>
                <a:lnTo>
                  <a:pt x="324" y="18"/>
                </a:lnTo>
                <a:lnTo>
                  <a:pt x="318" y="6"/>
                </a:lnTo>
                <a:lnTo>
                  <a:pt x="312" y="0"/>
                </a:lnTo>
                <a:lnTo>
                  <a:pt x="300" y="0"/>
                </a:lnTo>
                <a:lnTo>
                  <a:pt x="300" y="6"/>
                </a:lnTo>
                <a:lnTo>
                  <a:pt x="294" y="12"/>
                </a:lnTo>
                <a:lnTo>
                  <a:pt x="294" y="18"/>
                </a:lnTo>
                <a:lnTo>
                  <a:pt x="276" y="36"/>
                </a:lnTo>
                <a:lnTo>
                  <a:pt x="252" y="36"/>
                </a:lnTo>
                <a:lnTo>
                  <a:pt x="246" y="30"/>
                </a:lnTo>
                <a:lnTo>
                  <a:pt x="246" y="24"/>
                </a:lnTo>
                <a:lnTo>
                  <a:pt x="234" y="24"/>
                </a:lnTo>
                <a:lnTo>
                  <a:pt x="222" y="36"/>
                </a:lnTo>
                <a:lnTo>
                  <a:pt x="198" y="36"/>
                </a:lnTo>
                <a:lnTo>
                  <a:pt x="180" y="60"/>
                </a:lnTo>
                <a:lnTo>
                  <a:pt x="156" y="30"/>
                </a:lnTo>
                <a:lnTo>
                  <a:pt x="150" y="30"/>
                </a:lnTo>
                <a:lnTo>
                  <a:pt x="144" y="36"/>
                </a:lnTo>
                <a:lnTo>
                  <a:pt x="144" y="42"/>
                </a:lnTo>
                <a:lnTo>
                  <a:pt x="132" y="42"/>
                </a:lnTo>
                <a:lnTo>
                  <a:pt x="120" y="36"/>
                </a:lnTo>
                <a:lnTo>
                  <a:pt x="114" y="30"/>
                </a:lnTo>
                <a:lnTo>
                  <a:pt x="102" y="30"/>
                </a:lnTo>
                <a:lnTo>
                  <a:pt x="84" y="48"/>
                </a:lnTo>
                <a:lnTo>
                  <a:pt x="90" y="72"/>
                </a:lnTo>
                <a:lnTo>
                  <a:pt x="72" y="90"/>
                </a:lnTo>
                <a:lnTo>
                  <a:pt x="84" y="96"/>
                </a:lnTo>
                <a:lnTo>
                  <a:pt x="90" y="102"/>
                </a:lnTo>
                <a:lnTo>
                  <a:pt x="90" y="108"/>
                </a:lnTo>
                <a:lnTo>
                  <a:pt x="84" y="114"/>
                </a:lnTo>
                <a:lnTo>
                  <a:pt x="78" y="126"/>
                </a:lnTo>
                <a:lnTo>
                  <a:pt x="78" y="138"/>
                </a:lnTo>
                <a:lnTo>
                  <a:pt x="84" y="144"/>
                </a:lnTo>
                <a:lnTo>
                  <a:pt x="96" y="144"/>
                </a:lnTo>
                <a:lnTo>
                  <a:pt x="108" y="150"/>
                </a:lnTo>
                <a:lnTo>
                  <a:pt x="114" y="156"/>
                </a:lnTo>
                <a:lnTo>
                  <a:pt x="114" y="168"/>
                </a:lnTo>
                <a:lnTo>
                  <a:pt x="108" y="180"/>
                </a:lnTo>
                <a:lnTo>
                  <a:pt x="96" y="192"/>
                </a:lnTo>
                <a:lnTo>
                  <a:pt x="84" y="216"/>
                </a:lnTo>
                <a:lnTo>
                  <a:pt x="72" y="222"/>
                </a:lnTo>
                <a:lnTo>
                  <a:pt x="66" y="234"/>
                </a:lnTo>
                <a:lnTo>
                  <a:pt x="42" y="246"/>
                </a:lnTo>
                <a:lnTo>
                  <a:pt x="42" y="258"/>
                </a:lnTo>
                <a:lnTo>
                  <a:pt x="24" y="270"/>
                </a:lnTo>
                <a:lnTo>
                  <a:pt x="6" y="342"/>
                </a:lnTo>
                <a:lnTo>
                  <a:pt x="6" y="372"/>
                </a:lnTo>
                <a:lnTo>
                  <a:pt x="0" y="450"/>
                </a:lnTo>
                <a:lnTo>
                  <a:pt x="12" y="450"/>
                </a:lnTo>
                <a:lnTo>
                  <a:pt x="24" y="462"/>
                </a:lnTo>
                <a:lnTo>
                  <a:pt x="30" y="462"/>
                </a:lnTo>
                <a:lnTo>
                  <a:pt x="42" y="438"/>
                </a:lnTo>
                <a:lnTo>
                  <a:pt x="48" y="432"/>
                </a:lnTo>
                <a:lnTo>
                  <a:pt x="48" y="426"/>
                </a:lnTo>
                <a:lnTo>
                  <a:pt x="72" y="420"/>
                </a:lnTo>
                <a:lnTo>
                  <a:pt x="162" y="426"/>
                </a:lnTo>
                <a:lnTo>
                  <a:pt x="162" y="414"/>
                </a:lnTo>
                <a:lnTo>
                  <a:pt x="156" y="408"/>
                </a:lnTo>
                <a:lnTo>
                  <a:pt x="150" y="396"/>
                </a:lnTo>
                <a:lnTo>
                  <a:pt x="162" y="372"/>
                </a:lnTo>
                <a:lnTo>
                  <a:pt x="168" y="366"/>
                </a:lnTo>
                <a:lnTo>
                  <a:pt x="168" y="342"/>
                </a:lnTo>
                <a:lnTo>
                  <a:pt x="174" y="336"/>
                </a:lnTo>
                <a:lnTo>
                  <a:pt x="186" y="330"/>
                </a:lnTo>
                <a:lnTo>
                  <a:pt x="204" y="324"/>
                </a:lnTo>
                <a:lnTo>
                  <a:pt x="240" y="324"/>
                </a:lnTo>
                <a:lnTo>
                  <a:pt x="252" y="312"/>
                </a:lnTo>
                <a:lnTo>
                  <a:pt x="258" y="300"/>
                </a:lnTo>
                <a:lnTo>
                  <a:pt x="264" y="300"/>
                </a:lnTo>
                <a:lnTo>
                  <a:pt x="264" y="306"/>
                </a:lnTo>
                <a:lnTo>
                  <a:pt x="270" y="312"/>
                </a:lnTo>
                <a:lnTo>
                  <a:pt x="270" y="330"/>
                </a:lnTo>
                <a:lnTo>
                  <a:pt x="276" y="324"/>
                </a:lnTo>
                <a:lnTo>
                  <a:pt x="312" y="324"/>
                </a:lnTo>
                <a:lnTo>
                  <a:pt x="312" y="330"/>
                </a:lnTo>
                <a:lnTo>
                  <a:pt x="312" y="318"/>
                </a:lnTo>
                <a:lnTo>
                  <a:pt x="318" y="306"/>
                </a:lnTo>
                <a:lnTo>
                  <a:pt x="324" y="300"/>
                </a:lnTo>
                <a:lnTo>
                  <a:pt x="330" y="282"/>
                </a:lnTo>
                <a:lnTo>
                  <a:pt x="348" y="270"/>
                </a:lnTo>
                <a:lnTo>
                  <a:pt x="348" y="246"/>
                </a:lnTo>
                <a:lnTo>
                  <a:pt x="354" y="240"/>
                </a:lnTo>
                <a:lnTo>
                  <a:pt x="372" y="240"/>
                </a:lnTo>
                <a:lnTo>
                  <a:pt x="378" y="216"/>
                </a:lnTo>
                <a:lnTo>
                  <a:pt x="390" y="204"/>
                </a:lnTo>
                <a:lnTo>
                  <a:pt x="390" y="192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9" name="Turkey"/>
          <p:cNvSpPr>
            <a:spLocks noEditPoints="1"/>
          </p:cNvSpPr>
          <p:nvPr/>
        </p:nvSpPr>
        <p:spPr bwMode="gray">
          <a:xfrm>
            <a:off x="4701446" y="2893093"/>
            <a:ext cx="534987" cy="203200"/>
          </a:xfrm>
          <a:custGeom>
            <a:avLst/>
            <a:gdLst>
              <a:gd name="T0" fmla="*/ 2147483647 w 1332"/>
              <a:gd name="T1" fmla="*/ 2147483647 h 510"/>
              <a:gd name="T2" fmla="*/ 2147483647 w 1332"/>
              <a:gd name="T3" fmla="*/ 2147483647 h 510"/>
              <a:gd name="T4" fmla="*/ 2147483647 w 1332"/>
              <a:gd name="T5" fmla="*/ 2147483647 h 510"/>
              <a:gd name="T6" fmla="*/ 2147483647 w 1332"/>
              <a:gd name="T7" fmla="*/ 2147483647 h 510"/>
              <a:gd name="T8" fmla="*/ 2147483647 w 1332"/>
              <a:gd name="T9" fmla="*/ 2147483647 h 510"/>
              <a:gd name="T10" fmla="*/ 2147483647 w 1332"/>
              <a:gd name="T11" fmla="*/ 2147483647 h 510"/>
              <a:gd name="T12" fmla="*/ 2147483647 w 1332"/>
              <a:gd name="T13" fmla="*/ 2147483647 h 510"/>
              <a:gd name="T14" fmla="*/ 2147483647 w 1332"/>
              <a:gd name="T15" fmla="*/ 2147483647 h 510"/>
              <a:gd name="T16" fmla="*/ 2147483647 w 1332"/>
              <a:gd name="T17" fmla="*/ 2147483647 h 510"/>
              <a:gd name="T18" fmla="*/ 2147483647 w 1332"/>
              <a:gd name="T19" fmla="*/ 2147483647 h 510"/>
              <a:gd name="T20" fmla="*/ 2147483647 w 1332"/>
              <a:gd name="T21" fmla="*/ 2147483647 h 510"/>
              <a:gd name="T22" fmla="*/ 2147483647 w 1332"/>
              <a:gd name="T23" fmla="*/ 2147483647 h 510"/>
              <a:gd name="T24" fmla="*/ 2147483647 w 1332"/>
              <a:gd name="T25" fmla="*/ 2147483647 h 510"/>
              <a:gd name="T26" fmla="*/ 2147483647 w 1332"/>
              <a:gd name="T27" fmla="*/ 2147483647 h 510"/>
              <a:gd name="T28" fmla="*/ 2147483647 w 1332"/>
              <a:gd name="T29" fmla="*/ 2147483647 h 510"/>
              <a:gd name="T30" fmla="*/ 2147483647 w 1332"/>
              <a:gd name="T31" fmla="*/ 2147483647 h 510"/>
              <a:gd name="T32" fmla="*/ 2147483647 w 1332"/>
              <a:gd name="T33" fmla="*/ 2147483647 h 510"/>
              <a:gd name="T34" fmla="*/ 2147483647 w 1332"/>
              <a:gd name="T35" fmla="*/ 2147483647 h 510"/>
              <a:gd name="T36" fmla="*/ 2147483647 w 1332"/>
              <a:gd name="T37" fmla="*/ 2147483647 h 510"/>
              <a:gd name="T38" fmla="*/ 2147483647 w 1332"/>
              <a:gd name="T39" fmla="*/ 2147483647 h 510"/>
              <a:gd name="T40" fmla="*/ 2147483647 w 1332"/>
              <a:gd name="T41" fmla="*/ 2147483647 h 510"/>
              <a:gd name="T42" fmla="*/ 2147483647 w 1332"/>
              <a:gd name="T43" fmla="*/ 2147483647 h 510"/>
              <a:gd name="T44" fmla="*/ 2147483647 w 1332"/>
              <a:gd name="T45" fmla="*/ 2147483647 h 510"/>
              <a:gd name="T46" fmla="*/ 2147483647 w 1332"/>
              <a:gd name="T47" fmla="*/ 2147483647 h 510"/>
              <a:gd name="T48" fmla="*/ 2147483647 w 1332"/>
              <a:gd name="T49" fmla="*/ 2147483647 h 510"/>
              <a:gd name="T50" fmla="*/ 2147483647 w 1332"/>
              <a:gd name="T51" fmla="*/ 2147483647 h 510"/>
              <a:gd name="T52" fmla="*/ 2147483647 w 1332"/>
              <a:gd name="T53" fmla="*/ 2147483647 h 510"/>
              <a:gd name="T54" fmla="*/ 2147483647 w 1332"/>
              <a:gd name="T55" fmla="*/ 2147483647 h 510"/>
              <a:gd name="T56" fmla="*/ 2147483647 w 1332"/>
              <a:gd name="T57" fmla="*/ 2147483647 h 510"/>
              <a:gd name="T58" fmla="*/ 2147483647 w 1332"/>
              <a:gd name="T59" fmla="*/ 2147483647 h 510"/>
              <a:gd name="T60" fmla="*/ 2147483647 w 1332"/>
              <a:gd name="T61" fmla="*/ 2147483647 h 510"/>
              <a:gd name="T62" fmla="*/ 2147483647 w 1332"/>
              <a:gd name="T63" fmla="*/ 2147483647 h 510"/>
              <a:gd name="T64" fmla="*/ 2147483647 w 1332"/>
              <a:gd name="T65" fmla="*/ 2147483647 h 510"/>
              <a:gd name="T66" fmla="*/ 2147483647 w 1332"/>
              <a:gd name="T67" fmla="*/ 2147483647 h 510"/>
              <a:gd name="T68" fmla="*/ 2147483647 w 1332"/>
              <a:gd name="T69" fmla="*/ 2147483647 h 510"/>
              <a:gd name="T70" fmla="*/ 2147483647 w 1332"/>
              <a:gd name="T71" fmla="*/ 2147483647 h 510"/>
              <a:gd name="T72" fmla="*/ 2147483647 w 1332"/>
              <a:gd name="T73" fmla="*/ 2147483647 h 510"/>
              <a:gd name="T74" fmla="*/ 2147483647 w 1332"/>
              <a:gd name="T75" fmla="*/ 2147483647 h 510"/>
              <a:gd name="T76" fmla="*/ 2147483647 w 1332"/>
              <a:gd name="T77" fmla="*/ 2147483647 h 510"/>
              <a:gd name="T78" fmla="*/ 2147483647 w 1332"/>
              <a:gd name="T79" fmla="*/ 2147483647 h 510"/>
              <a:gd name="T80" fmla="*/ 2147483647 w 1332"/>
              <a:gd name="T81" fmla="*/ 2147483647 h 510"/>
              <a:gd name="T82" fmla="*/ 2147483647 w 1332"/>
              <a:gd name="T83" fmla="*/ 2147483647 h 510"/>
              <a:gd name="T84" fmla="*/ 2147483647 w 1332"/>
              <a:gd name="T85" fmla="*/ 2147483647 h 510"/>
              <a:gd name="T86" fmla="*/ 2147483647 w 1332"/>
              <a:gd name="T87" fmla="*/ 2147483647 h 510"/>
              <a:gd name="T88" fmla="*/ 2147483647 w 1332"/>
              <a:gd name="T89" fmla="*/ 2147483647 h 510"/>
              <a:gd name="T90" fmla="*/ 2147483647 w 1332"/>
              <a:gd name="T91" fmla="*/ 2147483647 h 510"/>
              <a:gd name="T92" fmla="*/ 2147483647 w 1332"/>
              <a:gd name="T93" fmla="*/ 2147483647 h 510"/>
              <a:gd name="T94" fmla="*/ 2147483647 w 1332"/>
              <a:gd name="T95" fmla="*/ 2147483647 h 510"/>
              <a:gd name="T96" fmla="*/ 2147483647 w 1332"/>
              <a:gd name="T97" fmla="*/ 2147483647 h 510"/>
              <a:gd name="T98" fmla="*/ 2147483647 w 1332"/>
              <a:gd name="T99" fmla="*/ 2147483647 h 510"/>
              <a:gd name="T100" fmla="*/ 2147483647 w 1332"/>
              <a:gd name="T101" fmla="*/ 2147483647 h 510"/>
              <a:gd name="T102" fmla="*/ 2147483647 w 1332"/>
              <a:gd name="T103" fmla="*/ 2147483647 h 510"/>
              <a:gd name="T104" fmla="*/ 2147483647 w 1332"/>
              <a:gd name="T105" fmla="*/ 2147483647 h 510"/>
              <a:gd name="T106" fmla="*/ 2147483647 w 1332"/>
              <a:gd name="T107" fmla="*/ 2147483647 h 510"/>
              <a:gd name="T108" fmla="*/ 2147483647 w 1332"/>
              <a:gd name="T109" fmla="*/ 2147483647 h 510"/>
              <a:gd name="T110" fmla="*/ 2147483647 w 1332"/>
              <a:gd name="T111" fmla="*/ 2147483647 h 510"/>
              <a:gd name="T112" fmla="*/ 2147483647 w 1332"/>
              <a:gd name="T113" fmla="*/ 2147483647 h 510"/>
              <a:gd name="T114" fmla="*/ 2147483647 w 1332"/>
              <a:gd name="T115" fmla="*/ 2147483647 h 51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332"/>
              <a:gd name="T175" fmla="*/ 0 h 510"/>
              <a:gd name="T176" fmla="*/ 1332 w 1332"/>
              <a:gd name="T177" fmla="*/ 510 h 51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332" h="510">
                <a:moveTo>
                  <a:pt x="6" y="192"/>
                </a:moveTo>
                <a:lnTo>
                  <a:pt x="24" y="186"/>
                </a:lnTo>
                <a:lnTo>
                  <a:pt x="30" y="174"/>
                </a:lnTo>
                <a:lnTo>
                  <a:pt x="0" y="174"/>
                </a:lnTo>
                <a:lnTo>
                  <a:pt x="6" y="192"/>
                </a:lnTo>
                <a:close/>
                <a:moveTo>
                  <a:pt x="42" y="162"/>
                </a:moveTo>
                <a:lnTo>
                  <a:pt x="42" y="168"/>
                </a:lnTo>
                <a:lnTo>
                  <a:pt x="48" y="174"/>
                </a:lnTo>
                <a:lnTo>
                  <a:pt x="60" y="174"/>
                </a:lnTo>
                <a:lnTo>
                  <a:pt x="60" y="162"/>
                </a:lnTo>
                <a:lnTo>
                  <a:pt x="54" y="156"/>
                </a:lnTo>
                <a:lnTo>
                  <a:pt x="54" y="150"/>
                </a:lnTo>
                <a:lnTo>
                  <a:pt x="48" y="150"/>
                </a:lnTo>
                <a:lnTo>
                  <a:pt x="48" y="156"/>
                </a:lnTo>
                <a:lnTo>
                  <a:pt x="42" y="162"/>
                </a:lnTo>
                <a:close/>
                <a:moveTo>
                  <a:pt x="96" y="138"/>
                </a:moveTo>
                <a:lnTo>
                  <a:pt x="66" y="138"/>
                </a:lnTo>
                <a:lnTo>
                  <a:pt x="66" y="174"/>
                </a:lnTo>
                <a:lnTo>
                  <a:pt x="78" y="150"/>
                </a:lnTo>
                <a:lnTo>
                  <a:pt x="96" y="138"/>
                </a:lnTo>
                <a:close/>
                <a:moveTo>
                  <a:pt x="1332" y="402"/>
                </a:moveTo>
                <a:lnTo>
                  <a:pt x="1332" y="390"/>
                </a:lnTo>
                <a:lnTo>
                  <a:pt x="1308" y="384"/>
                </a:lnTo>
                <a:lnTo>
                  <a:pt x="1308" y="354"/>
                </a:lnTo>
                <a:lnTo>
                  <a:pt x="1272" y="336"/>
                </a:lnTo>
                <a:lnTo>
                  <a:pt x="1278" y="330"/>
                </a:lnTo>
                <a:lnTo>
                  <a:pt x="1284" y="318"/>
                </a:lnTo>
                <a:lnTo>
                  <a:pt x="1284" y="312"/>
                </a:lnTo>
                <a:lnTo>
                  <a:pt x="1290" y="306"/>
                </a:lnTo>
                <a:lnTo>
                  <a:pt x="1284" y="306"/>
                </a:lnTo>
                <a:lnTo>
                  <a:pt x="1278" y="300"/>
                </a:lnTo>
                <a:lnTo>
                  <a:pt x="1278" y="288"/>
                </a:lnTo>
                <a:lnTo>
                  <a:pt x="1266" y="276"/>
                </a:lnTo>
                <a:lnTo>
                  <a:pt x="1266" y="246"/>
                </a:lnTo>
                <a:lnTo>
                  <a:pt x="1248" y="222"/>
                </a:lnTo>
                <a:lnTo>
                  <a:pt x="1272" y="222"/>
                </a:lnTo>
                <a:lnTo>
                  <a:pt x="1272" y="216"/>
                </a:lnTo>
                <a:lnTo>
                  <a:pt x="1278" y="210"/>
                </a:lnTo>
                <a:lnTo>
                  <a:pt x="1272" y="198"/>
                </a:lnTo>
                <a:lnTo>
                  <a:pt x="1272" y="186"/>
                </a:lnTo>
                <a:lnTo>
                  <a:pt x="1266" y="180"/>
                </a:lnTo>
                <a:lnTo>
                  <a:pt x="1266" y="174"/>
                </a:lnTo>
                <a:lnTo>
                  <a:pt x="1260" y="174"/>
                </a:lnTo>
                <a:lnTo>
                  <a:pt x="1248" y="180"/>
                </a:lnTo>
                <a:lnTo>
                  <a:pt x="1236" y="180"/>
                </a:lnTo>
                <a:lnTo>
                  <a:pt x="1224" y="174"/>
                </a:lnTo>
                <a:lnTo>
                  <a:pt x="1218" y="168"/>
                </a:lnTo>
                <a:lnTo>
                  <a:pt x="1212" y="156"/>
                </a:lnTo>
                <a:lnTo>
                  <a:pt x="1212" y="144"/>
                </a:lnTo>
                <a:lnTo>
                  <a:pt x="1200" y="108"/>
                </a:lnTo>
                <a:lnTo>
                  <a:pt x="1194" y="96"/>
                </a:lnTo>
                <a:lnTo>
                  <a:pt x="1194" y="84"/>
                </a:lnTo>
                <a:lnTo>
                  <a:pt x="1188" y="78"/>
                </a:lnTo>
                <a:lnTo>
                  <a:pt x="1164" y="78"/>
                </a:lnTo>
                <a:lnTo>
                  <a:pt x="1164" y="72"/>
                </a:lnTo>
                <a:lnTo>
                  <a:pt x="1158" y="60"/>
                </a:lnTo>
                <a:lnTo>
                  <a:pt x="1152" y="54"/>
                </a:lnTo>
                <a:lnTo>
                  <a:pt x="1140" y="48"/>
                </a:lnTo>
                <a:lnTo>
                  <a:pt x="1128" y="48"/>
                </a:lnTo>
                <a:lnTo>
                  <a:pt x="1116" y="54"/>
                </a:lnTo>
                <a:lnTo>
                  <a:pt x="1110" y="60"/>
                </a:lnTo>
                <a:lnTo>
                  <a:pt x="1074" y="54"/>
                </a:lnTo>
                <a:lnTo>
                  <a:pt x="1062" y="66"/>
                </a:lnTo>
                <a:lnTo>
                  <a:pt x="1026" y="90"/>
                </a:lnTo>
                <a:lnTo>
                  <a:pt x="1014" y="96"/>
                </a:lnTo>
                <a:lnTo>
                  <a:pt x="930" y="96"/>
                </a:lnTo>
                <a:lnTo>
                  <a:pt x="876" y="108"/>
                </a:lnTo>
                <a:lnTo>
                  <a:pt x="810" y="84"/>
                </a:lnTo>
                <a:lnTo>
                  <a:pt x="786" y="96"/>
                </a:lnTo>
                <a:lnTo>
                  <a:pt x="786" y="90"/>
                </a:lnTo>
                <a:lnTo>
                  <a:pt x="780" y="84"/>
                </a:lnTo>
                <a:lnTo>
                  <a:pt x="774" y="72"/>
                </a:lnTo>
                <a:lnTo>
                  <a:pt x="768" y="66"/>
                </a:lnTo>
                <a:lnTo>
                  <a:pt x="756" y="66"/>
                </a:lnTo>
                <a:lnTo>
                  <a:pt x="744" y="72"/>
                </a:lnTo>
                <a:lnTo>
                  <a:pt x="738" y="78"/>
                </a:lnTo>
                <a:lnTo>
                  <a:pt x="708" y="60"/>
                </a:lnTo>
                <a:lnTo>
                  <a:pt x="708" y="36"/>
                </a:lnTo>
                <a:lnTo>
                  <a:pt x="660" y="48"/>
                </a:lnTo>
                <a:lnTo>
                  <a:pt x="636" y="30"/>
                </a:lnTo>
                <a:lnTo>
                  <a:pt x="630" y="12"/>
                </a:lnTo>
                <a:lnTo>
                  <a:pt x="624" y="12"/>
                </a:lnTo>
                <a:lnTo>
                  <a:pt x="618" y="18"/>
                </a:lnTo>
                <a:lnTo>
                  <a:pt x="600" y="18"/>
                </a:lnTo>
                <a:lnTo>
                  <a:pt x="588" y="24"/>
                </a:lnTo>
                <a:lnTo>
                  <a:pt x="558" y="24"/>
                </a:lnTo>
                <a:lnTo>
                  <a:pt x="534" y="18"/>
                </a:lnTo>
                <a:lnTo>
                  <a:pt x="504" y="18"/>
                </a:lnTo>
                <a:lnTo>
                  <a:pt x="492" y="24"/>
                </a:lnTo>
                <a:lnTo>
                  <a:pt x="456" y="36"/>
                </a:lnTo>
                <a:lnTo>
                  <a:pt x="444" y="42"/>
                </a:lnTo>
                <a:lnTo>
                  <a:pt x="438" y="48"/>
                </a:lnTo>
                <a:lnTo>
                  <a:pt x="426" y="54"/>
                </a:lnTo>
                <a:lnTo>
                  <a:pt x="414" y="66"/>
                </a:lnTo>
                <a:lnTo>
                  <a:pt x="408" y="66"/>
                </a:lnTo>
                <a:lnTo>
                  <a:pt x="396" y="90"/>
                </a:lnTo>
                <a:lnTo>
                  <a:pt x="378" y="90"/>
                </a:lnTo>
                <a:lnTo>
                  <a:pt x="354" y="84"/>
                </a:lnTo>
                <a:lnTo>
                  <a:pt x="294" y="84"/>
                </a:lnTo>
                <a:lnTo>
                  <a:pt x="282" y="78"/>
                </a:lnTo>
                <a:lnTo>
                  <a:pt x="264" y="78"/>
                </a:lnTo>
                <a:lnTo>
                  <a:pt x="252" y="72"/>
                </a:lnTo>
                <a:lnTo>
                  <a:pt x="240" y="72"/>
                </a:lnTo>
                <a:lnTo>
                  <a:pt x="234" y="66"/>
                </a:lnTo>
                <a:lnTo>
                  <a:pt x="198" y="66"/>
                </a:lnTo>
                <a:lnTo>
                  <a:pt x="186" y="54"/>
                </a:lnTo>
                <a:lnTo>
                  <a:pt x="180" y="36"/>
                </a:lnTo>
                <a:lnTo>
                  <a:pt x="180" y="24"/>
                </a:lnTo>
                <a:lnTo>
                  <a:pt x="168" y="24"/>
                </a:lnTo>
                <a:lnTo>
                  <a:pt x="156" y="18"/>
                </a:lnTo>
                <a:lnTo>
                  <a:pt x="144" y="18"/>
                </a:lnTo>
                <a:lnTo>
                  <a:pt x="132" y="0"/>
                </a:lnTo>
                <a:lnTo>
                  <a:pt x="120" y="18"/>
                </a:lnTo>
                <a:lnTo>
                  <a:pt x="90" y="12"/>
                </a:lnTo>
                <a:lnTo>
                  <a:pt x="72" y="36"/>
                </a:lnTo>
                <a:lnTo>
                  <a:pt x="78" y="42"/>
                </a:lnTo>
                <a:lnTo>
                  <a:pt x="90" y="42"/>
                </a:lnTo>
                <a:lnTo>
                  <a:pt x="90" y="48"/>
                </a:lnTo>
                <a:lnTo>
                  <a:pt x="96" y="54"/>
                </a:lnTo>
                <a:lnTo>
                  <a:pt x="96" y="66"/>
                </a:lnTo>
                <a:lnTo>
                  <a:pt x="78" y="66"/>
                </a:lnTo>
                <a:lnTo>
                  <a:pt x="72" y="72"/>
                </a:lnTo>
                <a:lnTo>
                  <a:pt x="72" y="78"/>
                </a:lnTo>
                <a:lnTo>
                  <a:pt x="78" y="84"/>
                </a:lnTo>
                <a:lnTo>
                  <a:pt x="78" y="96"/>
                </a:lnTo>
                <a:lnTo>
                  <a:pt x="72" y="108"/>
                </a:lnTo>
                <a:lnTo>
                  <a:pt x="72" y="114"/>
                </a:lnTo>
                <a:lnTo>
                  <a:pt x="66" y="120"/>
                </a:lnTo>
                <a:lnTo>
                  <a:pt x="66" y="132"/>
                </a:lnTo>
                <a:lnTo>
                  <a:pt x="72" y="132"/>
                </a:lnTo>
                <a:lnTo>
                  <a:pt x="90" y="126"/>
                </a:lnTo>
                <a:lnTo>
                  <a:pt x="102" y="126"/>
                </a:lnTo>
                <a:lnTo>
                  <a:pt x="108" y="120"/>
                </a:lnTo>
                <a:lnTo>
                  <a:pt x="114" y="120"/>
                </a:lnTo>
                <a:lnTo>
                  <a:pt x="114" y="132"/>
                </a:lnTo>
                <a:lnTo>
                  <a:pt x="120" y="132"/>
                </a:lnTo>
                <a:lnTo>
                  <a:pt x="126" y="126"/>
                </a:lnTo>
                <a:lnTo>
                  <a:pt x="138" y="120"/>
                </a:lnTo>
                <a:lnTo>
                  <a:pt x="162" y="96"/>
                </a:lnTo>
                <a:lnTo>
                  <a:pt x="168" y="96"/>
                </a:lnTo>
                <a:lnTo>
                  <a:pt x="174" y="90"/>
                </a:lnTo>
                <a:lnTo>
                  <a:pt x="186" y="90"/>
                </a:lnTo>
                <a:lnTo>
                  <a:pt x="204" y="84"/>
                </a:lnTo>
                <a:lnTo>
                  <a:pt x="216" y="84"/>
                </a:lnTo>
                <a:lnTo>
                  <a:pt x="252" y="102"/>
                </a:lnTo>
                <a:lnTo>
                  <a:pt x="270" y="108"/>
                </a:lnTo>
                <a:lnTo>
                  <a:pt x="282" y="108"/>
                </a:lnTo>
                <a:lnTo>
                  <a:pt x="288" y="114"/>
                </a:lnTo>
                <a:lnTo>
                  <a:pt x="294" y="114"/>
                </a:lnTo>
                <a:lnTo>
                  <a:pt x="270" y="114"/>
                </a:lnTo>
                <a:lnTo>
                  <a:pt x="258" y="120"/>
                </a:lnTo>
                <a:lnTo>
                  <a:pt x="246" y="120"/>
                </a:lnTo>
                <a:lnTo>
                  <a:pt x="246" y="132"/>
                </a:lnTo>
                <a:lnTo>
                  <a:pt x="240" y="138"/>
                </a:lnTo>
                <a:lnTo>
                  <a:pt x="186" y="144"/>
                </a:lnTo>
                <a:lnTo>
                  <a:pt x="138" y="138"/>
                </a:lnTo>
                <a:lnTo>
                  <a:pt x="120" y="138"/>
                </a:lnTo>
                <a:lnTo>
                  <a:pt x="96" y="150"/>
                </a:lnTo>
                <a:lnTo>
                  <a:pt x="84" y="162"/>
                </a:lnTo>
                <a:lnTo>
                  <a:pt x="84" y="174"/>
                </a:lnTo>
                <a:lnTo>
                  <a:pt x="78" y="192"/>
                </a:lnTo>
                <a:lnTo>
                  <a:pt x="78" y="204"/>
                </a:lnTo>
                <a:lnTo>
                  <a:pt x="72" y="210"/>
                </a:lnTo>
                <a:lnTo>
                  <a:pt x="72" y="216"/>
                </a:lnTo>
                <a:lnTo>
                  <a:pt x="114" y="216"/>
                </a:lnTo>
                <a:lnTo>
                  <a:pt x="114" y="240"/>
                </a:lnTo>
                <a:lnTo>
                  <a:pt x="120" y="246"/>
                </a:lnTo>
                <a:lnTo>
                  <a:pt x="126" y="258"/>
                </a:lnTo>
                <a:lnTo>
                  <a:pt x="132" y="264"/>
                </a:lnTo>
                <a:lnTo>
                  <a:pt x="126" y="282"/>
                </a:lnTo>
                <a:lnTo>
                  <a:pt x="138" y="300"/>
                </a:lnTo>
                <a:lnTo>
                  <a:pt x="126" y="318"/>
                </a:lnTo>
                <a:lnTo>
                  <a:pt x="162" y="354"/>
                </a:lnTo>
                <a:lnTo>
                  <a:pt x="156" y="390"/>
                </a:lnTo>
                <a:lnTo>
                  <a:pt x="210" y="414"/>
                </a:lnTo>
                <a:lnTo>
                  <a:pt x="216" y="444"/>
                </a:lnTo>
                <a:lnTo>
                  <a:pt x="216" y="438"/>
                </a:lnTo>
                <a:lnTo>
                  <a:pt x="222" y="438"/>
                </a:lnTo>
                <a:lnTo>
                  <a:pt x="222" y="432"/>
                </a:lnTo>
                <a:lnTo>
                  <a:pt x="228" y="432"/>
                </a:lnTo>
                <a:lnTo>
                  <a:pt x="252" y="444"/>
                </a:lnTo>
                <a:lnTo>
                  <a:pt x="258" y="444"/>
                </a:lnTo>
                <a:lnTo>
                  <a:pt x="264" y="450"/>
                </a:lnTo>
                <a:lnTo>
                  <a:pt x="270" y="462"/>
                </a:lnTo>
                <a:lnTo>
                  <a:pt x="282" y="468"/>
                </a:lnTo>
                <a:lnTo>
                  <a:pt x="294" y="468"/>
                </a:lnTo>
                <a:lnTo>
                  <a:pt x="312" y="474"/>
                </a:lnTo>
                <a:lnTo>
                  <a:pt x="372" y="474"/>
                </a:lnTo>
                <a:lnTo>
                  <a:pt x="372" y="450"/>
                </a:lnTo>
                <a:lnTo>
                  <a:pt x="378" y="438"/>
                </a:lnTo>
                <a:lnTo>
                  <a:pt x="390" y="426"/>
                </a:lnTo>
                <a:lnTo>
                  <a:pt x="408" y="426"/>
                </a:lnTo>
                <a:lnTo>
                  <a:pt x="432" y="432"/>
                </a:lnTo>
                <a:lnTo>
                  <a:pt x="468" y="444"/>
                </a:lnTo>
                <a:lnTo>
                  <a:pt x="474" y="450"/>
                </a:lnTo>
                <a:lnTo>
                  <a:pt x="480" y="450"/>
                </a:lnTo>
                <a:lnTo>
                  <a:pt x="480" y="456"/>
                </a:lnTo>
                <a:lnTo>
                  <a:pt x="486" y="468"/>
                </a:lnTo>
                <a:lnTo>
                  <a:pt x="486" y="474"/>
                </a:lnTo>
                <a:lnTo>
                  <a:pt x="492" y="480"/>
                </a:lnTo>
                <a:lnTo>
                  <a:pt x="504" y="486"/>
                </a:lnTo>
                <a:lnTo>
                  <a:pt x="564" y="486"/>
                </a:lnTo>
                <a:lnTo>
                  <a:pt x="576" y="480"/>
                </a:lnTo>
                <a:lnTo>
                  <a:pt x="594" y="474"/>
                </a:lnTo>
                <a:lnTo>
                  <a:pt x="606" y="462"/>
                </a:lnTo>
                <a:lnTo>
                  <a:pt x="618" y="456"/>
                </a:lnTo>
                <a:lnTo>
                  <a:pt x="630" y="444"/>
                </a:lnTo>
                <a:lnTo>
                  <a:pt x="648" y="438"/>
                </a:lnTo>
                <a:lnTo>
                  <a:pt x="660" y="432"/>
                </a:lnTo>
                <a:lnTo>
                  <a:pt x="672" y="432"/>
                </a:lnTo>
                <a:lnTo>
                  <a:pt x="684" y="438"/>
                </a:lnTo>
                <a:lnTo>
                  <a:pt x="690" y="444"/>
                </a:lnTo>
                <a:lnTo>
                  <a:pt x="696" y="444"/>
                </a:lnTo>
                <a:lnTo>
                  <a:pt x="702" y="450"/>
                </a:lnTo>
                <a:lnTo>
                  <a:pt x="714" y="450"/>
                </a:lnTo>
                <a:lnTo>
                  <a:pt x="726" y="444"/>
                </a:lnTo>
                <a:lnTo>
                  <a:pt x="732" y="432"/>
                </a:lnTo>
                <a:lnTo>
                  <a:pt x="744" y="420"/>
                </a:lnTo>
                <a:lnTo>
                  <a:pt x="756" y="432"/>
                </a:lnTo>
                <a:lnTo>
                  <a:pt x="756" y="444"/>
                </a:lnTo>
                <a:lnTo>
                  <a:pt x="750" y="450"/>
                </a:lnTo>
                <a:lnTo>
                  <a:pt x="744" y="462"/>
                </a:lnTo>
                <a:lnTo>
                  <a:pt x="744" y="468"/>
                </a:lnTo>
                <a:lnTo>
                  <a:pt x="738" y="474"/>
                </a:lnTo>
                <a:lnTo>
                  <a:pt x="738" y="486"/>
                </a:lnTo>
                <a:lnTo>
                  <a:pt x="744" y="492"/>
                </a:lnTo>
                <a:lnTo>
                  <a:pt x="744" y="498"/>
                </a:lnTo>
                <a:lnTo>
                  <a:pt x="756" y="510"/>
                </a:lnTo>
                <a:lnTo>
                  <a:pt x="768" y="510"/>
                </a:lnTo>
                <a:lnTo>
                  <a:pt x="768" y="504"/>
                </a:lnTo>
                <a:lnTo>
                  <a:pt x="774" y="498"/>
                </a:lnTo>
                <a:lnTo>
                  <a:pt x="774" y="480"/>
                </a:lnTo>
                <a:lnTo>
                  <a:pt x="780" y="486"/>
                </a:lnTo>
                <a:lnTo>
                  <a:pt x="792" y="486"/>
                </a:lnTo>
                <a:lnTo>
                  <a:pt x="792" y="462"/>
                </a:lnTo>
                <a:lnTo>
                  <a:pt x="786" y="462"/>
                </a:lnTo>
                <a:lnTo>
                  <a:pt x="786" y="432"/>
                </a:lnTo>
                <a:lnTo>
                  <a:pt x="810" y="432"/>
                </a:lnTo>
                <a:lnTo>
                  <a:pt x="804" y="438"/>
                </a:lnTo>
                <a:lnTo>
                  <a:pt x="804" y="444"/>
                </a:lnTo>
                <a:lnTo>
                  <a:pt x="840" y="444"/>
                </a:lnTo>
                <a:lnTo>
                  <a:pt x="858" y="438"/>
                </a:lnTo>
                <a:lnTo>
                  <a:pt x="864" y="432"/>
                </a:lnTo>
                <a:lnTo>
                  <a:pt x="870" y="432"/>
                </a:lnTo>
                <a:lnTo>
                  <a:pt x="888" y="414"/>
                </a:lnTo>
                <a:lnTo>
                  <a:pt x="894" y="414"/>
                </a:lnTo>
                <a:lnTo>
                  <a:pt x="900" y="420"/>
                </a:lnTo>
                <a:lnTo>
                  <a:pt x="912" y="426"/>
                </a:lnTo>
                <a:lnTo>
                  <a:pt x="924" y="438"/>
                </a:lnTo>
                <a:lnTo>
                  <a:pt x="942" y="438"/>
                </a:lnTo>
                <a:lnTo>
                  <a:pt x="954" y="444"/>
                </a:lnTo>
                <a:lnTo>
                  <a:pt x="966" y="444"/>
                </a:lnTo>
                <a:lnTo>
                  <a:pt x="978" y="438"/>
                </a:lnTo>
                <a:lnTo>
                  <a:pt x="996" y="438"/>
                </a:lnTo>
                <a:lnTo>
                  <a:pt x="1002" y="432"/>
                </a:lnTo>
                <a:lnTo>
                  <a:pt x="1014" y="426"/>
                </a:lnTo>
                <a:lnTo>
                  <a:pt x="1026" y="414"/>
                </a:lnTo>
                <a:lnTo>
                  <a:pt x="1038" y="408"/>
                </a:lnTo>
                <a:lnTo>
                  <a:pt x="1086" y="408"/>
                </a:lnTo>
                <a:lnTo>
                  <a:pt x="1092" y="414"/>
                </a:lnTo>
                <a:lnTo>
                  <a:pt x="1110" y="414"/>
                </a:lnTo>
                <a:lnTo>
                  <a:pt x="1122" y="402"/>
                </a:lnTo>
                <a:lnTo>
                  <a:pt x="1146" y="402"/>
                </a:lnTo>
                <a:lnTo>
                  <a:pt x="1152" y="390"/>
                </a:lnTo>
                <a:lnTo>
                  <a:pt x="1152" y="384"/>
                </a:lnTo>
                <a:lnTo>
                  <a:pt x="1158" y="384"/>
                </a:lnTo>
                <a:lnTo>
                  <a:pt x="1158" y="408"/>
                </a:lnTo>
                <a:lnTo>
                  <a:pt x="1164" y="414"/>
                </a:lnTo>
                <a:lnTo>
                  <a:pt x="1170" y="414"/>
                </a:lnTo>
                <a:lnTo>
                  <a:pt x="1182" y="408"/>
                </a:lnTo>
                <a:lnTo>
                  <a:pt x="1188" y="402"/>
                </a:lnTo>
                <a:lnTo>
                  <a:pt x="1188" y="390"/>
                </a:lnTo>
                <a:lnTo>
                  <a:pt x="1230" y="390"/>
                </a:lnTo>
                <a:lnTo>
                  <a:pt x="1242" y="402"/>
                </a:lnTo>
                <a:lnTo>
                  <a:pt x="1254" y="402"/>
                </a:lnTo>
                <a:lnTo>
                  <a:pt x="1260" y="396"/>
                </a:lnTo>
                <a:lnTo>
                  <a:pt x="1260" y="390"/>
                </a:lnTo>
                <a:lnTo>
                  <a:pt x="1284" y="390"/>
                </a:lnTo>
                <a:lnTo>
                  <a:pt x="1290" y="396"/>
                </a:lnTo>
                <a:lnTo>
                  <a:pt x="1290" y="414"/>
                </a:lnTo>
                <a:lnTo>
                  <a:pt x="1332" y="402"/>
                </a:lnTo>
                <a:close/>
                <a:moveTo>
                  <a:pt x="102" y="282"/>
                </a:moveTo>
                <a:lnTo>
                  <a:pt x="96" y="282"/>
                </a:lnTo>
                <a:lnTo>
                  <a:pt x="96" y="312"/>
                </a:lnTo>
                <a:lnTo>
                  <a:pt x="102" y="324"/>
                </a:lnTo>
                <a:lnTo>
                  <a:pt x="108" y="330"/>
                </a:lnTo>
                <a:lnTo>
                  <a:pt x="114" y="324"/>
                </a:lnTo>
                <a:lnTo>
                  <a:pt x="114" y="318"/>
                </a:lnTo>
                <a:lnTo>
                  <a:pt x="120" y="312"/>
                </a:lnTo>
                <a:lnTo>
                  <a:pt x="120" y="300"/>
                </a:lnTo>
                <a:lnTo>
                  <a:pt x="102" y="28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0" name="Turkmenistan"/>
          <p:cNvSpPr>
            <a:spLocks/>
          </p:cNvSpPr>
          <p:nvPr/>
        </p:nvSpPr>
        <p:spPr bwMode="gray">
          <a:xfrm>
            <a:off x="5412646" y="2874043"/>
            <a:ext cx="406400" cy="242887"/>
          </a:xfrm>
          <a:custGeom>
            <a:avLst/>
            <a:gdLst>
              <a:gd name="T0" fmla="*/ 2147483647 w 1008"/>
              <a:gd name="T1" fmla="*/ 2147483647 h 606"/>
              <a:gd name="T2" fmla="*/ 2147483647 w 1008"/>
              <a:gd name="T3" fmla="*/ 2147483647 h 606"/>
              <a:gd name="T4" fmla="*/ 2147483647 w 1008"/>
              <a:gd name="T5" fmla="*/ 2147483647 h 606"/>
              <a:gd name="T6" fmla="*/ 2147483647 w 1008"/>
              <a:gd name="T7" fmla="*/ 2147483647 h 606"/>
              <a:gd name="T8" fmla="*/ 2147483647 w 1008"/>
              <a:gd name="T9" fmla="*/ 2147483647 h 606"/>
              <a:gd name="T10" fmla="*/ 2147483647 w 1008"/>
              <a:gd name="T11" fmla="*/ 2147483647 h 606"/>
              <a:gd name="T12" fmla="*/ 2147483647 w 1008"/>
              <a:gd name="T13" fmla="*/ 2147483647 h 606"/>
              <a:gd name="T14" fmla="*/ 2147483647 w 1008"/>
              <a:gd name="T15" fmla="*/ 2147483647 h 606"/>
              <a:gd name="T16" fmla="*/ 2147483647 w 1008"/>
              <a:gd name="T17" fmla="*/ 2147483647 h 606"/>
              <a:gd name="T18" fmla="*/ 2147483647 w 1008"/>
              <a:gd name="T19" fmla="*/ 2147483647 h 606"/>
              <a:gd name="T20" fmla="*/ 2147483647 w 1008"/>
              <a:gd name="T21" fmla="*/ 2147483647 h 606"/>
              <a:gd name="T22" fmla="*/ 2147483647 w 1008"/>
              <a:gd name="T23" fmla="*/ 2147483647 h 606"/>
              <a:gd name="T24" fmla="*/ 2147483647 w 1008"/>
              <a:gd name="T25" fmla="*/ 2147483647 h 606"/>
              <a:gd name="T26" fmla="*/ 2147483647 w 1008"/>
              <a:gd name="T27" fmla="*/ 2147483647 h 606"/>
              <a:gd name="T28" fmla="*/ 2147483647 w 1008"/>
              <a:gd name="T29" fmla="*/ 2147483647 h 606"/>
              <a:gd name="T30" fmla="*/ 2147483647 w 1008"/>
              <a:gd name="T31" fmla="*/ 2147483647 h 606"/>
              <a:gd name="T32" fmla="*/ 2147483647 w 1008"/>
              <a:gd name="T33" fmla="*/ 2147483647 h 606"/>
              <a:gd name="T34" fmla="*/ 2147483647 w 1008"/>
              <a:gd name="T35" fmla="*/ 2147483647 h 606"/>
              <a:gd name="T36" fmla="*/ 2147483647 w 1008"/>
              <a:gd name="T37" fmla="*/ 2147483647 h 606"/>
              <a:gd name="T38" fmla="*/ 2147483647 w 1008"/>
              <a:gd name="T39" fmla="*/ 2147483647 h 606"/>
              <a:gd name="T40" fmla="*/ 2147483647 w 1008"/>
              <a:gd name="T41" fmla="*/ 2147483647 h 606"/>
              <a:gd name="T42" fmla="*/ 2147483647 w 1008"/>
              <a:gd name="T43" fmla="*/ 2147483647 h 606"/>
              <a:gd name="T44" fmla="*/ 2147483647 w 1008"/>
              <a:gd name="T45" fmla="*/ 2147483647 h 606"/>
              <a:gd name="T46" fmla="*/ 2147483647 w 1008"/>
              <a:gd name="T47" fmla="*/ 2147483647 h 606"/>
              <a:gd name="T48" fmla="*/ 2147483647 w 1008"/>
              <a:gd name="T49" fmla="*/ 2147483647 h 606"/>
              <a:gd name="T50" fmla="*/ 2147483647 w 1008"/>
              <a:gd name="T51" fmla="*/ 2147483647 h 606"/>
              <a:gd name="T52" fmla="*/ 2147483647 w 1008"/>
              <a:gd name="T53" fmla="*/ 2147483647 h 606"/>
              <a:gd name="T54" fmla="*/ 2147483647 w 1008"/>
              <a:gd name="T55" fmla="*/ 2147483647 h 606"/>
              <a:gd name="T56" fmla="*/ 2147483647 w 1008"/>
              <a:gd name="T57" fmla="*/ 2147483647 h 606"/>
              <a:gd name="T58" fmla="*/ 2147483647 w 1008"/>
              <a:gd name="T59" fmla="*/ 2147483647 h 606"/>
              <a:gd name="T60" fmla="*/ 2147483647 w 1008"/>
              <a:gd name="T61" fmla="*/ 2147483647 h 606"/>
              <a:gd name="T62" fmla="*/ 2147483647 w 1008"/>
              <a:gd name="T63" fmla="*/ 2147483647 h 606"/>
              <a:gd name="T64" fmla="*/ 2147483647 w 1008"/>
              <a:gd name="T65" fmla="*/ 2147483647 h 606"/>
              <a:gd name="T66" fmla="*/ 2147483647 w 1008"/>
              <a:gd name="T67" fmla="*/ 2147483647 h 606"/>
              <a:gd name="T68" fmla="*/ 2147483647 w 1008"/>
              <a:gd name="T69" fmla="*/ 2147483647 h 606"/>
              <a:gd name="T70" fmla="*/ 2147483647 w 1008"/>
              <a:gd name="T71" fmla="*/ 2147483647 h 606"/>
              <a:gd name="T72" fmla="*/ 2147483647 w 1008"/>
              <a:gd name="T73" fmla="*/ 2147483647 h 606"/>
              <a:gd name="T74" fmla="*/ 2147483647 w 1008"/>
              <a:gd name="T75" fmla="*/ 2147483647 h 606"/>
              <a:gd name="T76" fmla="*/ 2147483647 w 1008"/>
              <a:gd name="T77" fmla="*/ 2147483647 h 606"/>
              <a:gd name="T78" fmla="*/ 2147483647 w 1008"/>
              <a:gd name="T79" fmla="*/ 2147483647 h 606"/>
              <a:gd name="T80" fmla="*/ 2147483647 w 1008"/>
              <a:gd name="T81" fmla="*/ 2147483647 h 606"/>
              <a:gd name="T82" fmla="*/ 2147483647 w 1008"/>
              <a:gd name="T83" fmla="*/ 2147483647 h 606"/>
              <a:gd name="T84" fmla="*/ 2147483647 w 1008"/>
              <a:gd name="T85" fmla="*/ 2147483647 h 606"/>
              <a:gd name="T86" fmla="*/ 2147483647 w 1008"/>
              <a:gd name="T87" fmla="*/ 2147483647 h 606"/>
              <a:gd name="T88" fmla="*/ 2147483647 w 1008"/>
              <a:gd name="T89" fmla="*/ 2147483647 h 606"/>
              <a:gd name="T90" fmla="*/ 2147483647 w 1008"/>
              <a:gd name="T91" fmla="*/ 2147483647 h 606"/>
              <a:gd name="T92" fmla="*/ 2147483647 w 1008"/>
              <a:gd name="T93" fmla="*/ 2147483647 h 606"/>
              <a:gd name="T94" fmla="*/ 2147483647 w 1008"/>
              <a:gd name="T95" fmla="*/ 2147483647 h 606"/>
              <a:gd name="T96" fmla="*/ 2147483647 w 1008"/>
              <a:gd name="T97" fmla="*/ 2147483647 h 606"/>
              <a:gd name="T98" fmla="*/ 2147483647 w 1008"/>
              <a:gd name="T99" fmla="*/ 2147483647 h 606"/>
              <a:gd name="T100" fmla="*/ 2147483647 w 1008"/>
              <a:gd name="T101" fmla="*/ 2147483647 h 606"/>
              <a:gd name="T102" fmla="*/ 2147483647 w 1008"/>
              <a:gd name="T103" fmla="*/ 2147483647 h 606"/>
              <a:gd name="T104" fmla="*/ 0 w 1008"/>
              <a:gd name="T105" fmla="*/ 2147483647 h 606"/>
              <a:gd name="T106" fmla="*/ 2147483647 w 1008"/>
              <a:gd name="T107" fmla="*/ 2147483647 h 606"/>
              <a:gd name="T108" fmla="*/ 2147483647 w 1008"/>
              <a:gd name="T109" fmla="*/ 2147483647 h 6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08"/>
              <a:gd name="T166" fmla="*/ 0 h 606"/>
              <a:gd name="T167" fmla="*/ 1008 w 1008"/>
              <a:gd name="T168" fmla="*/ 606 h 60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08" h="606">
                <a:moveTo>
                  <a:pt x="48" y="150"/>
                </a:moveTo>
                <a:lnTo>
                  <a:pt x="48" y="156"/>
                </a:lnTo>
                <a:lnTo>
                  <a:pt x="42" y="162"/>
                </a:lnTo>
                <a:lnTo>
                  <a:pt x="36" y="174"/>
                </a:lnTo>
                <a:lnTo>
                  <a:pt x="36" y="186"/>
                </a:lnTo>
                <a:lnTo>
                  <a:pt x="42" y="198"/>
                </a:lnTo>
                <a:lnTo>
                  <a:pt x="48" y="204"/>
                </a:lnTo>
                <a:lnTo>
                  <a:pt x="54" y="216"/>
                </a:lnTo>
                <a:lnTo>
                  <a:pt x="60" y="222"/>
                </a:lnTo>
                <a:lnTo>
                  <a:pt x="60" y="228"/>
                </a:lnTo>
                <a:lnTo>
                  <a:pt x="90" y="222"/>
                </a:lnTo>
                <a:lnTo>
                  <a:pt x="90" y="246"/>
                </a:lnTo>
                <a:lnTo>
                  <a:pt x="114" y="258"/>
                </a:lnTo>
                <a:lnTo>
                  <a:pt x="90" y="258"/>
                </a:lnTo>
                <a:lnTo>
                  <a:pt x="78" y="264"/>
                </a:lnTo>
                <a:lnTo>
                  <a:pt x="72" y="264"/>
                </a:lnTo>
                <a:lnTo>
                  <a:pt x="72" y="270"/>
                </a:lnTo>
                <a:lnTo>
                  <a:pt x="78" y="276"/>
                </a:lnTo>
                <a:lnTo>
                  <a:pt x="90" y="276"/>
                </a:lnTo>
                <a:lnTo>
                  <a:pt x="96" y="282"/>
                </a:lnTo>
                <a:lnTo>
                  <a:pt x="114" y="282"/>
                </a:lnTo>
                <a:lnTo>
                  <a:pt x="120" y="288"/>
                </a:lnTo>
                <a:lnTo>
                  <a:pt x="126" y="300"/>
                </a:lnTo>
                <a:lnTo>
                  <a:pt x="132" y="306"/>
                </a:lnTo>
                <a:lnTo>
                  <a:pt x="138" y="354"/>
                </a:lnTo>
                <a:lnTo>
                  <a:pt x="150" y="360"/>
                </a:lnTo>
                <a:lnTo>
                  <a:pt x="150" y="372"/>
                </a:lnTo>
                <a:lnTo>
                  <a:pt x="144" y="378"/>
                </a:lnTo>
                <a:lnTo>
                  <a:pt x="144" y="402"/>
                </a:lnTo>
                <a:lnTo>
                  <a:pt x="150" y="414"/>
                </a:lnTo>
                <a:lnTo>
                  <a:pt x="150" y="426"/>
                </a:lnTo>
                <a:lnTo>
                  <a:pt x="156" y="432"/>
                </a:lnTo>
                <a:lnTo>
                  <a:pt x="156" y="438"/>
                </a:lnTo>
                <a:lnTo>
                  <a:pt x="186" y="438"/>
                </a:lnTo>
                <a:lnTo>
                  <a:pt x="198" y="426"/>
                </a:lnTo>
                <a:lnTo>
                  <a:pt x="210" y="420"/>
                </a:lnTo>
                <a:lnTo>
                  <a:pt x="210" y="408"/>
                </a:lnTo>
                <a:lnTo>
                  <a:pt x="216" y="402"/>
                </a:lnTo>
                <a:lnTo>
                  <a:pt x="228" y="396"/>
                </a:lnTo>
                <a:lnTo>
                  <a:pt x="246" y="378"/>
                </a:lnTo>
                <a:lnTo>
                  <a:pt x="258" y="372"/>
                </a:lnTo>
                <a:lnTo>
                  <a:pt x="294" y="372"/>
                </a:lnTo>
                <a:lnTo>
                  <a:pt x="306" y="378"/>
                </a:lnTo>
                <a:lnTo>
                  <a:pt x="312" y="372"/>
                </a:lnTo>
                <a:lnTo>
                  <a:pt x="312" y="366"/>
                </a:lnTo>
                <a:lnTo>
                  <a:pt x="372" y="366"/>
                </a:lnTo>
                <a:lnTo>
                  <a:pt x="384" y="378"/>
                </a:lnTo>
                <a:lnTo>
                  <a:pt x="384" y="390"/>
                </a:lnTo>
                <a:lnTo>
                  <a:pt x="414" y="390"/>
                </a:lnTo>
                <a:lnTo>
                  <a:pt x="420" y="396"/>
                </a:lnTo>
                <a:lnTo>
                  <a:pt x="432" y="402"/>
                </a:lnTo>
                <a:lnTo>
                  <a:pt x="438" y="408"/>
                </a:lnTo>
                <a:lnTo>
                  <a:pt x="450" y="414"/>
                </a:lnTo>
                <a:lnTo>
                  <a:pt x="450" y="408"/>
                </a:lnTo>
                <a:lnTo>
                  <a:pt x="468" y="408"/>
                </a:lnTo>
                <a:lnTo>
                  <a:pt x="480" y="414"/>
                </a:lnTo>
                <a:lnTo>
                  <a:pt x="498" y="414"/>
                </a:lnTo>
                <a:lnTo>
                  <a:pt x="510" y="420"/>
                </a:lnTo>
                <a:lnTo>
                  <a:pt x="516" y="420"/>
                </a:lnTo>
                <a:lnTo>
                  <a:pt x="522" y="426"/>
                </a:lnTo>
                <a:lnTo>
                  <a:pt x="522" y="432"/>
                </a:lnTo>
                <a:lnTo>
                  <a:pt x="528" y="444"/>
                </a:lnTo>
                <a:lnTo>
                  <a:pt x="534" y="450"/>
                </a:lnTo>
                <a:lnTo>
                  <a:pt x="540" y="450"/>
                </a:lnTo>
                <a:lnTo>
                  <a:pt x="546" y="456"/>
                </a:lnTo>
                <a:lnTo>
                  <a:pt x="558" y="456"/>
                </a:lnTo>
                <a:lnTo>
                  <a:pt x="570" y="468"/>
                </a:lnTo>
                <a:lnTo>
                  <a:pt x="582" y="474"/>
                </a:lnTo>
                <a:lnTo>
                  <a:pt x="588" y="486"/>
                </a:lnTo>
                <a:lnTo>
                  <a:pt x="594" y="492"/>
                </a:lnTo>
                <a:lnTo>
                  <a:pt x="660" y="486"/>
                </a:lnTo>
                <a:lnTo>
                  <a:pt x="660" y="522"/>
                </a:lnTo>
                <a:lnTo>
                  <a:pt x="672" y="522"/>
                </a:lnTo>
                <a:lnTo>
                  <a:pt x="666" y="546"/>
                </a:lnTo>
                <a:lnTo>
                  <a:pt x="678" y="576"/>
                </a:lnTo>
                <a:lnTo>
                  <a:pt x="684" y="582"/>
                </a:lnTo>
                <a:lnTo>
                  <a:pt x="696" y="582"/>
                </a:lnTo>
                <a:lnTo>
                  <a:pt x="702" y="588"/>
                </a:lnTo>
                <a:lnTo>
                  <a:pt x="714" y="588"/>
                </a:lnTo>
                <a:lnTo>
                  <a:pt x="720" y="582"/>
                </a:lnTo>
                <a:lnTo>
                  <a:pt x="726" y="582"/>
                </a:lnTo>
                <a:lnTo>
                  <a:pt x="750" y="606"/>
                </a:lnTo>
                <a:lnTo>
                  <a:pt x="774" y="606"/>
                </a:lnTo>
                <a:lnTo>
                  <a:pt x="786" y="600"/>
                </a:lnTo>
                <a:lnTo>
                  <a:pt x="792" y="594"/>
                </a:lnTo>
                <a:lnTo>
                  <a:pt x="804" y="570"/>
                </a:lnTo>
                <a:lnTo>
                  <a:pt x="804" y="558"/>
                </a:lnTo>
                <a:lnTo>
                  <a:pt x="816" y="558"/>
                </a:lnTo>
                <a:lnTo>
                  <a:pt x="852" y="540"/>
                </a:lnTo>
                <a:lnTo>
                  <a:pt x="858" y="528"/>
                </a:lnTo>
                <a:lnTo>
                  <a:pt x="870" y="522"/>
                </a:lnTo>
                <a:lnTo>
                  <a:pt x="882" y="522"/>
                </a:lnTo>
                <a:lnTo>
                  <a:pt x="882" y="462"/>
                </a:lnTo>
                <a:lnTo>
                  <a:pt x="888" y="450"/>
                </a:lnTo>
                <a:lnTo>
                  <a:pt x="900" y="444"/>
                </a:lnTo>
                <a:lnTo>
                  <a:pt x="936" y="444"/>
                </a:lnTo>
                <a:lnTo>
                  <a:pt x="936" y="420"/>
                </a:lnTo>
                <a:lnTo>
                  <a:pt x="948" y="420"/>
                </a:lnTo>
                <a:lnTo>
                  <a:pt x="960" y="426"/>
                </a:lnTo>
                <a:lnTo>
                  <a:pt x="966" y="432"/>
                </a:lnTo>
                <a:lnTo>
                  <a:pt x="978" y="438"/>
                </a:lnTo>
                <a:lnTo>
                  <a:pt x="1008" y="438"/>
                </a:lnTo>
                <a:lnTo>
                  <a:pt x="1008" y="426"/>
                </a:lnTo>
                <a:lnTo>
                  <a:pt x="996" y="414"/>
                </a:lnTo>
                <a:lnTo>
                  <a:pt x="996" y="396"/>
                </a:lnTo>
                <a:lnTo>
                  <a:pt x="1002" y="390"/>
                </a:lnTo>
                <a:lnTo>
                  <a:pt x="954" y="360"/>
                </a:lnTo>
                <a:lnTo>
                  <a:pt x="930" y="366"/>
                </a:lnTo>
                <a:lnTo>
                  <a:pt x="924" y="366"/>
                </a:lnTo>
                <a:lnTo>
                  <a:pt x="912" y="354"/>
                </a:lnTo>
                <a:lnTo>
                  <a:pt x="900" y="354"/>
                </a:lnTo>
                <a:lnTo>
                  <a:pt x="888" y="342"/>
                </a:lnTo>
                <a:lnTo>
                  <a:pt x="876" y="336"/>
                </a:lnTo>
                <a:lnTo>
                  <a:pt x="870" y="330"/>
                </a:lnTo>
                <a:lnTo>
                  <a:pt x="846" y="318"/>
                </a:lnTo>
                <a:lnTo>
                  <a:pt x="828" y="306"/>
                </a:lnTo>
                <a:lnTo>
                  <a:pt x="804" y="306"/>
                </a:lnTo>
                <a:lnTo>
                  <a:pt x="774" y="288"/>
                </a:lnTo>
                <a:lnTo>
                  <a:pt x="768" y="282"/>
                </a:lnTo>
                <a:lnTo>
                  <a:pt x="762" y="270"/>
                </a:lnTo>
                <a:lnTo>
                  <a:pt x="750" y="258"/>
                </a:lnTo>
                <a:lnTo>
                  <a:pt x="744" y="258"/>
                </a:lnTo>
                <a:lnTo>
                  <a:pt x="732" y="252"/>
                </a:lnTo>
                <a:lnTo>
                  <a:pt x="714" y="252"/>
                </a:lnTo>
                <a:lnTo>
                  <a:pt x="702" y="246"/>
                </a:lnTo>
                <a:lnTo>
                  <a:pt x="690" y="234"/>
                </a:lnTo>
                <a:lnTo>
                  <a:pt x="672" y="198"/>
                </a:lnTo>
                <a:lnTo>
                  <a:pt x="666" y="192"/>
                </a:lnTo>
                <a:lnTo>
                  <a:pt x="666" y="186"/>
                </a:lnTo>
                <a:lnTo>
                  <a:pt x="648" y="168"/>
                </a:lnTo>
                <a:lnTo>
                  <a:pt x="630" y="138"/>
                </a:lnTo>
                <a:lnTo>
                  <a:pt x="594" y="120"/>
                </a:lnTo>
                <a:lnTo>
                  <a:pt x="594" y="126"/>
                </a:lnTo>
                <a:lnTo>
                  <a:pt x="540" y="120"/>
                </a:lnTo>
                <a:lnTo>
                  <a:pt x="510" y="120"/>
                </a:lnTo>
                <a:lnTo>
                  <a:pt x="492" y="102"/>
                </a:lnTo>
                <a:lnTo>
                  <a:pt x="492" y="90"/>
                </a:lnTo>
                <a:lnTo>
                  <a:pt x="504" y="78"/>
                </a:lnTo>
                <a:lnTo>
                  <a:pt x="492" y="72"/>
                </a:lnTo>
                <a:lnTo>
                  <a:pt x="492" y="60"/>
                </a:lnTo>
                <a:lnTo>
                  <a:pt x="486" y="48"/>
                </a:lnTo>
                <a:lnTo>
                  <a:pt x="480" y="42"/>
                </a:lnTo>
                <a:lnTo>
                  <a:pt x="444" y="42"/>
                </a:lnTo>
                <a:lnTo>
                  <a:pt x="432" y="36"/>
                </a:lnTo>
                <a:lnTo>
                  <a:pt x="432" y="24"/>
                </a:lnTo>
                <a:lnTo>
                  <a:pt x="408" y="24"/>
                </a:lnTo>
                <a:lnTo>
                  <a:pt x="390" y="0"/>
                </a:lnTo>
                <a:lnTo>
                  <a:pt x="384" y="12"/>
                </a:lnTo>
                <a:lnTo>
                  <a:pt x="354" y="6"/>
                </a:lnTo>
                <a:lnTo>
                  <a:pt x="384" y="36"/>
                </a:lnTo>
                <a:lnTo>
                  <a:pt x="378" y="30"/>
                </a:lnTo>
                <a:lnTo>
                  <a:pt x="366" y="30"/>
                </a:lnTo>
                <a:lnTo>
                  <a:pt x="360" y="24"/>
                </a:lnTo>
                <a:lnTo>
                  <a:pt x="354" y="24"/>
                </a:lnTo>
                <a:lnTo>
                  <a:pt x="348" y="30"/>
                </a:lnTo>
                <a:lnTo>
                  <a:pt x="348" y="42"/>
                </a:lnTo>
                <a:lnTo>
                  <a:pt x="342" y="42"/>
                </a:lnTo>
                <a:lnTo>
                  <a:pt x="336" y="48"/>
                </a:lnTo>
                <a:lnTo>
                  <a:pt x="324" y="48"/>
                </a:lnTo>
                <a:lnTo>
                  <a:pt x="312" y="54"/>
                </a:lnTo>
                <a:lnTo>
                  <a:pt x="294" y="72"/>
                </a:lnTo>
                <a:lnTo>
                  <a:pt x="294" y="84"/>
                </a:lnTo>
                <a:lnTo>
                  <a:pt x="300" y="102"/>
                </a:lnTo>
                <a:lnTo>
                  <a:pt x="312" y="108"/>
                </a:lnTo>
                <a:lnTo>
                  <a:pt x="318" y="120"/>
                </a:lnTo>
                <a:lnTo>
                  <a:pt x="252" y="120"/>
                </a:lnTo>
                <a:lnTo>
                  <a:pt x="240" y="108"/>
                </a:lnTo>
                <a:lnTo>
                  <a:pt x="228" y="108"/>
                </a:lnTo>
                <a:lnTo>
                  <a:pt x="228" y="114"/>
                </a:lnTo>
                <a:lnTo>
                  <a:pt x="216" y="126"/>
                </a:lnTo>
                <a:lnTo>
                  <a:pt x="210" y="120"/>
                </a:lnTo>
                <a:lnTo>
                  <a:pt x="198" y="114"/>
                </a:lnTo>
                <a:lnTo>
                  <a:pt x="174" y="90"/>
                </a:lnTo>
                <a:lnTo>
                  <a:pt x="168" y="78"/>
                </a:lnTo>
                <a:lnTo>
                  <a:pt x="162" y="72"/>
                </a:lnTo>
                <a:lnTo>
                  <a:pt x="156" y="60"/>
                </a:lnTo>
                <a:lnTo>
                  <a:pt x="144" y="54"/>
                </a:lnTo>
                <a:lnTo>
                  <a:pt x="132" y="42"/>
                </a:lnTo>
                <a:lnTo>
                  <a:pt x="120" y="42"/>
                </a:lnTo>
                <a:lnTo>
                  <a:pt x="96" y="30"/>
                </a:lnTo>
                <a:lnTo>
                  <a:pt x="78" y="30"/>
                </a:lnTo>
                <a:lnTo>
                  <a:pt x="72" y="36"/>
                </a:lnTo>
                <a:lnTo>
                  <a:pt x="72" y="48"/>
                </a:lnTo>
                <a:lnTo>
                  <a:pt x="84" y="54"/>
                </a:lnTo>
                <a:lnTo>
                  <a:pt x="90" y="54"/>
                </a:lnTo>
                <a:lnTo>
                  <a:pt x="90" y="66"/>
                </a:lnTo>
                <a:lnTo>
                  <a:pt x="96" y="66"/>
                </a:lnTo>
                <a:lnTo>
                  <a:pt x="96" y="72"/>
                </a:lnTo>
                <a:lnTo>
                  <a:pt x="102" y="84"/>
                </a:lnTo>
                <a:lnTo>
                  <a:pt x="114" y="90"/>
                </a:lnTo>
                <a:lnTo>
                  <a:pt x="126" y="102"/>
                </a:lnTo>
                <a:lnTo>
                  <a:pt x="138" y="108"/>
                </a:lnTo>
                <a:lnTo>
                  <a:pt x="150" y="120"/>
                </a:lnTo>
                <a:lnTo>
                  <a:pt x="162" y="126"/>
                </a:lnTo>
                <a:lnTo>
                  <a:pt x="162" y="150"/>
                </a:lnTo>
                <a:lnTo>
                  <a:pt x="156" y="156"/>
                </a:lnTo>
                <a:lnTo>
                  <a:pt x="144" y="156"/>
                </a:lnTo>
                <a:lnTo>
                  <a:pt x="132" y="150"/>
                </a:lnTo>
                <a:lnTo>
                  <a:pt x="120" y="138"/>
                </a:lnTo>
                <a:lnTo>
                  <a:pt x="120" y="162"/>
                </a:lnTo>
                <a:lnTo>
                  <a:pt x="78" y="162"/>
                </a:lnTo>
                <a:lnTo>
                  <a:pt x="66" y="144"/>
                </a:lnTo>
                <a:lnTo>
                  <a:pt x="60" y="150"/>
                </a:lnTo>
                <a:lnTo>
                  <a:pt x="48" y="138"/>
                </a:lnTo>
                <a:lnTo>
                  <a:pt x="42" y="126"/>
                </a:lnTo>
                <a:lnTo>
                  <a:pt x="36" y="120"/>
                </a:lnTo>
                <a:lnTo>
                  <a:pt x="36" y="102"/>
                </a:lnTo>
                <a:lnTo>
                  <a:pt x="30" y="96"/>
                </a:lnTo>
                <a:lnTo>
                  <a:pt x="30" y="84"/>
                </a:lnTo>
                <a:lnTo>
                  <a:pt x="24" y="78"/>
                </a:lnTo>
                <a:lnTo>
                  <a:pt x="0" y="78"/>
                </a:lnTo>
                <a:lnTo>
                  <a:pt x="0" y="84"/>
                </a:lnTo>
                <a:lnTo>
                  <a:pt x="6" y="90"/>
                </a:lnTo>
                <a:lnTo>
                  <a:pt x="12" y="102"/>
                </a:lnTo>
                <a:lnTo>
                  <a:pt x="18" y="108"/>
                </a:lnTo>
                <a:lnTo>
                  <a:pt x="24" y="120"/>
                </a:lnTo>
                <a:lnTo>
                  <a:pt x="36" y="126"/>
                </a:lnTo>
                <a:lnTo>
                  <a:pt x="42" y="138"/>
                </a:lnTo>
                <a:lnTo>
                  <a:pt x="48" y="144"/>
                </a:lnTo>
                <a:lnTo>
                  <a:pt x="48" y="15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1" name="Tunisia"/>
          <p:cNvSpPr>
            <a:spLocks/>
          </p:cNvSpPr>
          <p:nvPr/>
        </p:nvSpPr>
        <p:spPr bwMode="gray">
          <a:xfrm>
            <a:off x="4236308" y="3050255"/>
            <a:ext cx="109538" cy="228600"/>
          </a:xfrm>
          <a:custGeom>
            <a:avLst/>
            <a:gdLst>
              <a:gd name="T0" fmla="*/ 2147483647 w 276"/>
              <a:gd name="T1" fmla="*/ 2147483647 h 570"/>
              <a:gd name="T2" fmla="*/ 2147483647 w 276"/>
              <a:gd name="T3" fmla="*/ 2147483647 h 570"/>
              <a:gd name="T4" fmla="*/ 2147483647 w 276"/>
              <a:gd name="T5" fmla="*/ 2147483647 h 570"/>
              <a:gd name="T6" fmla="*/ 2147483647 w 276"/>
              <a:gd name="T7" fmla="*/ 2147483647 h 570"/>
              <a:gd name="T8" fmla="*/ 2147483647 w 276"/>
              <a:gd name="T9" fmla="*/ 2147483647 h 570"/>
              <a:gd name="T10" fmla="*/ 2147483647 w 276"/>
              <a:gd name="T11" fmla="*/ 2147483647 h 570"/>
              <a:gd name="T12" fmla="*/ 0 w 276"/>
              <a:gd name="T13" fmla="*/ 2147483647 h 570"/>
              <a:gd name="T14" fmla="*/ 2147483647 w 276"/>
              <a:gd name="T15" fmla="*/ 2147483647 h 570"/>
              <a:gd name="T16" fmla="*/ 2147483647 w 276"/>
              <a:gd name="T17" fmla="*/ 2147483647 h 570"/>
              <a:gd name="T18" fmla="*/ 2147483647 w 276"/>
              <a:gd name="T19" fmla="*/ 2147483647 h 570"/>
              <a:gd name="T20" fmla="*/ 2147483647 w 276"/>
              <a:gd name="T21" fmla="*/ 2147483647 h 570"/>
              <a:gd name="T22" fmla="*/ 2147483647 w 276"/>
              <a:gd name="T23" fmla="*/ 2147483647 h 570"/>
              <a:gd name="T24" fmla="*/ 2147483647 w 276"/>
              <a:gd name="T25" fmla="*/ 2147483647 h 570"/>
              <a:gd name="T26" fmla="*/ 2147483647 w 276"/>
              <a:gd name="T27" fmla="*/ 2147483647 h 570"/>
              <a:gd name="T28" fmla="*/ 2147483647 w 276"/>
              <a:gd name="T29" fmla="*/ 2147483647 h 570"/>
              <a:gd name="T30" fmla="*/ 2147483647 w 276"/>
              <a:gd name="T31" fmla="*/ 2147483647 h 570"/>
              <a:gd name="T32" fmla="*/ 2147483647 w 276"/>
              <a:gd name="T33" fmla="*/ 2147483647 h 570"/>
              <a:gd name="T34" fmla="*/ 2147483647 w 276"/>
              <a:gd name="T35" fmla="*/ 2147483647 h 570"/>
              <a:gd name="T36" fmla="*/ 2147483647 w 276"/>
              <a:gd name="T37" fmla="*/ 2147483647 h 570"/>
              <a:gd name="T38" fmla="*/ 2147483647 w 276"/>
              <a:gd name="T39" fmla="*/ 2147483647 h 570"/>
              <a:gd name="T40" fmla="*/ 2147483647 w 276"/>
              <a:gd name="T41" fmla="*/ 2147483647 h 570"/>
              <a:gd name="T42" fmla="*/ 2147483647 w 276"/>
              <a:gd name="T43" fmla="*/ 2147483647 h 570"/>
              <a:gd name="T44" fmla="*/ 2147483647 w 276"/>
              <a:gd name="T45" fmla="*/ 2147483647 h 570"/>
              <a:gd name="T46" fmla="*/ 2147483647 w 276"/>
              <a:gd name="T47" fmla="*/ 2147483647 h 570"/>
              <a:gd name="T48" fmla="*/ 2147483647 w 276"/>
              <a:gd name="T49" fmla="*/ 2147483647 h 570"/>
              <a:gd name="T50" fmla="*/ 2147483647 w 276"/>
              <a:gd name="T51" fmla="*/ 2147483647 h 570"/>
              <a:gd name="T52" fmla="*/ 2147483647 w 276"/>
              <a:gd name="T53" fmla="*/ 2147483647 h 570"/>
              <a:gd name="T54" fmla="*/ 2147483647 w 276"/>
              <a:gd name="T55" fmla="*/ 2147483647 h 570"/>
              <a:gd name="T56" fmla="*/ 2147483647 w 276"/>
              <a:gd name="T57" fmla="*/ 2147483647 h 570"/>
              <a:gd name="T58" fmla="*/ 2147483647 w 276"/>
              <a:gd name="T59" fmla="*/ 2147483647 h 570"/>
              <a:gd name="T60" fmla="*/ 2147483647 w 276"/>
              <a:gd name="T61" fmla="*/ 2147483647 h 570"/>
              <a:gd name="T62" fmla="*/ 2147483647 w 276"/>
              <a:gd name="T63" fmla="*/ 2147483647 h 570"/>
              <a:gd name="T64" fmla="*/ 2147483647 w 276"/>
              <a:gd name="T65" fmla="*/ 2147483647 h 570"/>
              <a:gd name="T66" fmla="*/ 2147483647 w 276"/>
              <a:gd name="T67" fmla="*/ 2147483647 h 570"/>
              <a:gd name="T68" fmla="*/ 2147483647 w 276"/>
              <a:gd name="T69" fmla="*/ 2147483647 h 570"/>
              <a:gd name="T70" fmla="*/ 2147483647 w 276"/>
              <a:gd name="T71" fmla="*/ 2147483647 h 570"/>
              <a:gd name="T72" fmla="*/ 2147483647 w 276"/>
              <a:gd name="T73" fmla="*/ 2147483647 h 570"/>
              <a:gd name="T74" fmla="*/ 2147483647 w 276"/>
              <a:gd name="T75" fmla="*/ 2147483647 h 570"/>
              <a:gd name="T76" fmla="*/ 2147483647 w 276"/>
              <a:gd name="T77" fmla="*/ 2147483647 h 570"/>
              <a:gd name="T78" fmla="*/ 2147483647 w 276"/>
              <a:gd name="T79" fmla="*/ 2147483647 h 570"/>
              <a:gd name="T80" fmla="*/ 2147483647 w 276"/>
              <a:gd name="T81" fmla="*/ 2147483647 h 570"/>
              <a:gd name="T82" fmla="*/ 2147483647 w 276"/>
              <a:gd name="T83" fmla="*/ 2147483647 h 570"/>
              <a:gd name="T84" fmla="*/ 2147483647 w 276"/>
              <a:gd name="T85" fmla="*/ 2147483647 h 570"/>
              <a:gd name="T86" fmla="*/ 2147483647 w 276"/>
              <a:gd name="T87" fmla="*/ 2147483647 h 570"/>
              <a:gd name="T88" fmla="*/ 2147483647 w 276"/>
              <a:gd name="T89" fmla="*/ 0 h 570"/>
              <a:gd name="T90" fmla="*/ 2147483647 w 276"/>
              <a:gd name="T91" fmla="*/ 2147483647 h 570"/>
              <a:gd name="T92" fmla="*/ 2147483647 w 276"/>
              <a:gd name="T93" fmla="*/ 2147483647 h 570"/>
              <a:gd name="T94" fmla="*/ 2147483647 w 276"/>
              <a:gd name="T95" fmla="*/ 2147483647 h 5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76"/>
              <a:gd name="T145" fmla="*/ 0 h 570"/>
              <a:gd name="T146" fmla="*/ 276 w 276"/>
              <a:gd name="T147" fmla="*/ 570 h 57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76" h="570">
                <a:moveTo>
                  <a:pt x="42" y="60"/>
                </a:moveTo>
                <a:lnTo>
                  <a:pt x="60" y="66"/>
                </a:lnTo>
                <a:lnTo>
                  <a:pt x="60" y="78"/>
                </a:lnTo>
                <a:lnTo>
                  <a:pt x="54" y="90"/>
                </a:lnTo>
                <a:lnTo>
                  <a:pt x="54" y="126"/>
                </a:lnTo>
                <a:lnTo>
                  <a:pt x="60" y="138"/>
                </a:lnTo>
                <a:lnTo>
                  <a:pt x="60" y="180"/>
                </a:lnTo>
                <a:lnTo>
                  <a:pt x="54" y="192"/>
                </a:lnTo>
                <a:lnTo>
                  <a:pt x="54" y="204"/>
                </a:lnTo>
                <a:lnTo>
                  <a:pt x="48" y="210"/>
                </a:lnTo>
                <a:lnTo>
                  <a:pt x="48" y="216"/>
                </a:lnTo>
                <a:lnTo>
                  <a:pt x="24" y="234"/>
                </a:lnTo>
                <a:lnTo>
                  <a:pt x="0" y="258"/>
                </a:lnTo>
                <a:lnTo>
                  <a:pt x="0" y="300"/>
                </a:lnTo>
                <a:lnTo>
                  <a:pt x="12" y="300"/>
                </a:lnTo>
                <a:lnTo>
                  <a:pt x="12" y="330"/>
                </a:lnTo>
                <a:lnTo>
                  <a:pt x="24" y="330"/>
                </a:lnTo>
                <a:lnTo>
                  <a:pt x="42" y="336"/>
                </a:lnTo>
                <a:lnTo>
                  <a:pt x="54" y="348"/>
                </a:lnTo>
                <a:lnTo>
                  <a:pt x="54" y="390"/>
                </a:lnTo>
                <a:lnTo>
                  <a:pt x="60" y="390"/>
                </a:lnTo>
                <a:lnTo>
                  <a:pt x="66" y="396"/>
                </a:lnTo>
                <a:lnTo>
                  <a:pt x="90" y="408"/>
                </a:lnTo>
                <a:lnTo>
                  <a:pt x="96" y="420"/>
                </a:lnTo>
                <a:lnTo>
                  <a:pt x="102" y="426"/>
                </a:lnTo>
                <a:lnTo>
                  <a:pt x="108" y="450"/>
                </a:lnTo>
                <a:lnTo>
                  <a:pt x="114" y="492"/>
                </a:lnTo>
                <a:lnTo>
                  <a:pt x="126" y="540"/>
                </a:lnTo>
                <a:lnTo>
                  <a:pt x="138" y="570"/>
                </a:lnTo>
                <a:lnTo>
                  <a:pt x="144" y="564"/>
                </a:lnTo>
                <a:lnTo>
                  <a:pt x="156" y="564"/>
                </a:lnTo>
                <a:lnTo>
                  <a:pt x="186" y="534"/>
                </a:lnTo>
                <a:lnTo>
                  <a:pt x="186" y="510"/>
                </a:lnTo>
                <a:lnTo>
                  <a:pt x="174" y="486"/>
                </a:lnTo>
                <a:lnTo>
                  <a:pt x="174" y="468"/>
                </a:lnTo>
                <a:lnTo>
                  <a:pt x="192" y="450"/>
                </a:lnTo>
                <a:lnTo>
                  <a:pt x="198" y="450"/>
                </a:lnTo>
                <a:lnTo>
                  <a:pt x="204" y="438"/>
                </a:lnTo>
                <a:lnTo>
                  <a:pt x="210" y="432"/>
                </a:lnTo>
                <a:lnTo>
                  <a:pt x="216" y="420"/>
                </a:lnTo>
                <a:lnTo>
                  <a:pt x="222" y="414"/>
                </a:lnTo>
                <a:lnTo>
                  <a:pt x="234" y="408"/>
                </a:lnTo>
                <a:lnTo>
                  <a:pt x="246" y="408"/>
                </a:lnTo>
                <a:lnTo>
                  <a:pt x="270" y="396"/>
                </a:lnTo>
                <a:lnTo>
                  <a:pt x="276" y="390"/>
                </a:lnTo>
                <a:lnTo>
                  <a:pt x="276" y="384"/>
                </a:lnTo>
                <a:lnTo>
                  <a:pt x="264" y="372"/>
                </a:lnTo>
                <a:lnTo>
                  <a:pt x="258" y="372"/>
                </a:lnTo>
                <a:lnTo>
                  <a:pt x="264" y="330"/>
                </a:lnTo>
                <a:lnTo>
                  <a:pt x="252" y="330"/>
                </a:lnTo>
                <a:lnTo>
                  <a:pt x="240" y="300"/>
                </a:lnTo>
                <a:lnTo>
                  <a:pt x="228" y="294"/>
                </a:lnTo>
                <a:lnTo>
                  <a:pt x="222" y="306"/>
                </a:lnTo>
                <a:lnTo>
                  <a:pt x="216" y="294"/>
                </a:lnTo>
                <a:lnTo>
                  <a:pt x="198" y="294"/>
                </a:lnTo>
                <a:lnTo>
                  <a:pt x="186" y="288"/>
                </a:lnTo>
                <a:lnTo>
                  <a:pt x="180" y="282"/>
                </a:lnTo>
                <a:lnTo>
                  <a:pt x="168" y="276"/>
                </a:lnTo>
                <a:lnTo>
                  <a:pt x="168" y="246"/>
                </a:lnTo>
                <a:lnTo>
                  <a:pt x="174" y="240"/>
                </a:lnTo>
                <a:lnTo>
                  <a:pt x="180" y="240"/>
                </a:lnTo>
                <a:lnTo>
                  <a:pt x="234" y="186"/>
                </a:lnTo>
                <a:lnTo>
                  <a:pt x="240" y="174"/>
                </a:lnTo>
                <a:lnTo>
                  <a:pt x="240" y="156"/>
                </a:lnTo>
                <a:lnTo>
                  <a:pt x="234" y="144"/>
                </a:lnTo>
                <a:lnTo>
                  <a:pt x="216" y="126"/>
                </a:lnTo>
                <a:lnTo>
                  <a:pt x="204" y="120"/>
                </a:lnTo>
                <a:lnTo>
                  <a:pt x="198" y="120"/>
                </a:lnTo>
                <a:lnTo>
                  <a:pt x="198" y="102"/>
                </a:lnTo>
                <a:lnTo>
                  <a:pt x="204" y="90"/>
                </a:lnTo>
                <a:lnTo>
                  <a:pt x="204" y="78"/>
                </a:lnTo>
                <a:lnTo>
                  <a:pt x="210" y="72"/>
                </a:lnTo>
                <a:lnTo>
                  <a:pt x="222" y="66"/>
                </a:lnTo>
                <a:lnTo>
                  <a:pt x="228" y="60"/>
                </a:lnTo>
                <a:lnTo>
                  <a:pt x="234" y="48"/>
                </a:lnTo>
                <a:lnTo>
                  <a:pt x="234" y="36"/>
                </a:lnTo>
                <a:lnTo>
                  <a:pt x="240" y="30"/>
                </a:lnTo>
                <a:lnTo>
                  <a:pt x="240" y="18"/>
                </a:lnTo>
                <a:lnTo>
                  <a:pt x="228" y="18"/>
                </a:lnTo>
                <a:lnTo>
                  <a:pt x="222" y="30"/>
                </a:lnTo>
                <a:lnTo>
                  <a:pt x="210" y="36"/>
                </a:lnTo>
                <a:lnTo>
                  <a:pt x="204" y="48"/>
                </a:lnTo>
                <a:lnTo>
                  <a:pt x="192" y="60"/>
                </a:lnTo>
                <a:lnTo>
                  <a:pt x="186" y="60"/>
                </a:lnTo>
                <a:lnTo>
                  <a:pt x="174" y="54"/>
                </a:lnTo>
                <a:lnTo>
                  <a:pt x="162" y="42"/>
                </a:lnTo>
                <a:lnTo>
                  <a:pt x="174" y="30"/>
                </a:lnTo>
                <a:lnTo>
                  <a:pt x="174" y="24"/>
                </a:lnTo>
                <a:lnTo>
                  <a:pt x="180" y="12"/>
                </a:lnTo>
                <a:lnTo>
                  <a:pt x="168" y="0"/>
                </a:lnTo>
                <a:lnTo>
                  <a:pt x="138" y="0"/>
                </a:lnTo>
                <a:lnTo>
                  <a:pt x="126" y="6"/>
                </a:lnTo>
                <a:lnTo>
                  <a:pt x="108" y="12"/>
                </a:lnTo>
                <a:lnTo>
                  <a:pt x="96" y="18"/>
                </a:lnTo>
                <a:lnTo>
                  <a:pt x="84" y="30"/>
                </a:lnTo>
                <a:lnTo>
                  <a:pt x="84" y="42"/>
                </a:lnTo>
                <a:lnTo>
                  <a:pt x="42" y="6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2" name="Tschechien"/>
          <p:cNvSpPr>
            <a:spLocks/>
          </p:cNvSpPr>
          <p:nvPr/>
        </p:nvSpPr>
        <p:spPr bwMode="gray">
          <a:xfrm>
            <a:off x="4355371" y="2612105"/>
            <a:ext cx="169862" cy="77788"/>
          </a:xfrm>
          <a:custGeom>
            <a:avLst/>
            <a:gdLst>
              <a:gd name="T0" fmla="*/ 2147483647 w 420"/>
              <a:gd name="T1" fmla="*/ 2147483647 h 192"/>
              <a:gd name="T2" fmla="*/ 2147483647 w 420"/>
              <a:gd name="T3" fmla="*/ 2147483647 h 192"/>
              <a:gd name="T4" fmla="*/ 2147483647 w 420"/>
              <a:gd name="T5" fmla="*/ 2147483647 h 192"/>
              <a:gd name="T6" fmla="*/ 2147483647 w 420"/>
              <a:gd name="T7" fmla="*/ 2147483647 h 192"/>
              <a:gd name="T8" fmla="*/ 2147483647 w 420"/>
              <a:gd name="T9" fmla="*/ 2147483647 h 192"/>
              <a:gd name="T10" fmla="*/ 2147483647 w 420"/>
              <a:gd name="T11" fmla="*/ 2147483647 h 192"/>
              <a:gd name="T12" fmla="*/ 2147483647 w 420"/>
              <a:gd name="T13" fmla="*/ 2147483647 h 192"/>
              <a:gd name="T14" fmla="*/ 2147483647 w 420"/>
              <a:gd name="T15" fmla="*/ 2147483647 h 192"/>
              <a:gd name="T16" fmla="*/ 2147483647 w 420"/>
              <a:gd name="T17" fmla="*/ 2147483647 h 192"/>
              <a:gd name="T18" fmla="*/ 2147483647 w 420"/>
              <a:gd name="T19" fmla="*/ 2147483647 h 192"/>
              <a:gd name="T20" fmla="*/ 2147483647 w 420"/>
              <a:gd name="T21" fmla="*/ 2147483647 h 192"/>
              <a:gd name="T22" fmla="*/ 2147483647 w 420"/>
              <a:gd name="T23" fmla="*/ 2147483647 h 192"/>
              <a:gd name="T24" fmla="*/ 2147483647 w 420"/>
              <a:gd name="T25" fmla="*/ 2147483647 h 192"/>
              <a:gd name="T26" fmla="*/ 2147483647 w 420"/>
              <a:gd name="T27" fmla="*/ 2147483647 h 192"/>
              <a:gd name="T28" fmla="*/ 2147483647 w 420"/>
              <a:gd name="T29" fmla="*/ 0 h 192"/>
              <a:gd name="T30" fmla="*/ 2147483647 w 420"/>
              <a:gd name="T31" fmla="*/ 2147483647 h 192"/>
              <a:gd name="T32" fmla="*/ 2147483647 w 420"/>
              <a:gd name="T33" fmla="*/ 0 h 192"/>
              <a:gd name="T34" fmla="*/ 2147483647 w 420"/>
              <a:gd name="T35" fmla="*/ 2147483647 h 192"/>
              <a:gd name="T36" fmla="*/ 2147483647 w 420"/>
              <a:gd name="T37" fmla="*/ 2147483647 h 192"/>
              <a:gd name="T38" fmla="*/ 2147483647 w 420"/>
              <a:gd name="T39" fmla="*/ 2147483647 h 192"/>
              <a:gd name="T40" fmla="*/ 2147483647 w 420"/>
              <a:gd name="T41" fmla="*/ 2147483647 h 192"/>
              <a:gd name="T42" fmla="*/ 2147483647 w 420"/>
              <a:gd name="T43" fmla="*/ 2147483647 h 192"/>
              <a:gd name="T44" fmla="*/ 2147483647 w 420"/>
              <a:gd name="T45" fmla="*/ 2147483647 h 192"/>
              <a:gd name="T46" fmla="*/ 2147483647 w 420"/>
              <a:gd name="T47" fmla="*/ 2147483647 h 192"/>
              <a:gd name="T48" fmla="*/ 2147483647 w 420"/>
              <a:gd name="T49" fmla="*/ 2147483647 h 192"/>
              <a:gd name="T50" fmla="*/ 2147483647 w 420"/>
              <a:gd name="T51" fmla="*/ 2147483647 h 192"/>
              <a:gd name="T52" fmla="*/ 0 w 420"/>
              <a:gd name="T53" fmla="*/ 2147483647 h 192"/>
              <a:gd name="T54" fmla="*/ 2147483647 w 420"/>
              <a:gd name="T55" fmla="*/ 2147483647 h 192"/>
              <a:gd name="T56" fmla="*/ 2147483647 w 420"/>
              <a:gd name="T57" fmla="*/ 2147483647 h 192"/>
              <a:gd name="T58" fmla="*/ 2147483647 w 420"/>
              <a:gd name="T59" fmla="*/ 2147483647 h 192"/>
              <a:gd name="T60" fmla="*/ 2147483647 w 420"/>
              <a:gd name="T61" fmla="*/ 2147483647 h 192"/>
              <a:gd name="T62" fmla="*/ 2147483647 w 420"/>
              <a:gd name="T63" fmla="*/ 2147483647 h 192"/>
              <a:gd name="T64" fmla="*/ 2147483647 w 420"/>
              <a:gd name="T65" fmla="*/ 2147483647 h 192"/>
              <a:gd name="T66" fmla="*/ 2147483647 w 420"/>
              <a:gd name="T67" fmla="*/ 2147483647 h 192"/>
              <a:gd name="T68" fmla="*/ 2147483647 w 420"/>
              <a:gd name="T69" fmla="*/ 2147483647 h 192"/>
              <a:gd name="T70" fmla="*/ 2147483647 w 420"/>
              <a:gd name="T71" fmla="*/ 2147483647 h 192"/>
              <a:gd name="T72" fmla="*/ 2147483647 w 420"/>
              <a:gd name="T73" fmla="*/ 2147483647 h 192"/>
              <a:gd name="T74" fmla="*/ 2147483647 w 420"/>
              <a:gd name="T75" fmla="*/ 2147483647 h 192"/>
              <a:gd name="T76" fmla="*/ 2147483647 w 420"/>
              <a:gd name="T77" fmla="*/ 2147483647 h 192"/>
              <a:gd name="T78" fmla="*/ 2147483647 w 420"/>
              <a:gd name="T79" fmla="*/ 2147483647 h 192"/>
              <a:gd name="T80" fmla="*/ 2147483647 w 420"/>
              <a:gd name="T81" fmla="*/ 2147483647 h 192"/>
              <a:gd name="T82" fmla="*/ 2147483647 w 420"/>
              <a:gd name="T83" fmla="*/ 2147483647 h 192"/>
              <a:gd name="T84" fmla="*/ 2147483647 w 420"/>
              <a:gd name="T85" fmla="*/ 2147483647 h 192"/>
              <a:gd name="T86" fmla="*/ 2147483647 w 420"/>
              <a:gd name="T87" fmla="*/ 2147483647 h 192"/>
              <a:gd name="T88" fmla="*/ 2147483647 w 420"/>
              <a:gd name="T89" fmla="*/ 2147483647 h 192"/>
              <a:gd name="T90" fmla="*/ 2147483647 w 420"/>
              <a:gd name="T91" fmla="*/ 2147483647 h 192"/>
              <a:gd name="T92" fmla="*/ 2147483647 w 420"/>
              <a:gd name="T93" fmla="*/ 2147483647 h 192"/>
              <a:gd name="T94" fmla="*/ 2147483647 w 420"/>
              <a:gd name="T95" fmla="*/ 2147483647 h 192"/>
              <a:gd name="T96" fmla="*/ 2147483647 w 420"/>
              <a:gd name="T97" fmla="*/ 2147483647 h 192"/>
              <a:gd name="T98" fmla="*/ 2147483647 w 420"/>
              <a:gd name="T99" fmla="*/ 2147483647 h 192"/>
              <a:gd name="T100" fmla="*/ 2147483647 w 420"/>
              <a:gd name="T101" fmla="*/ 2147483647 h 192"/>
              <a:gd name="T102" fmla="*/ 2147483647 w 420"/>
              <a:gd name="T103" fmla="*/ 2147483647 h 192"/>
              <a:gd name="T104" fmla="*/ 2147483647 w 420"/>
              <a:gd name="T105" fmla="*/ 2147483647 h 19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20"/>
              <a:gd name="T160" fmla="*/ 0 h 192"/>
              <a:gd name="T161" fmla="*/ 420 w 420"/>
              <a:gd name="T162" fmla="*/ 192 h 19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20" h="192">
                <a:moveTo>
                  <a:pt x="408" y="108"/>
                </a:moveTo>
                <a:lnTo>
                  <a:pt x="402" y="96"/>
                </a:lnTo>
                <a:lnTo>
                  <a:pt x="402" y="90"/>
                </a:lnTo>
                <a:lnTo>
                  <a:pt x="390" y="84"/>
                </a:lnTo>
                <a:lnTo>
                  <a:pt x="372" y="84"/>
                </a:lnTo>
                <a:lnTo>
                  <a:pt x="372" y="78"/>
                </a:lnTo>
                <a:lnTo>
                  <a:pt x="366" y="72"/>
                </a:lnTo>
                <a:lnTo>
                  <a:pt x="360" y="84"/>
                </a:lnTo>
                <a:lnTo>
                  <a:pt x="354" y="78"/>
                </a:lnTo>
                <a:lnTo>
                  <a:pt x="348" y="66"/>
                </a:lnTo>
                <a:lnTo>
                  <a:pt x="342" y="60"/>
                </a:lnTo>
                <a:lnTo>
                  <a:pt x="324" y="60"/>
                </a:lnTo>
                <a:lnTo>
                  <a:pt x="330" y="54"/>
                </a:lnTo>
                <a:lnTo>
                  <a:pt x="312" y="54"/>
                </a:lnTo>
                <a:lnTo>
                  <a:pt x="300" y="60"/>
                </a:lnTo>
                <a:lnTo>
                  <a:pt x="294" y="60"/>
                </a:lnTo>
                <a:lnTo>
                  <a:pt x="294" y="66"/>
                </a:lnTo>
                <a:lnTo>
                  <a:pt x="276" y="66"/>
                </a:lnTo>
                <a:lnTo>
                  <a:pt x="270" y="60"/>
                </a:lnTo>
                <a:lnTo>
                  <a:pt x="264" y="60"/>
                </a:lnTo>
                <a:lnTo>
                  <a:pt x="264" y="48"/>
                </a:lnTo>
                <a:lnTo>
                  <a:pt x="252" y="42"/>
                </a:lnTo>
                <a:lnTo>
                  <a:pt x="264" y="36"/>
                </a:lnTo>
                <a:lnTo>
                  <a:pt x="258" y="30"/>
                </a:lnTo>
                <a:lnTo>
                  <a:pt x="234" y="30"/>
                </a:lnTo>
                <a:lnTo>
                  <a:pt x="234" y="24"/>
                </a:lnTo>
                <a:lnTo>
                  <a:pt x="228" y="24"/>
                </a:lnTo>
                <a:lnTo>
                  <a:pt x="216" y="18"/>
                </a:lnTo>
                <a:lnTo>
                  <a:pt x="198" y="18"/>
                </a:lnTo>
                <a:lnTo>
                  <a:pt x="192" y="0"/>
                </a:lnTo>
                <a:lnTo>
                  <a:pt x="174" y="0"/>
                </a:lnTo>
                <a:lnTo>
                  <a:pt x="162" y="12"/>
                </a:lnTo>
                <a:lnTo>
                  <a:pt x="156" y="12"/>
                </a:lnTo>
                <a:lnTo>
                  <a:pt x="144" y="0"/>
                </a:lnTo>
                <a:lnTo>
                  <a:pt x="138" y="6"/>
                </a:lnTo>
                <a:lnTo>
                  <a:pt x="132" y="6"/>
                </a:lnTo>
                <a:lnTo>
                  <a:pt x="126" y="12"/>
                </a:lnTo>
                <a:lnTo>
                  <a:pt x="126" y="18"/>
                </a:lnTo>
                <a:lnTo>
                  <a:pt x="108" y="18"/>
                </a:lnTo>
                <a:lnTo>
                  <a:pt x="108" y="24"/>
                </a:lnTo>
                <a:lnTo>
                  <a:pt x="84" y="24"/>
                </a:lnTo>
                <a:lnTo>
                  <a:pt x="84" y="30"/>
                </a:lnTo>
                <a:lnTo>
                  <a:pt x="66" y="36"/>
                </a:lnTo>
                <a:lnTo>
                  <a:pt x="54" y="48"/>
                </a:lnTo>
                <a:lnTo>
                  <a:pt x="42" y="42"/>
                </a:lnTo>
                <a:lnTo>
                  <a:pt x="36" y="42"/>
                </a:lnTo>
                <a:lnTo>
                  <a:pt x="30" y="48"/>
                </a:lnTo>
                <a:lnTo>
                  <a:pt x="30" y="54"/>
                </a:lnTo>
                <a:lnTo>
                  <a:pt x="18" y="54"/>
                </a:lnTo>
                <a:lnTo>
                  <a:pt x="18" y="60"/>
                </a:lnTo>
                <a:lnTo>
                  <a:pt x="6" y="60"/>
                </a:lnTo>
                <a:lnTo>
                  <a:pt x="6" y="54"/>
                </a:lnTo>
                <a:lnTo>
                  <a:pt x="0" y="54"/>
                </a:lnTo>
                <a:lnTo>
                  <a:pt x="0" y="66"/>
                </a:lnTo>
                <a:lnTo>
                  <a:pt x="6" y="72"/>
                </a:lnTo>
                <a:lnTo>
                  <a:pt x="12" y="72"/>
                </a:lnTo>
                <a:lnTo>
                  <a:pt x="24" y="84"/>
                </a:lnTo>
                <a:lnTo>
                  <a:pt x="18" y="90"/>
                </a:lnTo>
                <a:lnTo>
                  <a:pt x="12" y="90"/>
                </a:lnTo>
                <a:lnTo>
                  <a:pt x="12" y="96"/>
                </a:lnTo>
                <a:lnTo>
                  <a:pt x="24" y="108"/>
                </a:lnTo>
                <a:lnTo>
                  <a:pt x="30" y="120"/>
                </a:lnTo>
                <a:lnTo>
                  <a:pt x="36" y="120"/>
                </a:lnTo>
                <a:lnTo>
                  <a:pt x="36" y="126"/>
                </a:lnTo>
                <a:lnTo>
                  <a:pt x="48" y="132"/>
                </a:lnTo>
                <a:lnTo>
                  <a:pt x="60" y="132"/>
                </a:lnTo>
                <a:lnTo>
                  <a:pt x="66" y="144"/>
                </a:lnTo>
                <a:lnTo>
                  <a:pt x="72" y="144"/>
                </a:lnTo>
                <a:lnTo>
                  <a:pt x="78" y="156"/>
                </a:lnTo>
                <a:lnTo>
                  <a:pt x="90" y="156"/>
                </a:lnTo>
                <a:lnTo>
                  <a:pt x="96" y="162"/>
                </a:lnTo>
                <a:lnTo>
                  <a:pt x="102" y="162"/>
                </a:lnTo>
                <a:lnTo>
                  <a:pt x="102" y="174"/>
                </a:lnTo>
                <a:lnTo>
                  <a:pt x="120" y="192"/>
                </a:lnTo>
                <a:lnTo>
                  <a:pt x="132" y="192"/>
                </a:lnTo>
                <a:lnTo>
                  <a:pt x="144" y="186"/>
                </a:lnTo>
                <a:lnTo>
                  <a:pt x="150" y="186"/>
                </a:lnTo>
                <a:lnTo>
                  <a:pt x="162" y="192"/>
                </a:lnTo>
                <a:lnTo>
                  <a:pt x="162" y="174"/>
                </a:lnTo>
                <a:lnTo>
                  <a:pt x="168" y="174"/>
                </a:lnTo>
                <a:lnTo>
                  <a:pt x="174" y="162"/>
                </a:lnTo>
                <a:lnTo>
                  <a:pt x="180" y="156"/>
                </a:lnTo>
                <a:lnTo>
                  <a:pt x="198" y="156"/>
                </a:lnTo>
                <a:lnTo>
                  <a:pt x="210" y="162"/>
                </a:lnTo>
                <a:lnTo>
                  <a:pt x="222" y="174"/>
                </a:lnTo>
                <a:lnTo>
                  <a:pt x="234" y="168"/>
                </a:lnTo>
                <a:lnTo>
                  <a:pt x="246" y="180"/>
                </a:lnTo>
                <a:lnTo>
                  <a:pt x="258" y="174"/>
                </a:lnTo>
                <a:lnTo>
                  <a:pt x="264" y="168"/>
                </a:lnTo>
                <a:lnTo>
                  <a:pt x="276" y="168"/>
                </a:lnTo>
                <a:lnTo>
                  <a:pt x="282" y="174"/>
                </a:lnTo>
                <a:lnTo>
                  <a:pt x="288" y="174"/>
                </a:lnTo>
                <a:lnTo>
                  <a:pt x="300" y="180"/>
                </a:lnTo>
                <a:lnTo>
                  <a:pt x="306" y="174"/>
                </a:lnTo>
                <a:lnTo>
                  <a:pt x="324" y="174"/>
                </a:lnTo>
                <a:lnTo>
                  <a:pt x="330" y="168"/>
                </a:lnTo>
                <a:lnTo>
                  <a:pt x="330" y="174"/>
                </a:lnTo>
                <a:lnTo>
                  <a:pt x="348" y="174"/>
                </a:lnTo>
                <a:lnTo>
                  <a:pt x="360" y="168"/>
                </a:lnTo>
                <a:lnTo>
                  <a:pt x="366" y="162"/>
                </a:lnTo>
                <a:lnTo>
                  <a:pt x="378" y="156"/>
                </a:lnTo>
                <a:lnTo>
                  <a:pt x="378" y="132"/>
                </a:lnTo>
                <a:lnTo>
                  <a:pt x="402" y="126"/>
                </a:lnTo>
                <a:lnTo>
                  <a:pt x="420" y="114"/>
                </a:lnTo>
                <a:lnTo>
                  <a:pt x="414" y="108"/>
                </a:lnTo>
                <a:lnTo>
                  <a:pt x="408" y="108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" name="Togo"/>
          <p:cNvSpPr>
            <a:spLocks/>
          </p:cNvSpPr>
          <p:nvPr/>
        </p:nvSpPr>
        <p:spPr bwMode="gray">
          <a:xfrm>
            <a:off x="4012471" y="3901155"/>
            <a:ext cx="57150" cy="161925"/>
          </a:xfrm>
          <a:custGeom>
            <a:avLst/>
            <a:gdLst>
              <a:gd name="T0" fmla="*/ 2147483647 w 138"/>
              <a:gd name="T1" fmla="*/ 2147483647 h 402"/>
              <a:gd name="T2" fmla="*/ 2147483647 w 138"/>
              <a:gd name="T3" fmla="*/ 2147483647 h 402"/>
              <a:gd name="T4" fmla="*/ 2147483647 w 138"/>
              <a:gd name="T5" fmla="*/ 2147483647 h 402"/>
              <a:gd name="T6" fmla="*/ 2147483647 w 138"/>
              <a:gd name="T7" fmla="*/ 2147483647 h 402"/>
              <a:gd name="T8" fmla="*/ 2147483647 w 138"/>
              <a:gd name="T9" fmla="*/ 2147483647 h 402"/>
              <a:gd name="T10" fmla="*/ 2147483647 w 138"/>
              <a:gd name="T11" fmla="*/ 2147483647 h 402"/>
              <a:gd name="T12" fmla="*/ 2147483647 w 138"/>
              <a:gd name="T13" fmla="*/ 2147483647 h 402"/>
              <a:gd name="T14" fmla="*/ 2147483647 w 138"/>
              <a:gd name="T15" fmla="*/ 2147483647 h 402"/>
              <a:gd name="T16" fmla="*/ 2147483647 w 138"/>
              <a:gd name="T17" fmla="*/ 2147483647 h 402"/>
              <a:gd name="T18" fmla="*/ 2147483647 w 138"/>
              <a:gd name="T19" fmla="*/ 2147483647 h 402"/>
              <a:gd name="T20" fmla="*/ 2147483647 w 138"/>
              <a:gd name="T21" fmla="*/ 2147483647 h 402"/>
              <a:gd name="T22" fmla="*/ 2147483647 w 138"/>
              <a:gd name="T23" fmla="*/ 2147483647 h 402"/>
              <a:gd name="T24" fmla="*/ 2147483647 w 138"/>
              <a:gd name="T25" fmla="*/ 2147483647 h 402"/>
              <a:gd name="T26" fmla="*/ 2147483647 w 138"/>
              <a:gd name="T27" fmla="*/ 2147483647 h 402"/>
              <a:gd name="T28" fmla="*/ 2147483647 w 138"/>
              <a:gd name="T29" fmla="*/ 2147483647 h 402"/>
              <a:gd name="T30" fmla="*/ 2147483647 w 138"/>
              <a:gd name="T31" fmla="*/ 2147483647 h 402"/>
              <a:gd name="T32" fmla="*/ 2147483647 w 138"/>
              <a:gd name="T33" fmla="*/ 0 h 402"/>
              <a:gd name="T34" fmla="*/ 2147483647 w 138"/>
              <a:gd name="T35" fmla="*/ 0 h 402"/>
              <a:gd name="T36" fmla="*/ 2147483647 w 138"/>
              <a:gd name="T37" fmla="*/ 2147483647 h 402"/>
              <a:gd name="T38" fmla="*/ 0 w 138"/>
              <a:gd name="T39" fmla="*/ 2147483647 h 402"/>
              <a:gd name="T40" fmla="*/ 2147483647 w 138"/>
              <a:gd name="T41" fmla="*/ 2147483647 h 402"/>
              <a:gd name="T42" fmla="*/ 2147483647 w 138"/>
              <a:gd name="T43" fmla="*/ 2147483647 h 402"/>
              <a:gd name="T44" fmla="*/ 2147483647 w 138"/>
              <a:gd name="T45" fmla="*/ 2147483647 h 402"/>
              <a:gd name="T46" fmla="*/ 2147483647 w 138"/>
              <a:gd name="T47" fmla="*/ 2147483647 h 402"/>
              <a:gd name="T48" fmla="*/ 2147483647 w 138"/>
              <a:gd name="T49" fmla="*/ 2147483647 h 402"/>
              <a:gd name="T50" fmla="*/ 2147483647 w 138"/>
              <a:gd name="T51" fmla="*/ 2147483647 h 402"/>
              <a:gd name="T52" fmla="*/ 2147483647 w 138"/>
              <a:gd name="T53" fmla="*/ 2147483647 h 402"/>
              <a:gd name="T54" fmla="*/ 2147483647 w 138"/>
              <a:gd name="T55" fmla="*/ 2147483647 h 402"/>
              <a:gd name="T56" fmla="*/ 2147483647 w 138"/>
              <a:gd name="T57" fmla="*/ 2147483647 h 402"/>
              <a:gd name="T58" fmla="*/ 2147483647 w 138"/>
              <a:gd name="T59" fmla="*/ 2147483647 h 402"/>
              <a:gd name="T60" fmla="*/ 2147483647 w 138"/>
              <a:gd name="T61" fmla="*/ 2147483647 h 402"/>
              <a:gd name="T62" fmla="*/ 2147483647 w 138"/>
              <a:gd name="T63" fmla="*/ 2147483647 h 402"/>
              <a:gd name="T64" fmla="*/ 2147483647 w 138"/>
              <a:gd name="T65" fmla="*/ 2147483647 h 402"/>
              <a:gd name="T66" fmla="*/ 2147483647 w 138"/>
              <a:gd name="T67" fmla="*/ 2147483647 h 402"/>
              <a:gd name="T68" fmla="*/ 2147483647 w 138"/>
              <a:gd name="T69" fmla="*/ 2147483647 h 402"/>
              <a:gd name="T70" fmla="*/ 2147483647 w 138"/>
              <a:gd name="T71" fmla="*/ 2147483647 h 402"/>
              <a:gd name="T72" fmla="*/ 2147483647 w 138"/>
              <a:gd name="T73" fmla="*/ 2147483647 h 402"/>
              <a:gd name="T74" fmla="*/ 2147483647 w 138"/>
              <a:gd name="T75" fmla="*/ 2147483647 h 402"/>
              <a:gd name="T76" fmla="*/ 2147483647 w 138"/>
              <a:gd name="T77" fmla="*/ 2147483647 h 402"/>
              <a:gd name="T78" fmla="*/ 2147483647 w 138"/>
              <a:gd name="T79" fmla="*/ 2147483647 h 402"/>
              <a:gd name="T80" fmla="*/ 2147483647 w 138"/>
              <a:gd name="T81" fmla="*/ 2147483647 h 402"/>
              <a:gd name="T82" fmla="*/ 2147483647 w 138"/>
              <a:gd name="T83" fmla="*/ 2147483647 h 402"/>
              <a:gd name="T84" fmla="*/ 2147483647 w 138"/>
              <a:gd name="T85" fmla="*/ 2147483647 h 402"/>
              <a:gd name="T86" fmla="*/ 2147483647 w 138"/>
              <a:gd name="T87" fmla="*/ 2147483647 h 402"/>
              <a:gd name="T88" fmla="*/ 2147483647 w 138"/>
              <a:gd name="T89" fmla="*/ 2147483647 h 402"/>
              <a:gd name="T90" fmla="*/ 2147483647 w 138"/>
              <a:gd name="T91" fmla="*/ 2147483647 h 402"/>
              <a:gd name="T92" fmla="*/ 2147483647 w 138"/>
              <a:gd name="T93" fmla="*/ 2147483647 h 402"/>
              <a:gd name="T94" fmla="*/ 2147483647 w 138"/>
              <a:gd name="T95" fmla="*/ 2147483647 h 402"/>
              <a:gd name="T96" fmla="*/ 2147483647 w 138"/>
              <a:gd name="T97" fmla="*/ 2147483647 h 402"/>
              <a:gd name="T98" fmla="*/ 2147483647 w 138"/>
              <a:gd name="T99" fmla="*/ 2147483647 h 402"/>
              <a:gd name="T100" fmla="*/ 2147483647 w 138"/>
              <a:gd name="T101" fmla="*/ 2147483647 h 402"/>
              <a:gd name="T102" fmla="*/ 2147483647 w 138"/>
              <a:gd name="T103" fmla="*/ 2147483647 h 40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38"/>
              <a:gd name="T157" fmla="*/ 0 h 402"/>
              <a:gd name="T158" fmla="*/ 138 w 138"/>
              <a:gd name="T159" fmla="*/ 402 h 40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38" h="402">
                <a:moveTo>
                  <a:pt x="126" y="354"/>
                </a:moveTo>
                <a:lnTo>
                  <a:pt x="120" y="288"/>
                </a:lnTo>
                <a:lnTo>
                  <a:pt x="132" y="282"/>
                </a:lnTo>
                <a:lnTo>
                  <a:pt x="120" y="270"/>
                </a:lnTo>
                <a:lnTo>
                  <a:pt x="120" y="210"/>
                </a:lnTo>
                <a:lnTo>
                  <a:pt x="132" y="198"/>
                </a:lnTo>
                <a:lnTo>
                  <a:pt x="126" y="186"/>
                </a:lnTo>
                <a:lnTo>
                  <a:pt x="126" y="156"/>
                </a:lnTo>
                <a:lnTo>
                  <a:pt x="120" y="144"/>
                </a:lnTo>
                <a:lnTo>
                  <a:pt x="108" y="132"/>
                </a:lnTo>
                <a:lnTo>
                  <a:pt x="108" y="90"/>
                </a:lnTo>
                <a:lnTo>
                  <a:pt x="78" y="60"/>
                </a:lnTo>
                <a:lnTo>
                  <a:pt x="66" y="54"/>
                </a:lnTo>
                <a:lnTo>
                  <a:pt x="66" y="24"/>
                </a:lnTo>
                <a:lnTo>
                  <a:pt x="72" y="6"/>
                </a:lnTo>
                <a:lnTo>
                  <a:pt x="54" y="6"/>
                </a:lnTo>
                <a:lnTo>
                  <a:pt x="30" y="0"/>
                </a:lnTo>
                <a:lnTo>
                  <a:pt x="12" y="0"/>
                </a:lnTo>
                <a:lnTo>
                  <a:pt x="12" y="18"/>
                </a:lnTo>
                <a:lnTo>
                  <a:pt x="0" y="30"/>
                </a:lnTo>
                <a:lnTo>
                  <a:pt x="36" y="54"/>
                </a:lnTo>
                <a:lnTo>
                  <a:pt x="24" y="132"/>
                </a:lnTo>
                <a:lnTo>
                  <a:pt x="36" y="120"/>
                </a:lnTo>
                <a:lnTo>
                  <a:pt x="42" y="120"/>
                </a:lnTo>
                <a:lnTo>
                  <a:pt x="48" y="126"/>
                </a:lnTo>
                <a:lnTo>
                  <a:pt x="48" y="150"/>
                </a:lnTo>
                <a:lnTo>
                  <a:pt x="42" y="162"/>
                </a:lnTo>
                <a:lnTo>
                  <a:pt x="54" y="174"/>
                </a:lnTo>
                <a:lnTo>
                  <a:pt x="54" y="180"/>
                </a:lnTo>
                <a:lnTo>
                  <a:pt x="48" y="180"/>
                </a:lnTo>
                <a:lnTo>
                  <a:pt x="36" y="192"/>
                </a:lnTo>
                <a:lnTo>
                  <a:pt x="42" y="198"/>
                </a:lnTo>
                <a:lnTo>
                  <a:pt x="54" y="204"/>
                </a:lnTo>
                <a:lnTo>
                  <a:pt x="60" y="210"/>
                </a:lnTo>
                <a:lnTo>
                  <a:pt x="60" y="222"/>
                </a:lnTo>
                <a:lnTo>
                  <a:pt x="54" y="228"/>
                </a:lnTo>
                <a:lnTo>
                  <a:pt x="54" y="270"/>
                </a:lnTo>
                <a:lnTo>
                  <a:pt x="48" y="276"/>
                </a:lnTo>
                <a:lnTo>
                  <a:pt x="48" y="294"/>
                </a:lnTo>
                <a:lnTo>
                  <a:pt x="54" y="294"/>
                </a:lnTo>
                <a:lnTo>
                  <a:pt x="60" y="300"/>
                </a:lnTo>
                <a:lnTo>
                  <a:pt x="60" y="312"/>
                </a:lnTo>
                <a:lnTo>
                  <a:pt x="54" y="324"/>
                </a:lnTo>
                <a:lnTo>
                  <a:pt x="54" y="336"/>
                </a:lnTo>
                <a:lnTo>
                  <a:pt x="66" y="378"/>
                </a:lnTo>
                <a:lnTo>
                  <a:pt x="96" y="402"/>
                </a:lnTo>
                <a:lnTo>
                  <a:pt x="108" y="396"/>
                </a:lnTo>
                <a:lnTo>
                  <a:pt x="120" y="384"/>
                </a:lnTo>
                <a:lnTo>
                  <a:pt x="138" y="384"/>
                </a:lnTo>
                <a:lnTo>
                  <a:pt x="138" y="372"/>
                </a:lnTo>
                <a:lnTo>
                  <a:pt x="126" y="360"/>
                </a:lnTo>
                <a:lnTo>
                  <a:pt x="126" y="35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" name="Thailand"/>
          <p:cNvSpPr>
            <a:spLocks/>
          </p:cNvSpPr>
          <p:nvPr/>
        </p:nvSpPr>
        <p:spPr bwMode="gray">
          <a:xfrm>
            <a:off x="6771546" y="3597943"/>
            <a:ext cx="249237" cy="477837"/>
          </a:xfrm>
          <a:custGeom>
            <a:avLst/>
            <a:gdLst>
              <a:gd name="T0" fmla="*/ 2147483647 w 618"/>
              <a:gd name="T1" fmla="*/ 2147483647 h 1188"/>
              <a:gd name="T2" fmla="*/ 2147483647 w 618"/>
              <a:gd name="T3" fmla="*/ 2147483647 h 1188"/>
              <a:gd name="T4" fmla="*/ 2147483647 w 618"/>
              <a:gd name="T5" fmla="*/ 2147483647 h 1188"/>
              <a:gd name="T6" fmla="*/ 2147483647 w 618"/>
              <a:gd name="T7" fmla="*/ 2147483647 h 1188"/>
              <a:gd name="T8" fmla="*/ 2147483647 w 618"/>
              <a:gd name="T9" fmla="*/ 2147483647 h 1188"/>
              <a:gd name="T10" fmla="*/ 2147483647 w 618"/>
              <a:gd name="T11" fmla="*/ 2147483647 h 1188"/>
              <a:gd name="T12" fmla="*/ 2147483647 w 618"/>
              <a:gd name="T13" fmla="*/ 2147483647 h 1188"/>
              <a:gd name="T14" fmla="*/ 2147483647 w 618"/>
              <a:gd name="T15" fmla="*/ 2147483647 h 1188"/>
              <a:gd name="T16" fmla="*/ 2147483647 w 618"/>
              <a:gd name="T17" fmla="*/ 2147483647 h 1188"/>
              <a:gd name="T18" fmla="*/ 2147483647 w 618"/>
              <a:gd name="T19" fmla="*/ 2147483647 h 1188"/>
              <a:gd name="T20" fmla="*/ 2147483647 w 618"/>
              <a:gd name="T21" fmla="*/ 2147483647 h 1188"/>
              <a:gd name="T22" fmla="*/ 2147483647 w 618"/>
              <a:gd name="T23" fmla="*/ 2147483647 h 1188"/>
              <a:gd name="T24" fmla="*/ 2147483647 w 618"/>
              <a:gd name="T25" fmla="*/ 0 h 1188"/>
              <a:gd name="T26" fmla="*/ 2147483647 w 618"/>
              <a:gd name="T27" fmla="*/ 2147483647 h 1188"/>
              <a:gd name="T28" fmla="*/ 2147483647 w 618"/>
              <a:gd name="T29" fmla="*/ 2147483647 h 1188"/>
              <a:gd name="T30" fmla="*/ 2147483647 w 618"/>
              <a:gd name="T31" fmla="*/ 2147483647 h 1188"/>
              <a:gd name="T32" fmla="*/ 0 w 618"/>
              <a:gd name="T33" fmla="*/ 2147483647 h 1188"/>
              <a:gd name="T34" fmla="*/ 2147483647 w 618"/>
              <a:gd name="T35" fmla="*/ 2147483647 h 1188"/>
              <a:gd name="T36" fmla="*/ 2147483647 w 618"/>
              <a:gd name="T37" fmla="*/ 2147483647 h 1188"/>
              <a:gd name="T38" fmla="*/ 2147483647 w 618"/>
              <a:gd name="T39" fmla="*/ 2147483647 h 1188"/>
              <a:gd name="T40" fmla="*/ 2147483647 w 618"/>
              <a:gd name="T41" fmla="*/ 2147483647 h 1188"/>
              <a:gd name="T42" fmla="*/ 2147483647 w 618"/>
              <a:gd name="T43" fmla="*/ 2147483647 h 1188"/>
              <a:gd name="T44" fmla="*/ 2147483647 w 618"/>
              <a:gd name="T45" fmla="*/ 2147483647 h 1188"/>
              <a:gd name="T46" fmla="*/ 2147483647 w 618"/>
              <a:gd name="T47" fmla="*/ 2147483647 h 1188"/>
              <a:gd name="T48" fmla="*/ 2147483647 w 618"/>
              <a:gd name="T49" fmla="*/ 2147483647 h 1188"/>
              <a:gd name="T50" fmla="*/ 2147483647 w 618"/>
              <a:gd name="T51" fmla="*/ 2147483647 h 1188"/>
              <a:gd name="T52" fmla="*/ 2147483647 w 618"/>
              <a:gd name="T53" fmla="*/ 2147483647 h 1188"/>
              <a:gd name="T54" fmla="*/ 2147483647 w 618"/>
              <a:gd name="T55" fmla="*/ 2147483647 h 1188"/>
              <a:gd name="T56" fmla="*/ 2147483647 w 618"/>
              <a:gd name="T57" fmla="*/ 2147483647 h 1188"/>
              <a:gd name="T58" fmla="*/ 2147483647 w 618"/>
              <a:gd name="T59" fmla="*/ 2147483647 h 1188"/>
              <a:gd name="T60" fmla="*/ 2147483647 w 618"/>
              <a:gd name="T61" fmla="*/ 2147483647 h 1188"/>
              <a:gd name="T62" fmla="*/ 2147483647 w 618"/>
              <a:gd name="T63" fmla="*/ 2147483647 h 1188"/>
              <a:gd name="T64" fmla="*/ 2147483647 w 618"/>
              <a:gd name="T65" fmla="*/ 2147483647 h 1188"/>
              <a:gd name="T66" fmla="*/ 2147483647 w 618"/>
              <a:gd name="T67" fmla="*/ 2147483647 h 1188"/>
              <a:gd name="T68" fmla="*/ 2147483647 w 618"/>
              <a:gd name="T69" fmla="*/ 2147483647 h 1188"/>
              <a:gd name="T70" fmla="*/ 2147483647 w 618"/>
              <a:gd name="T71" fmla="*/ 2147483647 h 1188"/>
              <a:gd name="T72" fmla="*/ 2147483647 w 618"/>
              <a:gd name="T73" fmla="*/ 2147483647 h 1188"/>
              <a:gd name="T74" fmla="*/ 2147483647 w 618"/>
              <a:gd name="T75" fmla="*/ 2147483647 h 1188"/>
              <a:gd name="T76" fmla="*/ 2147483647 w 618"/>
              <a:gd name="T77" fmla="*/ 2147483647 h 1188"/>
              <a:gd name="T78" fmla="*/ 2147483647 w 618"/>
              <a:gd name="T79" fmla="*/ 2147483647 h 1188"/>
              <a:gd name="T80" fmla="*/ 2147483647 w 618"/>
              <a:gd name="T81" fmla="*/ 2147483647 h 1188"/>
              <a:gd name="T82" fmla="*/ 2147483647 w 618"/>
              <a:gd name="T83" fmla="*/ 2147483647 h 1188"/>
              <a:gd name="T84" fmla="*/ 2147483647 w 618"/>
              <a:gd name="T85" fmla="*/ 2147483647 h 1188"/>
              <a:gd name="T86" fmla="*/ 2147483647 w 618"/>
              <a:gd name="T87" fmla="*/ 2147483647 h 1188"/>
              <a:gd name="T88" fmla="*/ 2147483647 w 618"/>
              <a:gd name="T89" fmla="*/ 2147483647 h 1188"/>
              <a:gd name="T90" fmla="*/ 2147483647 w 618"/>
              <a:gd name="T91" fmla="*/ 2147483647 h 1188"/>
              <a:gd name="T92" fmla="*/ 2147483647 w 618"/>
              <a:gd name="T93" fmla="*/ 2147483647 h 1188"/>
              <a:gd name="T94" fmla="*/ 2147483647 w 618"/>
              <a:gd name="T95" fmla="*/ 2147483647 h 1188"/>
              <a:gd name="T96" fmla="*/ 2147483647 w 618"/>
              <a:gd name="T97" fmla="*/ 2147483647 h 1188"/>
              <a:gd name="T98" fmla="*/ 2147483647 w 618"/>
              <a:gd name="T99" fmla="*/ 2147483647 h 1188"/>
              <a:gd name="T100" fmla="*/ 2147483647 w 618"/>
              <a:gd name="T101" fmla="*/ 2147483647 h 1188"/>
              <a:gd name="T102" fmla="*/ 2147483647 w 618"/>
              <a:gd name="T103" fmla="*/ 2147483647 h 1188"/>
              <a:gd name="T104" fmla="*/ 2147483647 w 618"/>
              <a:gd name="T105" fmla="*/ 2147483647 h 1188"/>
              <a:gd name="T106" fmla="*/ 2147483647 w 618"/>
              <a:gd name="T107" fmla="*/ 2147483647 h 1188"/>
              <a:gd name="T108" fmla="*/ 2147483647 w 618"/>
              <a:gd name="T109" fmla="*/ 2147483647 h 1188"/>
              <a:gd name="T110" fmla="*/ 2147483647 w 618"/>
              <a:gd name="T111" fmla="*/ 2147483647 h 1188"/>
              <a:gd name="T112" fmla="*/ 2147483647 w 618"/>
              <a:gd name="T113" fmla="*/ 2147483647 h 1188"/>
              <a:gd name="T114" fmla="*/ 2147483647 w 618"/>
              <a:gd name="T115" fmla="*/ 2147483647 h 1188"/>
              <a:gd name="T116" fmla="*/ 2147483647 w 618"/>
              <a:gd name="T117" fmla="*/ 2147483647 h 118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18"/>
              <a:gd name="T178" fmla="*/ 0 h 1188"/>
              <a:gd name="T179" fmla="*/ 618 w 618"/>
              <a:gd name="T180" fmla="*/ 1188 h 118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18" h="1188">
                <a:moveTo>
                  <a:pt x="588" y="426"/>
                </a:moveTo>
                <a:lnTo>
                  <a:pt x="588" y="420"/>
                </a:lnTo>
                <a:lnTo>
                  <a:pt x="594" y="414"/>
                </a:lnTo>
                <a:lnTo>
                  <a:pt x="606" y="390"/>
                </a:lnTo>
                <a:lnTo>
                  <a:pt x="594" y="378"/>
                </a:lnTo>
                <a:lnTo>
                  <a:pt x="594" y="372"/>
                </a:lnTo>
                <a:lnTo>
                  <a:pt x="588" y="378"/>
                </a:lnTo>
                <a:lnTo>
                  <a:pt x="588" y="366"/>
                </a:lnTo>
                <a:lnTo>
                  <a:pt x="582" y="360"/>
                </a:lnTo>
                <a:lnTo>
                  <a:pt x="582" y="354"/>
                </a:lnTo>
                <a:lnTo>
                  <a:pt x="546" y="318"/>
                </a:lnTo>
                <a:lnTo>
                  <a:pt x="534" y="294"/>
                </a:lnTo>
                <a:lnTo>
                  <a:pt x="534" y="282"/>
                </a:lnTo>
                <a:lnTo>
                  <a:pt x="528" y="240"/>
                </a:lnTo>
                <a:lnTo>
                  <a:pt x="510" y="222"/>
                </a:lnTo>
                <a:lnTo>
                  <a:pt x="498" y="216"/>
                </a:lnTo>
                <a:lnTo>
                  <a:pt x="480" y="204"/>
                </a:lnTo>
                <a:lnTo>
                  <a:pt x="468" y="192"/>
                </a:lnTo>
                <a:lnTo>
                  <a:pt x="468" y="180"/>
                </a:lnTo>
                <a:lnTo>
                  <a:pt x="462" y="174"/>
                </a:lnTo>
                <a:lnTo>
                  <a:pt x="438" y="174"/>
                </a:lnTo>
                <a:lnTo>
                  <a:pt x="426" y="168"/>
                </a:lnTo>
                <a:lnTo>
                  <a:pt x="420" y="162"/>
                </a:lnTo>
                <a:lnTo>
                  <a:pt x="402" y="162"/>
                </a:lnTo>
                <a:lnTo>
                  <a:pt x="396" y="168"/>
                </a:lnTo>
                <a:lnTo>
                  <a:pt x="396" y="180"/>
                </a:lnTo>
                <a:lnTo>
                  <a:pt x="378" y="198"/>
                </a:lnTo>
                <a:lnTo>
                  <a:pt x="360" y="198"/>
                </a:lnTo>
                <a:lnTo>
                  <a:pt x="336" y="186"/>
                </a:lnTo>
                <a:lnTo>
                  <a:pt x="330" y="180"/>
                </a:lnTo>
                <a:lnTo>
                  <a:pt x="318" y="180"/>
                </a:lnTo>
                <a:lnTo>
                  <a:pt x="312" y="186"/>
                </a:lnTo>
                <a:lnTo>
                  <a:pt x="306" y="198"/>
                </a:lnTo>
                <a:lnTo>
                  <a:pt x="294" y="210"/>
                </a:lnTo>
                <a:lnTo>
                  <a:pt x="294" y="216"/>
                </a:lnTo>
                <a:lnTo>
                  <a:pt x="288" y="222"/>
                </a:lnTo>
                <a:lnTo>
                  <a:pt x="264" y="234"/>
                </a:lnTo>
                <a:lnTo>
                  <a:pt x="246" y="234"/>
                </a:lnTo>
                <a:lnTo>
                  <a:pt x="246" y="222"/>
                </a:lnTo>
                <a:lnTo>
                  <a:pt x="270" y="174"/>
                </a:lnTo>
                <a:lnTo>
                  <a:pt x="270" y="162"/>
                </a:lnTo>
                <a:lnTo>
                  <a:pt x="264" y="156"/>
                </a:lnTo>
                <a:lnTo>
                  <a:pt x="252" y="156"/>
                </a:lnTo>
                <a:lnTo>
                  <a:pt x="264" y="144"/>
                </a:lnTo>
                <a:lnTo>
                  <a:pt x="270" y="132"/>
                </a:lnTo>
                <a:lnTo>
                  <a:pt x="270" y="120"/>
                </a:lnTo>
                <a:lnTo>
                  <a:pt x="264" y="108"/>
                </a:lnTo>
                <a:lnTo>
                  <a:pt x="258" y="102"/>
                </a:lnTo>
                <a:lnTo>
                  <a:pt x="264" y="96"/>
                </a:lnTo>
                <a:lnTo>
                  <a:pt x="264" y="66"/>
                </a:lnTo>
                <a:lnTo>
                  <a:pt x="252" y="60"/>
                </a:lnTo>
                <a:lnTo>
                  <a:pt x="246" y="60"/>
                </a:lnTo>
                <a:lnTo>
                  <a:pt x="240" y="66"/>
                </a:lnTo>
                <a:lnTo>
                  <a:pt x="228" y="66"/>
                </a:lnTo>
                <a:lnTo>
                  <a:pt x="228" y="78"/>
                </a:lnTo>
                <a:lnTo>
                  <a:pt x="210" y="78"/>
                </a:lnTo>
                <a:lnTo>
                  <a:pt x="204" y="72"/>
                </a:lnTo>
                <a:lnTo>
                  <a:pt x="198" y="60"/>
                </a:lnTo>
                <a:lnTo>
                  <a:pt x="198" y="36"/>
                </a:lnTo>
                <a:lnTo>
                  <a:pt x="204" y="30"/>
                </a:lnTo>
                <a:lnTo>
                  <a:pt x="204" y="18"/>
                </a:lnTo>
                <a:lnTo>
                  <a:pt x="198" y="12"/>
                </a:lnTo>
                <a:lnTo>
                  <a:pt x="186" y="12"/>
                </a:lnTo>
                <a:lnTo>
                  <a:pt x="174" y="6"/>
                </a:lnTo>
                <a:lnTo>
                  <a:pt x="168" y="0"/>
                </a:lnTo>
                <a:lnTo>
                  <a:pt x="138" y="0"/>
                </a:lnTo>
                <a:lnTo>
                  <a:pt x="132" y="6"/>
                </a:lnTo>
                <a:lnTo>
                  <a:pt x="126" y="6"/>
                </a:lnTo>
                <a:lnTo>
                  <a:pt x="120" y="30"/>
                </a:lnTo>
                <a:lnTo>
                  <a:pt x="96" y="30"/>
                </a:lnTo>
                <a:lnTo>
                  <a:pt x="96" y="36"/>
                </a:lnTo>
                <a:lnTo>
                  <a:pt x="90" y="42"/>
                </a:lnTo>
                <a:lnTo>
                  <a:pt x="84" y="54"/>
                </a:lnTo>
                <a:lnTo>
                  <a:pt x="78" y="60"/>
                </a:lnTo>
                <a:lnTo>
                  <a:pt x="66" y="60"/>
                </a:lnTo>
                <a:lnTo>
                  <a:pt x="54" y="54"/>
                </a:lnTo>
                <a:lnTo>
                  <a:pt x="24" y="54"/>
                </a:lnTo>
                <a:lnTo>
                  <a:pt x="24" y="102"/>
                </a:lnTo>
                <a:lnTo>
                  <a:pt x="18" y="108"/>
                </a:lnTo>
                <a:lnTo>
                  <a:pt x="12" y="108"/>
                </a:lnTo>
                <a:lnTo>
                  <a:pt x="6" y="114"/>
                </a:lnTo>
                <a:lnTo>
                  <a:pt x="6" y="120"/>
                </a:lnTo>
                <a:lnTo>
                  <a:pt x="24" y="138"/>
                </a:lnTo>
                <a:lnTo>
                  <a:pt x="24" y="156"/>
                </a:lnTo>
                <a:lnTo>
                  <a:pt x="0" y="156"/>
                </a:lnTo>
                <a:lnTo>
                  <a:pt x="0" y="162"/>
                </a:lnTo>
                <a:lnTo>
                  <a:pt x="24" y="186"/>
                </a:lnTo>
                <a:lnTo>
                  <a:pt x="36" y="192"/>
                </a:lnTo>
                <a:lnTo>
                  <a:pt x="30" y="216"/>
                </a:lnTo>
                <a:lnTo>
                  <a:pt x="36" y="216"/>
                </a:lnTo>
                <a:lnTo>
                  <a:pt x="36" y="222"/>
                </a:lnTo>
                <a:lnTo>
                  <a:pt x="42" y="234"/>
                </a:lnTo>
                <a:lnTo>
                  <a:pt x="60" y="252"/>
                </a:lnTo>
                <a:lnTo>
                  <a:pt x="72" y="258"/>
                </a:lnTo>
                <a:lnTo>
                  <a:pt x="84" y="270"/>
                </a:lnTo>
                <a:lnTo>
                  <a:pt x="96" y="276"/>
                </a:lnTo>
                <a:lnTo>
                  <a:pt x="102" y="282"/>
                </a:lnTo>
                <a:lnTo>
                  <a:pt x="102" y="288"/>
                </a:lnTo>
                <a:lnTo>
                  <a:pt x="96" y="288"/>
                </a:lnTo>
                <a:lnTo>
                  <a:pt x="96" y="306"/>
                </a:lnTo>
                <a:lnTo>
                  <a:pt x="102" y="318"/>
                </a:lnTo>
                <a:lnTo>
                  <a:pt x="108" y="324"/>
                </a:lnTo>
                <a:lnTo>
                  <a:pt x="114" y="324"/>
                </a:lnTo>
                <a:lnTo>
                  <a:pt x="120" y="318"/>
                </a:lnTo>
                <a:lnTo>
                  <a:pt x="126" y="324"/>
                </a:lnTo>
                <a:lnTo>
                  <a:pt x="126" y="342"/>
                </a:lnTo>
                <a:lnTo>
                  <a:pt x="120" y="348"/>
                </a:lnTo>
                <a:lnTo>
                  <a:pt x="108" y="348"/>
                </a:lnTo>
                <a:lnTo>
                  <a:pt x="114" y="360"/>
                </a:lnTo>
                <a:lnTo>
                  <a:pt x="114" y="384"/>
                </a:lnTo>
                <a:lnTo>
                  <a:pt x="108" y="396"/>
                </a:lnTo>
                <a:lnTo>
                  <a:pt x="102" y="402"/>
                </a:lnTo>
                <a:lnTo>
                  <a:pt x="84" y="438"/>
                </a:lnTo>
                <a:lnTo>
                  <a:pt x="90" y="444"/>
                </a:lnTo>
                <a:lnTo>
                  <a:pt x="90" y="450"/>
                </a:lnTo>
                <a:lnTo>
                  <a:pt x="96" y="456"/>
                </a:lnTo>
                <a:lnTo>
                  <a:pt x="102" y="468"/>
                </a:lnTo>
                <a:lnTo>
                  <a:pt x="108" y="474"/>
                </a:lnTo>
                <a:lnTo>
                  <a:pt x="114" y="486"/>
                </a:lnTo>
                <a:lnTo>
                  <a:pt x="156" y="528"/>
                </a:lnTo>
                <a:lnTo>
                  <a:pt x="162" y="540"/>
                </a:lnTo>
                <a:lnTo>
                  <a:pt x="162" y="570"/>
                </a:lnTo>
                <a:lnTo>
                  <a:pt x="168" y="588"/>
                </a:lnTo>
                <a:lnTo>
                  <a:pt x="168" y="612"/>
                </a:lnTo>
                <a:lnTo>
                  <a:pt x="192" y="636"/>
                </a:lnTo>
                <a:lnTo>
                  <a:pt x="192" y="660"/>
                </a:lnTo>
                <a:lnTo>
                  <a:pt x="198" y="672"/>
                </a:lnTo>
                <a:lnTo>
                  <a:pt x="198" y="702"/>
                </a:lnTo>
                <a:lnTo>
                  <a:pt x="192" y="714"/>
                </a:lnTo>
                <a:lnTo>
                  <a:pt x="192" y="732"/>
                </a:lnTo>
                <a:lnTo>
                  <a:pt x="174" y="768"/>
                </a:lnTo>
                <a:lnTo>
                  <a:pt x="156" y="786"/>
                </a:lnTo>
                <a:lnTo>
                  <a:pt x="156" y="798"/>
                </a:lnTo>
                <a:lnTo>
                  <a:pt x="162" y="804"/>
                </a:lnTo>
                <a:lnTo>
                  <a:pt x="162" y="816"/>
                </a:lnTo>
                <a:lnTo>
                  <a:pt x="156" y="828"/>
                </a:lnTo>
                <a:lnTo>
                  <a:pt x="150" y="834"/>
                </a:lnTo>
                <a:lnTo>
                  <a:pt x="144" y="846"/>
                </a:lnTo>
                <a:lnTo>
                  <a:pt x="144" y="852"/>
                </a:lnTo>
                <a:lnTo>
                  <a:pt x="138" y="858"/>
                </a:lnTo>
                <a:lnTo>
                  <a:pt x="132" y="876"/>
                </a:lnTo>
                <a:lnTo>
                  <a:pt x="126" y="888"/>
                </a:lnTo>
                <a:lnTo>
                  <a:pt x="126" y="906"/>
                </a:lnTo>
                <a:lnTo>
                  <a:pt x="120" y="918"/>
                </a:lnTo>
                <a:lnTo>
                  <a:pt x="120" y="966"/>
                </a:lnTo>
                <a:lnTo>
                  <a:pt x="126" y="978"/>
                </a:lnTo>
                <a:lnTo>
                  <a:pt x="126" y="1008"/>
                </a:lnTo>
                <a:lnTo>
                  <a:pt x="132" y="1014"/>
                </a:lnTo>
                <a:lnTo>
                  <a:pt x="132" y="1020"/>
                </a:lnTo>
                <a:lnTo>
                  <a:pt x="138" y="1020"/>
                </a:lnTo>
                <a:lnTo>
                  <a:pt x="138" y="1002"/>
                </a:lnTo>
                <a:lnTo>
                  <a:pt x="144" y="990"/>
                </a:lnTo>
                <a:lnTo>
                  <a:pt x="144" y="978"/>
                </a:lnTo>
                <a:lnTo>
                  <a:pt x="150" y="972"/>
                </a:lnTo>
                <a:lnTo>
                  <a:pt x="150" y="996"/>
                </a:lnTo>
                <a:lnTo>
                  <a:pt x="162" y="996"/>
                </a:lnTo>
                <a:lnTo>
                  <a:pt x="186" y="1020"/>
                </a:lnTo>
                <a:lnTo>
                  <a:pt x="192" y="1032"/>
                </a:lnTo>
                <a:lnTo>
                  <a:pt x="198" y="1038"/>
                </a:lnTo>
                <a:lnTo>
                  <a:pt x="198" y="1044"/>
                </a:lnTo>
                <a:lnTo>
                  <a:pt x="228" y="1074"/>
                </a:lnTo>
                <a:lnTo>
                  <a:pt x="228" y="1098"/>
                </a:lnTo>
                <a:lnTo>
                  <a:pt x="234" y="1110"/>
                </a:lnTo>
                <a:lnTo>
                  <a:pt x="246" y="1128"/>
                </a:lnTo>
                <a:lnTo>
                  <a:pt x="264" y="1146"/>
                </a:lnTo>
                <a:lnTo>
                  <a:pt x="270" y="1140"/>
                </a:lnTo>
                <a:lnTo>
                  <a:pt x="276" y="1128"/>
                </a:lnTo>
                <a:lnTo>
                  <a:pt x="270" y="1122"/>
                </a:lnTo>
                <a:lnTo>
                  <a:pt x="270" y="1110"/>
                </a:lnTo>
                <a:lnTo>
                  <a:pt x="276" y="1104"/>
                </a:lnTo>
                <a:lnTo>
                  <a:pt x="288" y="1104"/>
                </a:lnTo>
                <a:lnTo>
                  <a:pt x="294" y="1116"/>
                </a:lnTo>
                <a:lnTo>
                  <a:pt x="294" y="1122"/>
                </a:lnTo>
                <a:lnTo>
                  <a:pt x="312" y="1122"/>
                </a:lnTo>
                <a:lnTo>
                  <a:pt x="324" y="1128"/>
                </a:lnTo>
                <a:lnTo>
                  <a:pt x="330" y="1134"/>
                </a:lnTo>
                <a:lnTo>
                  <a:pt x="330" y="1146"/>
                </a:lnTo>
                <a:lnTo>
                  <a:pt x="342" y="1146"/>
                </a:lnTo>
                <a:lnTo>
                  <a:pt x="342" y="1158"/>
                </a:lnTo>
                <a:lnTo>
                  <a:pt x="330" y="1170"/>
                </a:lnTo>
                <a:lnTo>
                  <a:pt x="330" y="1176"/>
                </a:lnTo>
                <a:lnTo>
                  <a:pt x="336" y="1182"/>
                </a:lnTo>
                <a:lnTo>
                  <a:pt x="354" y="1182"/>
                </a:lnTo>
                <a:lnTo>
                  <a:pt x="354" y="1176"/>
                </a:lnTo>
                <a:lnTo>
                  <a:pt x="366" y="1176"/>
                </a:lnTo>
                <a:lnTo>
                  <a:pt x="372" y="1170"/>
                </a:lnTo>
                <a:lnTo>
                  <a:pt x="378" y="1170"/>
                </a:lnTo>
                <a:lnTo>
                  <a:pt x="396" y="1188"/>
                </a:lnTo>
                <a:lnTo>
                  <a:pt x="402" y="1182"/>
                </a:lnTo>
                <a:lnTo>
                  <a:pt x="402" y="1176"/>
                </a:lnTo>
                <a:lnTo>
                  <a:pt x="408" y="1164"/>
                </a:lnTo>
                <a:lnTo>
                  <a:pt x="414" y="1158"/>
                </a:lnTo>
                <a:lnTo>
                  <a:pt x="420" y="1146"/>
                </a:lnTo>
                <a:lnTo>
                  <a:pt x="396" y="1134"/>
                </a:lnTo>
                <a:lnTo>
                  <a:pt x="390" y="1128"/>
                </a:lnTo>
                <a:lnTo>
                  <a:pt x="390" y="1116"/>
                </a:lnTo>
                <a:lnTo>
                  <a:pt x="384" y="1104"/>
                </a:lnTo>
                <a:lnTo>
                  <a:pt x="384" y="1092"/>
                </a:lnTo>
                <a:lnTo>
                  <a:pt x="378" y="1080"/>
                </a:lnTo>
                <a:lnTo>
                  <a:pt x="372" y="1074"/>
                </a:lnTo>
                <a:lnTo>
                  <a:pt x="354" y="1074"/>
                </a:lnTo>
                <a:lnTo>
                  <a:pt x="342" y="1080"/>
                </a:lnTo>
                <a:lnTo>
                  <a:pt x="336" y="1086"/>
                </a:lnTo>
                <a:lnTo>
                  <a:pt x="318" y="1086"/>
                </a:lnTo>
                <a:lnTo>
                  <a:pt x="312" y="1080"/>
                </a:lnTo>
                <a:lnTo>
                  <a:pt x="306" y="1068"/>
                </a:lnTo>
                <a:lnTo>
                  <a:pt x="306" y="1056"/>
                </a:lnTo>
                <a:lnTo>
                  <a:pt x="294" y="1032"/>
                </a:lnTo>
                <a:lnTo>
                  <a:pt x="288" y="1032"/>
                </a:lnTo>
                <a:lnTo>
                  <a:pt x="288" y="1050"/>
                </a:lnTo>
                <a:lnTo>
                  <a:pt x="282" y="1056"/>
                </a:lnTo>
                <a:lnTo>
                  <a:pt x="276" y="1056"/>
                </a:lnTo>
                <a:lnTo>
                  <a:pt x="270" y="1044"/>
                </a:lnTo>
                <a:lnTo>
                  <a:pt x="264" y="1038"/>
                </a:lnTo>
                <a:lnTo>
                  <a:pt x="258" y="1026"/>
                </a:lnTo>
                <a:lnTo>
                  <a:pt x="258" y="1014"/>
                </a:lnTo>
                <a:lnTo>
                  <a:pt x="270" y="1002"/>
                </a:lnTo>
                <a:lnTo>
                  <a:pt x="270" y="1008"/>
                </a:lnTo>
                <a:lnTo>
                  <a:pt x="276" y="1008"/>
                </a:lnTo>
                <a:lnTo>
                  <a:pt x="276" y="1014"/>
                </a:lnTo>
                <a:lnTo>
                  <a:pt x="282" y="1014"/>
                </a:lnTo>
                <a:lnTo>
                  <a:pt x="288" y="1008"/>
                </a:lnTo>
                <a:lnTo>
                  <a:pt x="282" y="1002"/>
                </a:lnTo>
                <a:lnTo>
                  <a:pt x="282" y="990"/>
                </a:lnTo>
                <a:lnTo>
                  <a:pt x="276" y="978"/>
                </a:lnTo>
                <a:lnTo>
                  <a:pt x="270" y="972"/>
                </a:lnTo>
                <a:lnTo>
                  <a:pt x="270" y="960"/>
                </a:lnTo>
                <a:lnTo>
                  <a:pt x="258" y="948"/>
                </a:lnTo>
                <a:lnTo>
                  <a:pt x="246" y="948"/>
                </a:lnTo>
                <a:lnTo>
                  <a:pt x="246" y="894"/>
                </a:lnTo>
                <a:lnTo>
                  <a:pt x="192" y="906"/>
                </a:lnTo>
                <a:lnTo>
                  <a:pt x="192" y="864"/>
                </a:lnTo>
                <a:lnTo>
                  <a:pt x="186" y="828"/>
                </a:lnTo>
                <a:lnTo>
                  <a:pt x="186" y="804"/>
                </a:lnTo>
                <a:lnTo>
                  <a:pt x="180" y="792"/>
                </a:lnTo>
                <a:lnTo>
                  <a:pt x="174" y="786"/>
                </a:lnTo>
                <a:lnTo>
                  <a:pt x="180" y="786"/>
                </a:lnTo>
                <a:lnTo>
                  <a:pt x="192" y="774"/>
                </a:lnTo>
                <a:lnTo>
                  <a:pt x="198" y="762"/>
                </a:lnTo>
                <a:lnTo>
                  <a:pt x="204" y="744"/>
                </a:lnTo>
                <a:lnTo>
                  <a:pt x="204" y="678"/>
                </a:lnTo>
                <a:lnTo>
                  <a:pt x="210" y="678"/>
                </a:lnTo>
                <a:lnTo>
                  <a:pt x="216" y="672"/>
                </a:lnTo>
                <a:lnTo>
                  <a:pt x="222" y="660"/>
                </a:lnTo>
                <a:lnTo>
                  <a:pt x="228" y="654"/>
                </a:lnTo>
                <a:lnTo>
                  <a:pt x="228" y="612"/>
                </a:lnTo>
                <a:lnTo>
                  <a:pt x="222" y="600"/>
                </a:lnTo>
                <a:lnTo>
                  <a:pt x="222" y="594"/>
                </a:lnTo>
                <a:lnTo>
                  <a:pt x="216" y="588"/>
                </a:lnTo>
                <a:lnTo>
                  <a:pt x="222" y="558"/>
                </a:lnTo>
                <a:lnTo>
                  <a:pt x="234" y="558"/>
                </a:lnTo>
                <a:lnTo>
                  <a:pt x="234" y="552"/>
                </a:lnTo>
                <a:lnTo>
                  <a:pt x="240" y="546"/>
                </a:lnTo>
                <a:lnTo>
                  <a:pt x="264" y="546"/>
                </a:lnTo>
                <a:lnTo>
                  <a:pt x="270" y="552"/>
                </a:lnTo>
                <a:lnTo>
                  <a:pt x="294" y="564"/>
                </a:lnTo>
                <a:lnTo>
                  <a:pt x="300" y="570"/>
                </a:lnTo>
                <a:lnTo>
                  <a:pt x="288" y="576"/>
                </a:lnTo>
                <a:lnTo>
                  <a:pt x="288" y="588"/>
                </a:lnTo>
                <a:lnTo>
                  <a:pt x="282" y="594"/>
                </a:lnTo>
                <a:lnTo>
                  <a:pt x="282" y="612"/>
                </a:lnTo>
                <a:lnTo>
                  <a:pt x="288" y="624"/>
                </a:lnTo>
                <a:lnTo>
                  <a:pt x="306" y="624"/>
                </a:lnTo>
                <a:lnTo>
                  <a:pt x="330" y="612"/>
                </a:lnTo>
                <a:lnTo>
                  <a:pt x="342" y="612"/>
                </a:lnTo>
                <a:lnTo>
                  <a:pt x="354" y="606"/>
                </a:lnTo>
                <a:lnTo>
                  <a:pt x="360" y="600"/>
                </a:lnTo>
                <a:lnTo>
                  <a:pt x="366" y="600"/>
                </a:lnTo>
                <a:lnTo>
                  <a:pt x="396" y="684"/>
                </a:lnTo>
                <a:lnTo>
                  <a:pt x="402" y="678"/>
                </a:lnTo>
                <a:lnTo>
                  <a:pt x="414" y="672"/>
                </a:lnTo>
                <a:lnTo>
                  <a:pt x="426" y="672"/>
                </a:lnTo>
                <a:lnTo>
                  <a:pt x="426" y="642"/>
                </a:lnTo>
                <a:lnTo>
                  <a:pt x="414" y="630"/>
                </a:lnTo>
                <a:lnTo>
                  <a:pt x="414" y="600"/>
                </a:lnTo>
                <a:lnTo>
                  <a:pt x="402" y="588"/>
                </a:lnTo>
                <a:lnTo>
                  <a:pt x="396" y="552"/>
                </a:lnTo>
                <a:lnTo>
                  <a:pt x="426" y="522"/>
                </a:lnTo>
                <a:lnTo>
                  <a:pt x="426" y="516"/>
                </a:lnTo>
                <a:lnTo>
                  <a:pt x="432" y="504"/>
                </a:lnTo>
                <a:lnTo>
                  <a:pt x="438" y="498"/>
                </a:lnTo>
                <a:lnTo>
                  <a:pt x="450" y="492"/>
                </a:lnTo>
                <a:lnTo>
                  <a:pt x="468" y="486"/>
                </a:lnTo>
                <a:lnTo>
                  <a:pt x="504" y="486"/>
                </a:lnTo>
                <a:lnTo>
                  <a:pt x="510" y="492"/>
                </a:lnTo>
                <a:lnTo>
                  <a:pt x="522" y="492"/>
                </a:lnTo>
                <a:lnTo>
                  <a:pt x="534" y="486"/>
                </a:lnTo>
                <a:lnTo>
                  <a:pt x="564" y="486"/>
                </a:lnTo>
                <a:lnTo>
                  <a:pt x="576" y="492"/>
                </a:lnTo>
                <a:lnTo>
                  <a:pt x="582" y="498"/>
                </a:lnTo>
                <a:lnTo>
                  <a:pt x="588" y="498"/>
                </a:lnTo>
                <a:lnTo>
                  <a:pt x="594" y="492"/>
                </a:lnTo>
                <a:lnTo>
                  <a:pt x="600" y="480"/>
                </a:lnTo>
                <a:lnTo>
                  <a:pt x="618" y="462"/>
                </a:lnTo>
                <a:lnTo>
                  <a:pt x="618" y="450"/>
                </a:lnTo>
                <a:lnTo>
                  <a:pt x="612" y="444"/>
                </a:lnTo>
                <a:lnTo>
                  <a:pt x="600" y="438"/>
                </a:lnTo>
                <a:lnTo>
                  <a:pt x="588" y="426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" name="Tanzania"/>
          <p:cNvSpPr>
            <a:spLocks noEditPoints="1"/>
          </p:cNvSpPr>
          <p:nvPr/>
        </p:nvSpPr>
        <p:spPr bwMode="gray">
          <a:xfrm>
            <a:off x="4863371" y="4293268"/>
            <a:ext cx="309562" cy="349250"/>
          </a:xfrm>
          <a:custGeom>
            <a:avLst/>
            <a:gdLst>
              <a:gd name="T0" fmla="*/ 2147483647 w 768"/>
              <a:gd name="T1" fmla="*/ 2147483647 h 870"/>
              <a:gd name="T2" fmla="*/ 2147483647 w 768"/>
              <a:gd name="T3" fmla="*/ 2147483647 h 870"/>
              <a:gd name="T4" fmla="*/ 2147483647 w 768"/>
              <a:gd name="T5" fmla="*/ 2147483647 h 870"/>
              <a:gd name="T6" fmla="*/ 2147483647 w 768"/>
              <a:gd name="T7" fmla="*/ 2147483647 h 870"/>
              <a:gd name="T8" fmla="*/ 2147483647 w 768"/>
              <a:gd name="T9" fmla="*/ 2147483647 h 870"/>
              <a:gd name="T10" fmla="*/ 2147483647 w 768"/>
              <a:gd name="T11" fmla="*/ 2147483647 h 870"/>
              <a:gd name="T12" fmla="*/ 2147483647 w 768"/>
              <a:gd name="T13" fmla="*/ 2147483647 h 870"/>
              <a:gd name="T14" fmla="*/ 2147483647 w 768"/>
              <a:gd name="T15" fmla="*/ 2147483647 h 870"/>
              <a:gd name="T16" fmla="*/ 2147483647 w 768"/>
              <a:gd name="T17" fmla="*/ 2147483647 h 870"/>
              <a:gd name="T18" fmla="*/ 2147483647 w 768"/>
              <a:gd name="T19" fmla="*/ 2147483647 h 870"/>
              <a:gd name="T20" fmla="*/ 2147483647 w 768"/>
              <a:gd name="T21" fmla="*/ 2147483647 h 870"/>
              <a:gd name="T22" fmla="*/ 2147483647 w 768"/>
              <a:gd name="T23" fmla="*/ 2147483647 h 870"/>
              <a:gd name="T24" fmla="*/ 2147483647 w 768"/>
              <a:gd name="T25" fmla="*/ 2147483647 h 870"/>
              <a:gd name="T26" fmla="*/ 2147483647 w 768"/>
              <a:gd name="T27" fmla="*/ 2147483647 h 870"/>
              <a:gd name="T28" fmla="*/ 2147483647 w 768"/>
              <a:gd name="T29" fmla="*/ 2147483647 h 870"/>
              <a:gd name="T30" fmla="*/ 2147483647 w 768"/>
              <a:gd name="T31" fmla="*/ 2147483647 h 870"/>
              <a:gd name="T32" fmla="*/ 2147483647 w 768"/>
              <a:gd name="T33" fmla="*/ 2147483647 h 870"/>
              <a:gd name="T34" fmla="*/ 2147483647 w 768"/>
              <a:gd name="T35" fmla="*/ 2147483647 h 870"/>
              <a:gd name="T36" fmla="*/ 2147483647 w 768"/>
              <a:gd name="T37" fmla="*/ 2147483647 h 870"/>
              <a:gd name="T38" fmla="*/ 2147483647 w 768"/>
              <a:gd name="T39" fmla="*/ 2147483647 h 870"/>
              <a:gd name="T40" fmla="*/ 2147483647 w 768"/>
              <a:gd name="T41" fmla="*/ 2147483647 h 870"/>
              <a:gd name="T42" fmla="*/ 2147483647 w 768"/>
              <a:gd name="T43" fmla="*/ 2147483647 h 870"/>
              <a:gd name="T44" fmla="*/ 2147483647 w 768"/>
              <a:gd name="T45" fmla="*/ 2147483647 h 870"/>
              <a:gd name="T46" fmla="*/ 2147483647 w 768"/>
              <a:gd name="T47" fmla="*/ 2147483647 h 870"/>
              <a:gd name="T48" fmla="*/ 2147483647 w 768"/>
              <a:gd name="T49" fmla="*/ 2147483647 h 870"/>
              <a:gd name="T50" fmla="*/ 2147483647 w 768"/>
              <a:gd name="T51" fmla="*/ 2147483647 h 870"/>
              <a:gd name="T52" fmla="*/ 2147483647 w 768"/>
              <a:gd name="T53" fmla="*/ 2147483647 h 870"/>
              <a:gd name="T54" fmla="*/ 2147483647 w 768"/>
              <a:gd name="T55" fmla="*/ 2147483647 h 870"/>
              <a:gd name="T56" fmla="*/ 2147483647 w 768"/>
              <a:gd name="T57" fmla="*/ 2147483647 h 870"/>
              <a:gd name="T58" fmla="*/ 2147483647 w 768"/>
              <a:gd name="T59" fmla="*/ 2147483647 h 870"/>
              <a:gd name="T60" fmla="*/ 2147483647 w 768"/>
              <a:gd name="T61" fmla="*/ 2147483647 h 870"/>
              <a:gd name="T62" fmla="*/ 2147483647 w 768"/>
              <a:gd name="T63" fmla="*/ 2147483647 h 870"/>
              <a:gd name="T64" fmla="*/ 2147483647 w 768"/>
              <a:gd name="T65" fmla="*/ 2147483647 h 870"/>
              <a:gd name="T66" fmla="*/ 2147483647 w 768"/>
              <a:gd name="T67" fmla="*/ 2147483647 h 870"/>
              <a:gd name="T68" fmla="*/ 2147483647 w 768"/>
              <a:gd name="T69" fmla="*/ 2147483647 h 870"/>
              <a:gd name="T70" fmla="*/ 2147483647 w 768"/>
              <a:gd name="T71" fmla="*/ 2147483647 h 870"/>
              <a:gd name="T72" fmla="*/ 2147483647 w 768"/>
              <a:gd name="T73" fmla="*/ 2147483647 h 870"/>
              <a:gd name="T74" fmla="*/ 2147483647 w 768"/>
              <a:gd name="T75" fmla="*/ 2147483647 h 870"/>
              <a:gd name="T76" fmla="*/ 2147483647 w 768"/>
              <a:gd name="T77" fmla="*/ 2147483647 h 870"/>
              <a:gd name="T78" fmla="*/ 2147483647 w 768"/>
              <a:gd name="T79" fmla="*/ 2147483647 h 870"/>
              <a:gd name="T80" fmla="*/ 2147483647 w 768"/>
              <a:gd name="T81" fmla="*/ 2147483647 h 870"/>
              <a:gd name="T82" fmla="*/ 2147483647 w 768"/>
              <a:gd name="T83" fmla="*/ 2147483647 h 870"/>
              <a:gd name="T84" fmla="*/ 2147483647 w 768"/>
              <a:gd name="T85" fmla="*/ 2147483647 h 870"/>
              <a:gd name="T86" fmla="*/ 2147483647 w 768"/>
              <a:gd name="T87" fmla="*/ 2147483647 h 870"/>
              <a:gd name="T88" fmla="*/ 2147483647 w 768"/>
              <a:gd name="T89" fmla="*/ 2147483647 h 870"/>
              <a:gd name="T90" fmla="*/ 2147483647 w 768"/>
              <a:gd name="T91" fmla="*/ 2147483647 h 870"/>
              <a:gd name="T92" fmla="*/ 2147483647 w 768"/>
              <a:gd name="T93" fmla="*/ 2147483647 h 870"/>
              <a:gd name="T94" fmla="*/ 2147483647 w 768"/>
              <a:gd name="T95" fmla="*/ 2147483647 h 870"/>
              <a:gd name="T96" fmla="*/ 2147483647 w 768"/>
              <a:gd name="T97" fmla="*/ 2147483647 h 870"/>
              <a:gd name="T98" fmla="*/ 2147483647 w 768"/>
              <a:gd name="T99" fmla="*/ 2147483647 h 870"/>
              <a:gd name="T100" fmla="*/ 2147483647 w 768"/>
              <a:gd name="T101" fmla="*/ 2147483647 h 870"/>
              <a:gd name="T102" fmla="*/ 2147483647 w 768"/>
              <a:gd name="T103" fmla="*/ 2147483647 h 87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768"/>
              <a:gd name="T157" fmla="*/ 0 h 870"/>
              <a:gd name="T158" fmla="*/ 768 w 768"/>
              <a:gd name="T159" fmla="*/ 870 h 87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768" h="870">
                <a:moveTo>
                  <a:pt x="762" y="744"/>
                </a:moveTo>
                <a:lnTo>
                  <a:pt x="750" y="744"/>
                </a:lnTo>
                <a:lnTo>
                  <a:pt x="744" y="738"/>
                </a:lnTo>
                <a:lnTo>
                  <a:pt x="732" y="732"/>
                </a:lnTo>
                <a:lnTo>
                  <a:pt x="720" y="720"/>
                </a:lnTo>
                <a:lnTo>
                  <a:pt x="720" y="708"/>
                </a:lnTo>
                <a:lnTo>
                  <a:pt x="714" y="690"/>
                </a:lnTo>
                <a:lnTo>
                  <a:pt x="714" y="654"/>
                </a:lnTo>
                <a:lnTo>
                  <a:pt x="690" y="612"/>
                </a:lnTo>
                <a:lnTo>
                  <a:pt x="702" y="564"/>
                </a:lnTo>
                <a:lnTo>
                  <a:pt x="684" y="540"/>
                </a:lnTo>
                <a:lnTo>
                  <a:pt x="690" y="528"/>
                </a:lnTo>
                <a:lnTo>
                  <a:pt x="696" y="522"/>
                </a:lnTo>
                <a:lnTo>
                  <a:pt x="708" y="498"/>
                </a:lnTo>
                <a:lnTo>
                  <a:pt x="708" y="480"/>
                </a:lnTo>
                <a:lnTo>
                  <a:pt x="702" y="474"/>
                </a:lnTo>
                <a:lnTo>
                  <a:pt x="690" y="468"/>
                </a:lnTo>
                <a:lnTo>
                  <a:pt x="672" y="456"/>
                </a:lnTo>
                <a:lnTo>
                  <a:pt x="660" y="450"/>
                </a:lnTo>
                <a:lnTo>
                  <a:pt x="654" y="438"/>
                </a:lnTo>
                <a:lnTo>
                  <a:pt x="654" y="426"/>
                </a:lnTo>
                <a:lnTo>
                  <a:pt x="660" y="414"/>
                </a:lnTo>
                <a:lnTo>
                  <a:pt x="666" y="396"/>
                </a:lnTo>
                <a:lnTo>
                  <a:pt x="666" y="384"/>
                </a:lnTo>
                <a:lnTo>
                  <a:pt x="672" y="366"/>
                </a:lnTo>
                <a:lnTo>
                  <a:pt x="678" y="354"/>
                </a:lnTo>
                <a:lnTo>
                  <a:pt x="678" y="330"/>
                </a:lnTo>
                <a:lnTo>
                  <a:pt x="684" y="318"/>
                </a:lnTo>
                <a:lnTo>
                  <a:pt x="684" y="300"/>
                </a:lnTo>
                <a:lnTo>
                  <a:pt x="570" y="192"/>
                </a:lnTo>
                <a:lnTo>
                  <a:pt x="576" y="186"/>
                </a:lnTo>
                <a:lnTo>
                  <a:pt x="582" y="186"/>
                </a:lnTo>
                <a:lnTo>
                  <a:pt x="588" y="180"/>
                </a:lnTo>
                <a:lnTo>
                  <a:pt x="588" y="174"/>
                </a:lnTo>
                <a:lnTo>
                  <a:pt x="576" y="162"/>
                </a:lnTo>
                <a:lnTo>
                  <a:pt x="324" y="6"/>
                </a:lnTo>
                <a:lnTo>
                  <a:pt x="312" y="6"/>
                </a:lnTo>
                <a:lnTo>
                  <a:pt x="312" y="18"/>
                </a:lnTo>
                <a:lnTo>
                  <a:pt x="318" y="24"/>
                </a:lnTo>
                <a:lnTo>
                  <a:pt x="318" y="36"/>
                </a:lnTo>
                <a:lnTo>
                  <a:pt x="294" y="48"/>
                </a:lnTo>
                <a:lnTo>
                  <a:pt x="276" y="66"/>
                </a:lnTo>
                <a:lnTo>
                  <a:pt x="264" y="84"/>
                </a:lnTo>
                <a:lnTo>
                  <a:pt x="264" y="90"/>
                </a:lnTo>
                <a:lnTo>
                  <a:pt x="270" y="96"/>
                </a:lnTo>
                <a:lnTo>
                  <a:pt x="294" y="96"/>
                </a:lnTo>
                <a:lnTo>
                  <a:pt x="306" y="90"/>
                </a:lnTo>
                <a:lnTo>
                  <a:pt x="312" y="90"/>
                </a:lnTo>
                <a:lnTo>
                  <a:pt x="306" y="96"/>
                </a:lnTo>
                <a:lnTo>
                  <a:pt x="294" y="102"/>
                </a:lnTo>
                <a:lnTo>
                  <a:pt x="276" y="120"/>
                </a:lnTo>
                <a:lnTo>
                  <a:pt x="270" y="120"/>
                </a:lnTo>
                <a:lnTo>
                  <a:pt x="264" y="114"/>
                </a:lnTo>
                <a:lnTo>
                  <a:pt x="252" y="108"/>
                </a:lnTo>
                <a:lnTo>
                  <a:pt x="246" y="108"/>
                </a:lnTo>
                <a:lnTo>
                  <a:pt x="234" y="120"/>
                </a:lnTo>
                <a:lnTo>
                  <a:pt x="234" y="138"/>
                </a:lnTo>
                <a:lnTo>
                  <a:pt x="246" y="150"/>
                </a:lnTo>
                <a:lnTo>
                  <a:pt x="216" y="150"/>
                </a:lnTo>
                <a:lnTo>
                  <a:pt x="216" y="138"/>
                </a:lnTo>
                <a:lnTo>
                  <a:pt x="222" y="132"/>
                </a:lnTo>
                <a:lnTo>
                  <a:pt x="222" y="126"/>
                </a:lnTo>
                <a:lnTo>
                  <a:pt x="228" y="114"/>
                </a:lnTo>
                <a:lnTo>
                  <a:pt x="210" y="120"/>
                </a:lnTo>
                <a:lnTo>
                  <a:pt x="192" y="102"/>
                </a:lnTo>
                <a:lnTo>
                  <a:pt x="186" y="102"/>
                </a:lnTo>
                <a:lnTo>
                  <a:pt x="174" y="114"/>
                </a:lnTo>
                <a:lnTo>
                  <a:pt x="174" y="132"/>
                </a:lnTo>
                <a:lnTo>
                  <a:pt x="168" y="138"/>
                </a:lnTo>
                <a:lnTo>
                  <a:pt x="162" y="138"/>
                </a:lnTo>
                <a:lnTo>
                  <a:pt x="156" y="132"/>
                </a:lnTo>
                <a:lnTo>
                  <a:pt x="156" y="48"/>
                </a:lnTo>
                <a:lnTo>
                  <a:pt x="162" y="36"/>
                </a:lnTo>
                <a:lnTo>
                  <a:pt x="162" y="24"/>
                </a:lnTo>
                <a:lnTo>
                  <a:pt x="168" y="12"/>
                </a:lnTo>
                <a:lnTo>
                  <a:pt x="168" y="6"/>
                </a:lnTo>
                <a:lnTo>
                  <a:pt x="78" y="0"/>
                </a:lnTo>
                <a:lnTo>
                  <a:pt x="72" y="24"/>
                </a:lnTo>
                <a:lnTo>
                  <a:pt x="78" y="30"/>
                </a:lnTo>
                <a:lnTo>
                  <a:pt x="84" y="42"/>
                </a:lnTo>
                <a:lnTo>
                  <a:pt x="90" y="48"/>
                </a:lnTo>
                <a:lnTo>
                  <a:pt x="90" y="66"/>
                </a:lnTo>
                <a:lnTo>
                  <a:pt x="96" y="72"/>
                </a:lnTo>
                <a:lnTo>
                  <a:pt x="96" y="96"/>
                </a:lnTo>
                <a:lnTo>
                  <a:pt x="78" y="114"/>
                </a:lnTo>
                <a:lnTo>
                  <a:pt x="66" y="114"/>
                </a:lnTo>
                <a:lnTo>
                  <a:pt x="66" y="126"/>
                </a:lnTo>
                <a:lnTo>
                  <a:pt x="60" y="138"/>
                </a:lnTo>
                <a:lnTo>
                  <a:pt x="60" y="156"/>
                </a:lnTo>
                <a:lnTo>
                  <a:pt x="66" y="156"/>
                </a:lnTo>
                <a:lnTo>
                  <a:pt x="72" y="162"/>
                </a:lnTo>
                <a:lnTo>
                  <a:pt x="90" y="162"/>
                </a:lnTo>
                <a:lnTo>
                  <a:pt x="90" y="180"/>
                </a:lnTo>
                <a:lnTo>
                  <a:pt x="78" y="186"/>
                </a:lnTo>
                <a:lnTo>
                  <a:pt x="84" y="198"/>
                </a:lnTo>
                <a:lnTo>
                  <a:pt x="72" y="198"/>
                </a:lnTo>
                <a:lnTo>
                  <a:pt x="54" y="216"/>
                </a:lnTo>
                <a:lnTo>
                  <a:pt x="48" y="228"/>
                </a:lnTo>
                <a:lnTo>
                  <a:pt x="48" y="246"/>
                </a:lnTo>
                <a:lnTo>
                  <a:pt x="42" y="258"/>
                </a:lnTo>
                <a:lnTo>
                  <a:pt x="30" y="270"/>
                </a:lnTo>
                <a:lnTo>
                  <a:pt x="6" y="282"/>
                </a:lnTo>
                <a:lnTo>
                  <a:pt x="0" y="294"/>
                </a:lnTo>
                <a:lnTo>
                  <a:pt x="6" y="306"/>
                </a:lnTo>
                <a:lnTo>
                  <a:pt x="18" y="318"/>
                </a:lnTo>
                <a:lnTo>
                  <a:pt x="18" y="330"/>
                </a:lnTo>
                <a:lnTo>
                  <a:pt x="12" y="342"/>
                </a:lnTo>
                <a:lnTo>
                  <a:pt x="12" y="348"/>
                </a:lnTo>
                <a:lnTo>
                  <a:pt x="18" y="354"/>
                </a:lnTo>
                <a:lnTo>
                  <a:pt x="18" y="366"/>
                </a:lnTo>
                <a:lnTo>
                  <a:pt x="24" y="378"/>
                </a:lnTo>
                <a:lnTo>
                  <a:pt x="24" y="396"/>
                </a:lnTo>
                <a:lnTo>
                  <a:pt x="18" y="402"/>
                </a:lnTo>
                <a:lnTo>
                  <a:pt x="18" y="432"/>
                </a:lnTo>
                <a:lnTo>
                  <a:pt x="30" y="444"/>
                </a:lnTo>
                <a:lnTo>
                  <a:pt x="36" y="444"/>
                </a:lnTo>
                <a:lnTo>
                  <a:pt x="48" y="450"/>
                </a:lnTo>
                <a:lnTo>
                  <a:pt x="72" y="474"/>
                </a:lnTo>
                <a:lnTo>
                  <a:pt x="78" y="486"/>
                </a:lnTo>
                <a:lnTo>
                  <a:pt x="78" y="546"/>
                </a:lnTo>
                <a:lnTo>
                  <a:pt x="84" y="558"/>
                </a:lnTo>
                <a:lnTo>
                  <a:pt x="114" y="594"/>
                </a:lnTo>
                <a:lnTo>
                  <a:pt x="114" y="600"/>
                </a:lnTo>
                <a:lnTo>
                  <a:pt x="108" y="612"/>
                </a:lnTo>
                <a:lnTo>
                  <a:pt x="108" y="618"/>
                </a:lnTo>
                <a:lnTo>
                  <a:pt x="126" y="618"/>
                </a:lnTo>
                <a:lnTo>
                  <a:pt x="138" y="612"/>
                </a:lnTo>
                <a:lnTo>
                  <a:pt x="138" y="630"/>
                </a:lnTo>
                <a:lnTo>
                  <a:pt x="144" y="636"/>
                </a:lnTo>
                <a:lnTo>
                  <a:pt x="162" y="636"/>
                </a:lnTo>
                <a:lnTo>
                  <a:pt x="180" y="654"/>
                </a:lnTo>
                <a:lnTo>
                  <a:pt x="192" y="654"/>
                </a:lnTo>
                <a:lnTo>
                  <a:pt x="204" y="648"/>
                </a:lnTo>
                <a:lnTo>
                  <a:pt x="204" y="666"/>
                </a:lnTo>
                <a:lnTo>
                  <a:pt x="222" y="666"/>
                </a:lnTo>
                <a:lnTo>
                  <a:pt x="240" y="678"/>
                </a:lnTo>
                <a:lnTo>
                  <a:pt x="264" y="678"/>
                </a:lnTo>
                <a:lnTo>
                  <a:pt x="270" y="696"/>
                </a:lnTo>
                <a:lnTo>
                  <a:pt x="300" y="696"/>
                </a:lnTo>
                <a:lnTo>
                  <a:pt x="300" y="690"/>
                </a:lnTo>
                <a:lnTo>
                  <a:pt x="312" y="678"/>
                </a:lnTo>
                <a:lnTo>
                  <a:pt x="318" y="684"/>
                </a:lnTo>
                <a:lnTo>
                  <a:pt x="330" y="690"/>
                </a:lnTo>
                <a:lnTo>
                  <a:pt x="336" y="702"/>
                </a:lnTo>
                <a:lnTo>
                  <a:pt x="348" y="714"/>
                </a:lnTo>
                <a:lnTo>
                  <a:pt x="348" y="774"/>
                </a:lnTo>
                <a:lnTo>
                  <a:pt x="354" y="774"/>
                </a:lnTo>
                <a:lnTo>
                  <a:pt x="360" y="780"/>
                </a:lnTo>
                <a:lnTo>
                  <a:pt x="360" y="792"/>
                </a:lnTo>
                <a:lnTo>
                  <a:pt x="354" y="798"/>
                </a:lnTo>
                <a:lnTo>
                  <a:pt x="354" y="804"/>
                </a:lnTo>
                <a:lnTo>
                  <a:pt x="348" y="810"/>
                </a:lnTo>
                <a:lnTo>
                  <a:pt x="348" y="816"/>
                </a:lnTo>
                <a:lnTo>
                  <a:pt x="366" y="834"/>
                </a:lnTo>
                <a:lnTo>
                  <a:pt x="378" y="840"/>
                </a:lnTo>
                <a:lnTo>
                  <a:pt x="372" y="858"/>
                </a:lnTo>
                <a:lnTo>
                  <a:pt x="408" y="858"/>
                </a:lnTo>
                <a:lnTo>
                  <a:pt x="414" y="852"/>
                </a:lnTo>
                <a:lnTo>
                  <a:pt x="420" y="852"/>
                </a:lnTo>
                <a:lnTo>
                  <a:pt x="432" y="840"/>
                </a:lnTo>
                <a:lnTo>
                  <a:pt x="444" y="840"/>
                </a:lnTo>
                <a:lnTo>
                  <a:pt x="456" y="846"/>
                </a:lnTo>
                <a:lnTo>
                  <a:pt x="462" y="858"/>
                </a:lnTo>
                <a:lnTo>
                  <a:pt x="474" y="864"/>
                </a:lnTo>
                <a:lnTo>
                  <a:pt x="480" y="870"/>
                </a:lnTo>
                <a:lnTo>
                  <a:pt x="492" y="870"/>
                </a:lnTo>
                <a:lnTo>
                  <a:pt x="510" y="852"/>
                </a:lnTo>
                <a:lnTo>
                  <a:pt x="516" y="852"/>
                </a:lnTo>
                <a:lnTo>
                  <a:pt x="522" y="858"/>
                </a:lnTo>
                <a:lnTo>
                  <a:pt x="534" y="864"/>
                </a:lnTo>
                <a:lnTo>
                  <a:pt x="552" y="864"/>
                </a:lnTo>
                <a:lnTo>
                  <a:pt x="564" y="852"/>
                </a:lnTo>
                <a:lnTo>
                  <a:pt x="576" y="846"/>
                </a:lnTo>
                <a:lnTo>
                  <a:pt x="582" y="834"/>
                </a:lnTo>
                <a:lnTo>
                  <a:pt x="588" y="828"/>
                </a:lnTo>
                <a:lnTo>
                  <a:pt x="612" y="828"/>
                </a:lnTo>
                <a:lnTo>
                  <a:pt x="618" y="834"/>
                </a:lnTo>
                <a:lnTo>
                  <a:pt x="618" y="840"/>
                </a:lnTo>
                <a:lnTo>
                  <a:pt x="630" y="840"/>
                </a:lnTo>
                <a:lnTo>
                  <a:pt x="642" y="834"/>
                </a:lnTo>
                <a:lnTo>
                  <a:pt x="654" y="822"/>
                </a:lnTo>
                <a:lnTo>
                  <a:pt x="660" y="822"/>
                </a:lnTo>
                <a:lnTo>
                  <a:pt x="690" y="816"/>
                </a:lnTo>
                <a:lnTo>
                  <a:pt x="768" y="762"/>
                </a:lnTo>
                <a:lnTo>
                  <a:pt x="762" y="744"/>
                </a:lnTo>
                <a:close/>
                <a:moveTo>
                  <a:pt x="726" y="360"/>
                </a:moveTo>
                <a:lnTo>
                  <a:pt x="732" y="354"/>
                </a:lnTo>
                <a:lnTo>
                  <a:pt x="732" y="324"/>
                </a:lnTo>
                <a:lnTo>
                  <a:pt x="720" y="312"/>
                </a:lnTo>
                <a:lnTo>
                  <a:pt x="714" y="312"/>
                </a:lnTo>
                <a:lnTo>
                  <a:pt x="708" y="318"/>
                </a:lnTo>
                <a:lnTo>
                  <a:pt x="708" y="348"/>
                </a:lnTo>
                <a:lnTo>
                  <a:pt x="714" y="354"/>
                </a:lnTo>
                <a:lnTo>
                  <a:pt x="726" y="360"/>
                </a:lnTo>
                <a:close/>
                <a:moveTo>
                  <a:pt x="678" y="420"/>
                </a:moveTo>
                <a:lnTo>
                  <a:pt x="690" y="426"/>
                </a:lnTo>
                <a:lnTo>
                  <a:pt x="696" y="438"/>
                </a:lnTo>
                <a:lnTo>
                  <a:pt x="708" y="444"/>
                </a:lnTo>
                <a:lnTo>
                  <a:pt x="720" y="444"/>
                </a:lnTo>
                <a:lnTo>
                  <a:pt x="726" y="438"/>
                </a:lnTo>
                <a:lnTo>
                  <a:pt x="720" y="432"/>
                </a:lnTo>
                <a:lnTo>
                  <a:pt x="720" y="426"/>
                </a:lnTo>
                <a:lnTo>
                  <a:pt x="708" y="414"/>
                </a:lnTo>
                <a:lnTo>
                  <a:pt x="708" y="390"/>
                </a:lnTo>
                <a:lnTo>
                  <a:pt x="702" y="378"/>
                </a:lnTo>
                <a:lnTo>
                  <a:pt x="684" y="378"/>
                </a:lnTo>
                <a:lnTo>
                  <a:pt x="678" y="384"/>
                </a:lnTo>
                <a:lnTo>
                  <a:pt x="678" y="42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" name="Tajikistan"/>
          <p:cNvSpPr>
            <a:spLocks/>
          </p:cNvSpPr>
          <p:nvPr/>
        </p:nvSpPr>
        <p:spPr bwMode="gray">
          <a:xfrm>
            <a:off x="5823808" y="2931193"/>
            <a:ext cx="222250" cy="141287"/>
          </a:xfrm>
          <a:custGeom>
            <a:avLst/>
            <a:gdLst>
              <a:gd name="T0" fmla="*/ 2147483647 w 552"/>
              <a:gd name="T1" fmla="*/ 2147483647 h 348"/>
              <a:gd name="T2" fmla="*/ 2147483647 w 552"/>
              <a:gd name="T3" fmla="*/ 2147483647 h 348"/>
              <a:gd name="T4" fmla="*/ 2147483647 w 552"/>
              <a:gd name="T5" fmla="*/ 2147483647 h 348"/>
              <a:gd name="T6" fmla="*/ 2147483647 w 552"/>
              <a:gd name="T7" fmla="*/ 2147483647 h 348"/>
              <a:gd name="T8" fmla="*/ 2147483647 w 552"/>
              <a:gd name="T9" fmla="*/ 2147483647 h 348"/>
              <a:gd name="T10" fmla="*/ 2147483647 w 552"/>
              <a:gd name="T11" fmla="*/ 2147483647 h 348"/>
              <a:gd name="T12" fmla="*/ 2147483647 w 552"/>
              <a:gd name="T13" fmla="*/ 2147483647 h 348"/>
              <a:gd name="T14" fmla="*/ 2147483647 w 552"/>
              <a:gd name="T15" fmla="*/ 2147483647 h 348"/>
              <a:gd name="T16" fmla="*/ 2147483647 w 552"/>
              <a:gd name="T17" fmla="*/ 2147483647 h 348"/>
              <a:gd name="T18" fmla="*/ 2147483647 w 552"/>
              <a:gd name="T19" fmla="*/ 2147483647 h 348"/>
              <a:gd name="T20" fmla="*/ 2147483647 w 552"/>
              <a:gd name="T21" fmla="*/ 2147483647 h 348"/>
              <a:gd name="T22" fmla="*/ 2147483647 w 552"/>
              <a:gd name="T23" fmla="*/ 2147483647 h 348"/>
              <a:gd name="T24" fmla="*/ 2147483647 w 552"/>
              <a:gd name="T25" fmla="*/ 2147483647 h 348"/>
              <a:gd name="T26" fmla="*/ 2147483647 w 552"/>
              <a:gd name="T27" fmla="*/ 2147483647 h 348"/>
              <a:gd name="T28" fmla="*/ 2147483647 w 552"/>
              <a:gd name="T29" fmla="*/ 2147483647 h 348"/>
              <a:gd name="T30" fmla="*/ 2147483647 w 552"/>
              <a:gd name="T31" fmla="*/ 2147483647 h 348"/>
              <a:gd name="T32" fmla="*/ 2147483647 w 552"/>
              <a:gd name="T33" fmla="*/ 2147483647 h 348"/>
              <a:gd name="T34" fmla="*/ 2147483647 w 552"/>
              <a:gd name="T35" fmla="*/ 2147483647 h 348"/>
              <a:gd name="T36" fmla="*/ 2147483647 w 552"/>
              <a:gd name="T37" fmla="*/ 2147483647 h 348"/>
              <a:gd name="T38" fmla="*/ 2147483647 w 552"/>
              <a:gd name="T39" fmla="*/ 0 h 348"/>
              <a:gd name="T40" fmla="*/ 2147483647 w 552"/>
              <a:gd name="T41" fmla="*/ 2147483647 h 348"/>
              <a:gd name="T42" fmla="*/ 2147483647 w 552"/>
              <a:gd name="T43" fmla="*/ 2147483647 h 348"/>
              <a:gd name="T44" fmla="*/ 2147483647 w 552"/>
              <a:gd name="T45" fmla="*/ 2147483647 h 348"/>
              <a:gd name="T46" fmla="*/ 2147483647 w 552"/>
              <a:gd name="T47" fmla="*/ 2147483647 h 348"/>
              <a:gd name="T48" fmla="*/ 2147483647 w 552"/>
              <a:gd name="T49" fmla="*/ 2147483647 h 348"/>
              <a:gd name="T50" fmla="*/ 2147483647 w 552"/>
              <a:gd name="T51" fmla="*/ 2147483647 h 348"/>
              <a:gd name="T52" fmla="*/ 2147483647 w 552"/>
              <a:gd name="T53" fmla="*/ 2147483647 h 348"/>
              <a:gd name="T54" fmla="*/ 2147483647 w 552"/>
              <a:gd name="T55" fmla="*/ 2147483647 h 348"/>
              <a:gd name="T56" fmla="*/ 2147483647 w 552"/>
              <a:gd name="T57" fmla="*/ 2147483647 h 348"/>
              <a:gd name="T58" fmla="*/ 2147483647 w 552"/>
              <a:gd name="T59" fmla="*/ 2147483647 h 348"/>
              <a:gd name="T60" fmla="*/ 2147483647 w 552"/>
              <a:gd name="T61" fmla="*/ 2147483647 h 348"/>
              <a:gd name="T62" fmla="*/ 2147483647 w 552"/>
              <a:gd name="T63" fmla="*/ 2147483647 h 348"/>
              <a:gd name="T64" fmla="*/ 2147483647 w 552"/>
              <a:gd name="T65" fmla="*/ 2147483647 h 348"/>
              <a:gd name="T66" fmla="*/ 2147483647 w 552"/>
              <a:gd name="T67" fmla="*/ 2147483647 h 348"/>
              <a:gd name="T68" fmla="*/ 2147483647 w 552"/>
              <a:gd name="T69" fmla="*/ 2147483647 h 348"/>
              <a:gd name="T70" fmla="*/ 2147483647 w 552"/>
              <a:gd name="T71" fmla="*/ 2147483647 h 348"/>
              <a:gd name="T72" fmla="*/ 2147483647 w 552"/>
              <a:gd name="T73" fmla="*/ 2147483647 h 348"/>
              <a:gd name="T74" fmla="*/ 2147483647 w 552"/>
              <a:gd name="T75" fmla="*/ 2147483647 h 348"/>
              <a:gd name="T76" fmla="*/ 2147483647 w 552"/>
              <a:gd name="T77" fmla="*/ 2147483647 h 348"/>
              <a:gd name="T78" fmla="*/ 2147483647 w 552"/>
              <a:gd name="T79" fmla="*/ 2147483647 h 348"/>
              <a:gd name="T80" fmla="*/ 2147483647 w 552"/>
              <a:gd name="T81" fmla="*/ 2147483647 h 348"/>
              <a:gd name="T82" fmla="*/ 2147483647 w 552"/>
              <a:gd name="T83" fmla="*/ 2147483647 h 348"/>
              <a:gd name="T84" fmla="*/ 2147483647 w 552"/>
              <a:gd name="T85" fmla="*/ 2147483647 h 348"/>
              <a:gd name="T86" fmla="*/ 2147483647 w 552"/>
              <a:gd name="T87" fmla="*/ 2147483647 h 348"/>
              <a:gd name="T88" fmla="*/ 2147483647 w 552"/>
              <a:gd name="T89" fmla="*/ 2147483647 h 348"/>
              <a:gd name="T90" fmla="*/ 2147483647 w 552"/>
              <a:gd name="T91" fmla="*/ 2147483647 h 348"/>
              <a:gd name="T92" fmla="*/ 2147483647 w 552"/>
              <a:gd name="T93" fmla="*/ 2147483647 h 348"/>
              <a:gd name="T94" fmla="*/ 2147483647 w 552"/>
              <a:gd name="T95" fmla="*/ 2147483647 h 348"/>
              <a:gd name="T96" fmla="*/ 2147483647 w 552"/>
              <a:gd name="T97" fmla="*/ 2147483647 h 348"/>
              <a:gd name="T98" fmla="*/ 2147483647 w 552"/>
              <a:gd name="T99" fmla="*/ 2147483647 h 34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552"/>
              <a:gd name="T151" fmla="*/ 0 h 348"/>
              <a:gd name="T152" fmla="*/ 552 w 552"/>
              <a:gd name="T153" fmla="*/ 348 h 34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552" h="348">
                <a:moveTo>
                  <a:pt x="528" y="270"/>
                </a:moveTo>
                <a:lnTo>
                  <a:pt x="516" y="246"/>
                </a:lnTo>
                <a:lnTo>
                  <a:pt x="516" y="204"/>
                </a:lnTo>
                <a:lnTo>
                  <a:pt x="510" y="198"/>
                </a:lnTo>
                <a:lnTo>
                  <a:pt x="498" y="192"/>
                </a:lnTo>
                <a:lnTo>
                  <a:pt x="492" y="192"/>
                </a:lnTo>
                <a:lnTo>
                  <a:pt x="480" y="186"/>
                </a:lnTo>
                <a:lnTo>
                  <a:pt x="456" y="186"/>
                </a:lnTo>
                <a:lnTo>
                  <a:pt x="450" y="192"/>
                </a:lnTo>
                <a:lnTo>
                  <a:pt x="438" y="192"/>
                </a:lnTo>
                <a:lnTo>
                  <a:pt x="426" y="180"/>
                </a:lnTo>
                <a:lnTo>
                  <a:pt x="426" y="168"/>
                </a:lnTo>
                <a:lnTo>
                  <a:pt x="432" y="156"/>
                </a:lnTo>
                <a:lnTo>
                  <a:pt x="432" y="144"/>
                </a:lnTo>
                <a:lnTo>
                  <a:pt x="414" y="144"/>
                </a:lnTo>
                <a:lnTo>
                  <a:pt x="414" y="120"/>
                </a:lnTo>
                <a:lnTo>
                  <a:pt x="396" y="114"/>
                </a:lnTo>
                <a:lnTo>
                  <a:pt x="384" y="126"/>
                </a:lnTo>
                <a:lnTo>
                  <a:pt x="342" y="126"/>
                </a:lnTo>
                <a:lnTo>
                  <a:pt x="336" y="132"/>
                </a:lnTo>
                <a:lnTo>
                  <a:pt x="324" y="138"/>
                </a:lnTo>
                <a:lnTo>
                  <a:pt x="312" y="138"/>
                </a:lnTo>
                <a:lnTo>
                  <a:pt x="312" y="132"/>
                </a:lnTo>
                <a:lnTo>
                  <a:pt x="306" y="132"/>
                </a:lnTo>
                <a:lnTo>
                  <a:pt x="294" y="138"/>
                </a:lnTo>
                <a:lnTo>
                  <a:pt x="264" y="108"/>
                </a:lnTo>
                <a:lnTo>
                  <a:pt x="258" y="114"/>
                </a:lnTo>
                <a:lnTo>
                  <a:pt x="246" y="120"/>
                </a:lnTo>
                <a:lnTo>
                  <a:pt x="240" y="126"/>
                </a:lnTo>
                <a:lnTo>
                  <a:pt x="222" y="126"/>
                </a:lnTo>
                <a:lnTo>
                  <a:pt x="210" y="114"/>
                </a:lnTo>
                <a:lnTo>
                  <a:pt x="186" y="114"/>
                </a:lnTo>
                <a:lnTo>
                  <a:pt x="174" y="108"/>
                </a:lnTo>
                <a:lnTo>
                  <a:pt x="156" y="108"/>
                </a:lnTo>
                <a:lnTo>
                  <a:pt x="150" y="114"/>
                </a:lnTo>
                <a:lnTo>
                  <a:pt x="138" y="114"/>
                </a:lnTo>
                <a:lnTo>
                  <a:pt x="126" y="120"/>
                </a:lnTo>
                <a:lnTo>
                  <a:pt x="120" y="114"/>
                </a:lnTo>
                <a:lnTo>
                  <a:pt x="120" y="108"/>
                </a:lnTo>
                <a:lnTo>
                  <a:pt x="114" y="102"/>
                </a:lnTo>
                <a:lnTo>
                  <a:pt x="114" y="90"/>
                </a:lnTo>
                <a:lnTo>
                  <a:pt x="126" y="84"/>
                </a:lnTo>
                <a:lnTo>
                  <a:pt x="132" y="78"/>
                </a:lnTo>
                <a:lnTo>
                  <a:pt x="132" y="66"/>
                </a:lnTo>
                <a:lnTo>
                  <a:pt x="138" y="60"/>
                </a:lnTo>
                <a:lnTo>
                  <a:pt x="150" y="60"/>
                </a:lnTo>
                <a:lnTo>
                  <a:pt x="186" y="72"/>
                </a:lnTo>
                <a:lnTo>
                  <a:pt x="198" y="78"/>
                </a:lnTo>
                <a:lnTo>
                  <a:pt x="204" y="78"/>
                </a:lnTo>
                <a:lnTo>
                  <a:pt x="210" y="72"/>
                </a:lnTo>
                <a:lnTo>
                  <a:pt x="210" y="66"/>
                </a:lnTo>
                <a:lnTo>
                  <a:pt x="204" y="60"/>
                </a:lnTo>
                <a:lnTo>
                  <a:pt x="198" y="60"/>
                </a:lnTo>
                <a:lnTo>
                  <a:pt x="186" y="54"/>
                </a:lnTo>
                <a:lnTo>
                  <a:pt x="180" y="48"/>
                </a:lnTo>
                <a:lnTo>
                  <a:pt x="174" y="48"/>
                </a:lnTo>
                <a:lnTo>
                  <a:pt x="198" y="12"/>
                </a:lnTo>
                <a:lnTo>
                  <a:pt x="192" y="6"/>
                </a:lnTo>
                <a:lnTo>
                  <a:pt x="180" y="0"/>
                </a:lnTo>
                <a:lnTo>
                  <a:pt x="162" y="0"/>
                </a:lnTo>
                <a:lnTo>
                  <a:pt x="156" y="12"/>
                </a:lnTo>
                <a:lnTo>
                  <a:pt x="144" y="18"/>
                </a:lnTo>
                <a:lnTo>
                  <a:pt x="138" y="30"/>
                </a:lnTo>
                <a:lnTo>
                  <a:pt x="132" y="30"/>
                </a:lnTo>
                <a:lnTo>
                  <a:pt x="114" y="12"/>
                </a:lnTo>
                <a:lnTo>
                  <a:pt x="102" y="12"/>
                </a:lnTo>
                <a:lnTo>
                  <a:pt x="102" y="24"/>
                </a:lnTo>
                <a:lnTo>
                  <a:pt x="96" y="30"/>
                </a:lnTo>
                <a:lnTo>
                  <a:pt x="96" y="42"/>
                </a:lnTo>
                <a:lnTo>
                  <a:pt x="108" y="54"/>
                </a:lnTo>
                <a:lnTo>
                  <a:pt x="108" y="60"/>
                </a:lnTo>
                <a:lnTo>
                  <a:pt x="66" y="60"/>
                </a:lnTo>
                <a:lnTo>
                  <a:pt x="90" y="84"/>
                </a:lnTo>
                <a:lnTo>
                  <a:pt x="72" y="96"/>
                </a:lnTo>
                <a:lnTo>
                  <a:pt x="78" y="96"/>
                </a:lnTo>
                <a:lnTo>
                  <a:pt x="78" y="108"/>
                </a:lnTo>
                <a:lnTo>
                  <a:pt x="54" y="120"/>
                </a:lnTo>
                <a:lnTo>
                  <a:pt x="6" y="120"/>
                </a:lnTo>
                <a:lnTo>
                  <a:pt x="0" y="126"/>
                </a:lnTo>
                <a:lnTo>
                  <a:pt x="0" y="144"/>
                </a:lnTo>
                <a:lnTo>
                  <a:pt x="18" y="144"/>
                </a:lnTo>
                <a:lnTo>
                  <a:pt x="30" y="156"/>
                </a:lnTo>
                <a:lnTo>
                  <a:pt x="36" y="156"/>
                </a:lnTo>
                <a:lnTo>
                  <a:pt x="42" y="162"/>
                </a:lnTo>
                <a:lnTo>
                  <a:pt x="54" y="162"/>
                </a:lnTo>
                <a:lnTo>
                  <a:pt x="66" y="174"/>
                </a:lnTo>
                <a:lnTo>
                  <a:pt x="66" y="180"/>
                </a:lnTo>
                <a:lnTo>
                  <a:pt x="60" y="186"/>
                </a:lnTo>
                <a:lnTo>
                  <a:pt x="60" y="204"/>
                </a:lnTo>
                <a:lnTo>
                  <a:pt x="66" y="210"/>
                </a:lnTo>
                <a:lnTo>
                  <a:pt x="78" y="216"/>
                </a:lnTo>
                <a:lnTo>
                  <a:pt x="90" y="228"/>
                </a:lnTo>
                <a:lnTo>
                  <a:pt x="90" y="246"/>
                </a:lnTo>
                <a:lnTo>
                  <a:pt x="84" y="258"/>
                </a:lnTo>
                <a:lnTo>
                  <a:pt x="72" y="264"/>
                </a:lnTo>
                <a:lnTo>
                  <a:pt x="66" y="276"/>
                </a:lnTo>
                <a:lnTo>
                  <a:pt x="60" y="282"/>
                </a:lnTo>
                <a:lnTo>
                  <a:pt x="60" y="306"/>
                </a:lnTo>
                <a:lnTo>
                  <a:pt x="66" y="312"/>
                </a:lnTo>
                <a:lnTo>
                  <a:pt x="78" y="318"/>
                </a:lnTo>
                <a:lnTo>
                  <a:pt x="84" y="324"/>
                </a:lnTo>
                <a:lnTo>
                  <a:pt x="90" y="324"/>
                </a:lnTo>
                <a:lnTo>
                  <a:pt x="108" y="306"/>
                </a:lnTo>
                <a:lnTo>
                  <a:pt x="120" y="300"/>
                </a:lnTo>
                <a:lnTo>
                  <a:pt x="126" y="294"/>
                </a:lnTo>
                <a:lnTo>
                  <a:pt x="138" y="294"/>
                </a:lnTo>
                <a:lnTo>
                  <a:pt x="144" y="300"/>
                </a:lnTo>
                <a:lnTo>
                  <a:pt x="150" y="312"/>
                </a:lnTo>
                <a:lnTo>
                  <a:pt x="156" y="318"/>
                </a:lnTo>
                <a:lnTo>
                  <a:pt x="162" y="318"/>
                </a:lnTo>
                <a:lnTo>
                  <a:pt x="162" y="288"/>
                </a:lnTo>
                <a:lnTo>
                  <a:pt x="174" y="276"/>
                </a:lnTo>
                <a:lnTo>
                  <a:pt x="186" y="270"/>
                </a:lnTo>
                <a:lnTo>
                  <a:pt x="204" y="270"/>
                </a:lnTo>
                <a:lnTo>
                  <a:pt x="216" y="282"/>
                </a:lnTo>
                <a:lnTo>
                  <a:pt x="222" y="258"/>
                </a:lnTo>
                <a:lnTo>
                  <a:pt x="216" y="258"/>
                </a:lnTo>
                <a:lnTo>
                  <a:pt x="210" y="252"/>
                </a:lnTo>
                <a:lnTo>
                  <a:pt x="210" y="246"/>
                </a:lnTo>
                <a:lnTo>
                  <a:pt x="222" y="234"/>
                </a:lnTo>
                <a:lnTo>
                  <a:pt x="228" y="234"/>
                </a:lnTo>
                <a:lnTo>
                  <a:pt x="234" y="228"/>
                </a:lnTo>
                <a:lnTo>
                  <a:pt x="234" y="204"/>
                </a:lnTo>
                <a:lnTo>
                  <a:pt x="240" y="198"/>
                </a:lnTo>
                <a:lnTo>
                  <a:pt x="258" y="198"/>
                </a:lnTo>
                <a:lnTo>
                  <a:pt x="276" y="216"/>
                </a:lnTo>
                <a:lnTo>
                  <a:pt x="276" y="246"/>
                </a:lnTo>
                <a:lnTo>
                  <a:pt x="294" y="246"/>
                </a:lnTo>
                <a:lnTo>
                  <a:pt x="306" y="312"/>
                </a:lnTo>
                <a:lnTo>
                  <a:pt x="306" y="318"/>
                </a:lnTo>
                <a:lnTo>
                  <a:pt x="336" y="348"/>
                </a:lnTo>
                <a:lnTo>
                  <a:pt x="342" y="348"/>
                </a:lnTo>
                <a:lnTo>
                  <a:pt x="348" y="342"/>
                </a:lnTo>
                <a:lnTo>
                  <a:pt x="360" y="336"/>
                </a:lnTo>
                <a:lnTo>
                  <a:pt x="366" y="324"/>
                </a:lnTo>
                <a:lnTo>
                  <a:pt x="372" y="318"/>
                </a:lnTo>
                <a:lnTo>
                  <a:pt x="390" y="318"/>
                </a:lnTo>
                <a:lnTo>
                  <a:pt x="396" y="312"/>
                </a:lnTo>
                <a:lnTo>
                  <a:pt x="402" y="300"/>
                </a:lnTo>
                <a:lnTo>
                  <a:pt x="408" y="294"/>
                </a:lnTo>
                <a:lnTo>
                  <a:pt x="432" y="282"/>
                </a:lnTo>
                <a:lnTo>
                  <a:pt x="456" y="282"/>
                </a:lnTo>
                <a:lnTo>
                  <a:pt x="456" y="300"/>
                </a:lnTo>
                <a:lnTo>
                  <a:pt x="492" y="288"/>
                </a:lnTo>
                <a:lnTo>
                  <a:pt x="516" y="288"/>
                </a:lnTo>
                <a:lnTo>
                  <a:pt x="522" y="294"/>
                </a:lnTo>
                <a:lnTo>
                  <a:pt x="546" y="294"/>
                </a:lnTo>
                <a:lnTo>
                  <a:pt x="552" y="288"/>
                </a:lnTo>
                <a:lnTo>
                  <a:pt x="540" y="276"/>
                </a:lnTo>
                <a:lnTo>
                  <a:pt x="534" y="276"/>
                </a:lnTo>
                <a:lnTo>
                  <a:pt x="528" y="27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" name="Taiwan"/>
          <p:cNvSpPr>
            <a:spLocks/>
          </p:cNvSpPr>
          <p:nvPr/>
        </p:nvSpPr>
        <p:spPr bwMode="gray">
          <a:xfrm>
            <a:off x="7379558" y="3439193"/>
            <a:ext cx="47625" cy="107950"/>
          </a:xfrm>
          <a:custGeom>
            <a:avLst/>
            <a:gdLst>
              <a:gd name="T0" fmla="*/ 2147483647 w 120"/>
              <a:gd name="T1" fmla="*/ 2147483647 h 270"/>
              <a:gd name="T2" fmla="*/ 2147483647 w 120"/>
              <a:gd name="T3" fmla="*/ 2147483647 h 270"/>
              <a:gd name="T4" fmla="*/ 2147483647 w 120"/>
              <a:gd name="T5" fmla="*/ 2147483647 h 270"/>
              <a:gd name="T6" fmla="*/ 2147483647 w 120"/>
              <a:gd name="T7" fmla="*/ 2147483647 h 270"/>
              <a:gd name="T8" fmla="*/ 2147483647 w 120"/>
              <a:gd name="T9" fmla="*/ 2147483647 h 270"/>
              <a:gd name="T10" fmla="*/ 2147483647 w 120"/>
              <a:gd name="T11" fmla="*/ 2147483647 h 270"/>
              <a:gd name="T12" fmla="*/ 2147483647 w 120"/>
              <a:gd name="T13" fmla="*/ 2147483647 h 270"/>
              <a:gd name="T14" fmla="*/ 2147483647 w 120"/>
              <a:gd name="T15" fmla="*/ 2147483647 h 270"/>
              <a:gd name="T16" fmla="*/ 2147483647 w 120"/>
              <a:gd name="T17" fmla="*/ 2147483647 h 270"/>
              <a:gd name="T18" fmla="*/ 2147483647 w 120"/>
              <a:gd name="T19" fmla="*/ 2147483647 h 270"/>
              <a:gd name="T20" fmla="*/ 2147483647 w 120"/>
              <a:gd name="T21" fmla="*/ 0 h 270"/>
              <a:gd name="T22" fmla="*/ 2147483647 w 120"/>
              <a:gd name="T23" fmla="*/ 2147483647 h 270"/>
              <a:gd name="T24" fmla="*/ 2147483647 w 120"/>
              <a:gd name="T25" fmla="*/ 2147483647 h 270"/>
              <a:gd name="T26" fmla="*/ 2147483647 w 120"/>
              <a:gd name="T27" fmla="*/ 2147483647 h 270"/>
              <a:gd name="T28" fmla="*/ 2147483647 w 120"/>
              <a:gd name="T29" fmla="*/ 2147483647 h 270"/>
              <a:gd name="T30" fmla="*/ 0 w 120"/>
              <a:gd name="T31" fmla="*/ 2147483647 h 270"/>
              <a:gd name="T32" fmla="*/ 0 w 120"/>
              <a:gd name="T33" fmla="*/ 2147483647 h 270"/>
              <a:gd name="T34" fmla="*/ 2147483647 w 120"/>
              <a:gd name="T35" fmla="*/ 2147483647 h 270"/>
              <a:gd name="T36" fmla="*/ 2147483647 w 120"/>
              <a:gd name="T37" fmla="*/ 2147483647 h 270"/>
              <a:gd name="T38" fmla="*/ 2147483647 w 120"/>
              <a:gd name="T39" fmla="*/ 2147483647 h 270"/>
              <a:gd name="T40" fmla="*/ 2147483647 w 120"/>
              <a:gd name="T41" fmla="*/ 2147483647 h 270"/>
              <a:gd name="T42" fmla="*/ 2147483647 w 120"/>
              <a:gd name="T43" fmla="*/ 2147483647 h 270"/>
              <a:gd name="T44" fmla="*/ 2147483647 w 120"/>
              <a:gd name="T45" fmla="*/ 2147483647 h 270"/>
              <a:gd name="T46" fmla="*/ 2147483647 w 120"/>
              <a:gd name="T47" fmla="*/ 2147483647 h 270"/>
              <a:gd name="T48" fmla="*/ 2147483647 w 120"/>
              <a:gd name="T49" fmla="*/ 2147483647 h 270"/>
              <a:gd name="T50" fmla="*/ 2147483647 w 120"/>
              <a:gd name="T51" fmla="*/ 2147483647 h 27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0"/>
              <a:gd name="T79" fmla="*/ 0 h 270"/>
              <a:gd name="T80" fmla="*/ 120 w 120"/>
              <a:gd name="T81" fmla="*/ 270 h 27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0" h="270">
                <a:moveTo>
                  <a:pt x="84" y="270"/>
                </a:moveTo>
                <a:lnTo>
                  <a:pt x="84" y="222"/>
                </a:lnTo>
                <a:lnTo>
                  <a:pt x="90" y="216"/>
                </a:lnTo>
                <a:lnTo>
                  <a:pt x="102" y="192"/>
                </a:lnTo>
                <a:lnTo>
                  <a:pt x="102" y="102"/>
                </a:lnTo>
                <a:lnTo>
                  <a:pt x="108" y="96"/>
                </a:lnTo>
                <a:lnTo>
                  <a:pt x="114" y="84"/>
                </a:lnTo>
                <a:lnTo>
                  <a:pt x="114" y="54"/>
                </a:lnTo>
                <a:lnTo>
                  <a:pt x="120" y="36"/>
                </a:lnTo>
                <a:lnTo>
                  <a:pt x="120" y="24"/>
                </a:lnTo>
                <a:lnTo>
                  <a:pt x="72" y="0"/>
                </a:lnTo>
                <a:lnTo>
                  <a:pt x="48" y="30"/>
                </a:lnTo>
                <a:lnTo>
                  <a:pt x="42" y="42"/>
                </a:lnTo>
                <a:lnTo>
                  <a:pt x="30" y="78"/>
                </a:lnTo>
                <a:lnTo>
                  <a:pt x="12" y="114"/>
                </a:lnTo>
                <a:lnTo>
                  <a:pt x="0" y="150"/>
                </a:lnTo>
                <a:lnTo>
                  <a:pt x="0" y="168"/>
                </a:lnTo>
                <a:lnTo>
                  <a:pt x="6" y="180"/>
                </a:lnTo>
                <a:lnTo>
                  <a:pt x="18" y="192"/>
                </a:lnTo>
                <a:lnTo>
                  <a:pt x="24" y="204"/>
                </a:lnTo>
                <a:lnTo>
                  <a:pt x="36" y="210"/>
                </a:lnTo>
                <a:lnTo>
                  <a:pt x="42" y="222"/>
                </a:lnTo>
                <a:lnTo>
                  <a:pt x="42" y="228"/>
                </a:lnTo>
                <a:lnTo>
                  <a:pt x="48" y="234"/>
                </a:lnTo>
                <a:lnTo>
                  <a:pt x="60" y="258"/>
                </a:lnTo>
                <a:lnTo>
                  <a:pt x="84" y="27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" name="Syria"/>
          <p:cNvSpPr>
            <a:spLocks/>
          </p:cNvSpPr>
          <p:nvPr/>
        </p:nvSpPr>
        <p:spPr bwMode="gray">
          <a:xfrm>
            <a:off x="4991958" y="3047080"/>
            <a:ext cx="180975" cy="166688"/>
          </a:xfrm>
          <a:custGeom>
            <a:avLst/>
            <a:gdLst>
              <a:gd name="T0" fmla="*/ 2147483647 w 450"/>
              <a:gd name="T1" fmla="*/ 2147483647 h 414"/>
              <a:gd name="T2" fmla="*/ 2147483647 w 450"/>
              <a:gd name="T3" fmla="*/ 2147483647 h 414"/>
              <a:gd name="T4" fmla="*/ 2147483647 w 450"/>
              <a:gd name="T5" fmla="*/ 2147483647 h 414"/>
              <a:gd name="T6" fmla="*/ 2147483647 w 450"/>
              <a:gd name="T7" fmla="*/ 0 h 414"/>
              <a:gd name="T8" fmla="*/ 2147483647 w 450"/>
              <a:gd name="T9" fmla="*/ 2147483647 h 414"/>
              <a:gd name="T10" fmla="*/ 2147483647 w 450"/>
              <a:gd name="T11" fmla="*/ 2147483647 h 414"/>
              <a:gd name="T12" fmla="*/ 2147483647 w 450"/>
              <a:gd name="T13" fmla="*/ 2147483647 h 414"/>
              <a:gd name="T14" fmla="*/ 2147483647 w 450"/>
              <a:gd name="T15" fmla="*/ 2147483647 h 414"/>
              <a:gd name="T16" fmla="*/ 2147483647 w 450"/>
              <a:gd name="T17" fmla="*/ 2147483647 h 414"/>
              <a:gd name="T18" fmla="*/ 2147483647 w 450"/>
              <a:gd name="T19" fmla="*/ 2147483647 h 414"/>
              <a:gd name="T20" fmla="*/ 2147483647 w 450"/>
              <a:gd name="T21" fmla="*/ 2147483647 h 414"/>
              <a:gd name="T22" fmla="*/ 2147483647 w 450"/>
              <a:gd name="T23" fmla="*/ 2147483647 h 414"/>
              <a:gd name="T24" fmla="*/ 2147483647 w 450"/>
              <a:gd name="T25" fmla="*/ 2147483647 h 414"/>
              <a:gd name="T26" fmla="*/ 2147483647 w 450"/>
              <a:gd name="T27" fmla="*/ 2147483647 h 414"/>
              <a:gd name="T28" fmla="*/ 2147483647 w 450"/>
              <a:gd name="T29" fmla="*/ 2147483647 h 414"/>
              <a:gd name="T30" fmla="*/ 2147483647 w 450"/>
              <a:gd name="T31" fmla="*/ 2147483647 h 414"/>
              <a:gd name="T32" fmla="*/ 2147483647 w 450"/>
              <a:gd name="T33" fmla="*/ 2147483647 h 414"/>
              <a:gd name="T34" fmla="*/ 2147483647 w 450"/>
              <a:gd name="T35" fmla="*/ 2147483647 h 414"/>
              <a:gd name="T36" fmla="*/ 2147483647 w 450"/>
              <a:gd name="T37" fmla="*/ 2147483647 h 414"/>
              <a:gd name="T38" fmla="*/ 2147483647 w 450"/>
              <a:gd name="T39" fmla="*/ 2147483647 h 414"/>
              <a:gd name="T40" fmla="*/ 2147483647 w 450"/>
              <a:gd name="T41" fmla="*/ 2147483647 h 414"/>
              <a:gd name="T42" fmla="*/ 2147483647 w 450"/>
              <a:gd name="T43" fmla="*/ 2147483647 h 414"/>
              <a:gd name="T44" fmla="*/ 2147483647 w 450"/>
              <a:gd name="T45" fmla="*/ 2147483647 h 414"/>
              <a:gd name="T46" fmla="*/ 2147483647 w 450"/>
              <a:gd name="T47" fmla="*/ 2147483647 h 414"/>
              <a:gd name="T48" fmla="*/ 2147483647 w 450"/>
              <a:gd name="T49" fmla="*/ 2147483647 h 414"/>
              <a:gd name="T50" fmla="*/ 2147483647 w 450"/>
              <a:gd name="T51" fmla="*/ 2147483647 h 414"/>
              <a:gd name="T52" fmla="*/ 2147483647 w 450"/>
              <a:gd name="T53" fmla="*/ 2147483647 h 414"/>
              <a:gd name="T54" fmla="*/ 2147483647 w 450"/>
              <a:gd name="T55" fmla="*/ 2147483647 h 414"/>
              <a:gd name="T56" fmla="*/ 2147483647 w 450"/>
              <a:gd name="T57" fmla="*/ 2147483647 h 414"/>
              <a:gd name="T58" fmla="*/ 2147483647 w 450"/>
              <a:gd name="T59" fmla="*/ 2147483647 h 414"/>
              <a:gd name="T60" fmla="*/ 2147483647 w 450"/>
              <a:gd name="T61" fmla="*/ 2147483647 h 414"/>
              <a:gd name="T62" fmla="*/ 2147483647 w 450"/>
              <a:gd name="T63" fmla="*/ 2147483647 h 414"/>
              <a:gd name="T64" fmla="*/ 2147483647 w 450"/>
              <a:gd name="T65" fmla="*/ 2147483647 h 414"/>
              <a:gd name="T66" fmla="*/ 2147483647 w 450"/>
              <a:gd name="T67" fmla="*/ 2147483647 h 414"/>
              <a:gd name="T68" fmla="*/ 2147483647 w 450"/>
              <a:gd name="T69" fmla="*/ 2147483647 h 414"/>
              <a:gd name="T70" fmla="*/ 2147483647 w 450"/>
              <a:gd name="T71" fmla="*/ 2147483647 h 414"/>
              <a:gd name="T72" fmla="*/ 2147483647 w 450"/>
              <a:gd name="T73" fmla="*/ 2147483647 h 414"/>
              <a:gd name="T74" fmla="*/ 2147483647 w 450"/>
              <a:gd name="T75" fmla="*/ 2147483647 h 414"/>
              <a:gd name="T76" fmla="*/ 2147483647 w 450"/>
              <a:gd name="T77" fmla="*/ 2147483647 h 414"/>
              <a:gd name="T78" fmla="*/ 2147483647 w 450"/>
              <a:gd name="T79" fmla="*/ 2147483647 h 414"/>
              <a:gd name="T80" fmla="*/ 2147483647 w 450"/>
              <a:gd name="T81" fmla="*/ 2147483647 h 414"/>
              <a:gd name="T82" fmla="*/ 2147483647 w 450"/>
              <a:gd name="T83" fmla="*/ 2147483647 h 414"/>
              <a:gd name="T84" fmla="*/ 2147483647 w 450"/>
              <a:gd name="T85" fmla="*/ 2147483647 h 414"/>
              <a:gd name="T86" fmla="*/ 2147483647 w 450"/>
              <a:gd name="T87" fmla="*/ 2147483647 h 414"/>
              <a:gd name="T88" fmla="*/ 2147483647 w 450"/>
              <a:gd name="T89" fmla="*/ 2147483647 h 414"/>
              <a:gd name="T90" fmla="*/ 2147483647 w 450"/>
              <a:gd name="T91" fmla="*/ 2147483647 h 414"/>
              <a:gd name="T92" fmla="*/ 2147483647 w 450"/>
              <a:gd name="T93" fmla="*/ 2147483647 h 414"/>
              <a:gd name="T94" fmla="*/ 2147483647 w 450"/>
              <a:gd name="T95" fmla="*/ 2147483647 h 414"/>
              <a:gd name="T96" fmla="*/ 2147483647 w 450"/>
              <a:gd name="T97" fmla="*/ 2147483647 h 41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50"/>
              <a:gd name="T148" fmla="*/ 0 h 414"/>
              <a:gd name="T149" fmla="*/ 450 w 450"/>
              <a:gd name="T150" fmla="*/ 414 h 41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50" h="414">
                <a:moveTo>
                  <a:pt x="426" y="60"/>
                </a:moveTo>
                <a:lnTo>
                  <a:pt x="432" y="54"/>
                </a:lnTo>
                <a:lnTo>
                  <a:pt x="438" y="42"/>
                </a:lnTo>
                <a:lnTo>
                  <a:pt x="450" y="30"/>
                </a:lnTo>
                <a:lnTo>
                  <a:pt x="444" y="30"/>
                </a:lnTo>
                <a:lnTo>
                  <a:pt x="438" y="24"/>
                </a:lnTo>
                <a:lnTo>
                  <a:pt x="438" y="0"/>
                </a:lnTo>
                <a:lnTo>
                  <a:pt x="432" y="0"/>
                </a:lnTo>
                <a:lnTo>
                  <a:pt x="432" y="6"/>
                </a:lnTo>
                <a:lnTo>
                  <a:pt x="426" y="18"/>
                </a:lnTo>
                <a:lnTo>
                  <a:pt x="402" y="18"/>
                </a:lnTo>
                <a:lnTo>
                  <a:pt x="390" y="30"/>
                </a:lnTo>
                <a:lnTo>
                  <a:pt x="372" y="30"/>
                </a:lnTo>
                <a:lnTo>
                  <a:pt x="366" y="24"/>
                </a:lnTo>
                <a:lnTo>
                  <a:pt x="318" y="24"/>
                </a:lnTo>
                <a:lnTo>
                  <a:pt x="306" y="30"/>
                </a:lnTo>
                <a:lnTo>
                  <a:pt x="294" y="42"/>
                </a:lnTo>
                <a:lnTo>
                  <a:pt x="282" y="48"/>
                </a:lnTo>
                <a:lnTo>
                  <a:pt x="276" y="54"/>
                </a:lnTo>
                <a:lnTo>
                  <a:pt x="258" y="54"/>
                </a:lnTo>
                <a:lnTo>
                  <a:pt x="246" y="60"/>
                </a:lnTo>
                <a:lnTo>
                  <a:pt x="234" y="60"/>
                </a:lnTo>
                <a:lnTo>
                  <a:pt x="222" y="54"/>
                </a:lnTo>
                <a:lnTo>
                  <a:pt x="204" y="54"/>
                </a:lnTo>
                <a:lnTo>
                  <a:pt x="192" y="42"/>
                </a:lnTo>
                <a:lnTo>
                  <a:pt x="180" y="36"/>
                </a:lnTo>
                <a:lnTo>
                  <a:pt x="174" y="30"/>
                </a:lnTo>
                <a:lnTo>
                  <a:pt x="168" y="30"/>
                </a:lnTo>
                <a:lnTo>
                  <a:pt x="150" y="48"/>
                </a:lnTo>
                <a:lnTo>
                  <a:pt x="144" y="48"/>
                </a:lnTo>
                <a:lnTo>
                  <a:pt x="138" y="54"/>
                </a:lnTo>
                <a:lnTo>
                  <a:pt x="120" y="60"/>
                </a:lnTo>
                <a:lnTo>
                  <a:pt x="84" y="60"/>
                </a:lnTo>
                <a:lnTo>
                  <a:pt x="84" y="54"/>
                </a:lnTo>
                <a:lnTo>
                  <a:pt x="90" y="48"/>
                </a:lnTo>
                <a:lnTo>
                  <a:pt x="66" y="48"/>
                </a:lnTo>
                <a:lnTo>
                  <a:pt x="66" y="78"/>
                </a:lnTo>
                <a:lnTo>
                  <a:pt x="72" y="78"/>
                </a:lnTo>
                <a:lnTo>
                  <a:pt x="72" y="102"/>
                </a:lnTo>
                <a:lnTo>
                  <a:pt x="60" y="102"/>
                </a:lnTo>
                <a:lnTo>
                  <a:pt x="54" y="96"/>
                </a:lnTo>
                <a:lnTo>
                  <a:pt x="54" y="114"/>
                </a:lnTo>
                <a:lnTo>
                  <a:pt x="48" y="120"/>
                </a:lnTo>
                <a:lnTo>
                  <a:pt x="48" y="126"/>
                </a:lnTo>
                <a:lnTo>
                  <a:pt x="36" y="126"/>
                </a:lnTo>
                <a:lnTo>
                  <a:pt x="24" y="114"/>
                </a:lnTo>
                <a:lnTo>
                  <a:pt x="18" y="120"/>
                </a:lnTo>
                <a:lnTo>
                  <a:pt x="12" y="132"/>
                </a:lnTo>
                <a:lnTo>
                  <a:pt x="12" y="150"/>
                </a:lnTo>
                <a:lnTo>
                  <a:pt x="6" y="150"/>
                </a:lnTo>
                <a:lnTo>
                  <a:pt x="0" y="198"/>
                </a:lnTo>
                <a:lnTo>
                  <a:pt x="6" y="204"/>
                </a:lnTo>
                <a:lnTo>
                  <a:pt x="18" y="210"/>
                </a:lnTo>
                <a:lnTo>
                  <a:pt x="24" y="216"/>
                </a:lnTo>
                <a:lnTo>
                  <a:pt x="24" y="222"/>
                </a:lnTo>
                <a:lnTo>
                  <a:pt x="72" y="222"/>
                </a:lnTo>
                <a:lnTo>
                  <a:pt x="66" y="234"/>
                </a:lnTo>
                <a:lnTo>
                  <a:pt x="72" y="240"/>
                </a:lnTo>
                <a:lnTo>
                  <a:pt x="78" y="252"/>
                </a:lnTo>
                <a:lnTo>
                  <a:pt x="78" y="270"/>
                </a:lnTo>
                <a:lnTo>
                  <a:pt x="72" y="282"/>
                </a:lnTo>
                <a:lnTo>
                  <a:pt x="66" y="282"/>
                </a:lnTo>
                <a:lnTo>
                  <a:pt x="54" y="288"/>
                </a:lnTo>
                <a:lnTo>
                  <a:pt x="48" y="288"/>
                </a:lnTo>
                <a:lnTo>
                  <a:pt x="42" y="294"/>
                </a:lnTo>
                <a:lnTo>
                  <a:pt x="42" y="318"/>
                </a:lnTo>
                <a:lnTo>
                  <a:pt x="24" y="336"/>
                </a:lnTo>
                <a:lnTo>
                  <a:pt x="30" y="378"/>
                </a:lnTo>
                <a:lnTo>
                  <a:pt x="36" y="378"/>
                </a:lnTo>
                <a:lnTo>
                  <a:pt x="72" y="396"/>
                </a:lnTo>
                <a:lnTo>
                  <a:pt x="84" y="408"/>
                </a:lnTo>
                <a:lnTo>
                  <a:pt x="96" y="414"/>
                </a:lnTo>
                <a:lnTo>
                  <a:pt x="114" y="414"/>
                </a:lnTo>
                <a:lnTo>
                  <a:pt x="174" y="384"/>
                </a:lnTo>
                <a:lnTo>
                  <a:pt x="204" y="354"/>
                </a:lnTo>
                <a:lnTo>
                  <a:pt x="228" y="336"/>
                </a:lnTo>
                <a:lnTo>
                  <a:pt x="240" y="324"/>
                </a:lnTo>
                <a:lnTo>
                  <a:pt x="300" y="276"/>
                </a:lnTo>
                <a:lnTo>
                  <a:pt x="312" y="270"/>
                </a:lnTo>
                <a:lnTo>
                  <a:pt x="372" y="246"/>
                </a:lnTo>
                <a:lnTo>
                  <a:pt x="396" y="234"/>
                </a:lnTo>
                <a:lnTo>
                  <a:pt x="402" y="228"/>
                </a:lnTo>
                <a:lnTo>
                  <a:pt x="402" y="222"/>
                </a:lnTo>
                <a:lnTo>
                  <a:pt x="384" y="204"/>
                </a:lnTo>
                <a:lnTo>
                  <a:pt x="384" y="198"/>
                </a:lnTo>
                <a:lnTo>
                  <a:pt x="390" y="180"/>
                </a:lnTo>
                <a:lnTo>
                  <a:pt x="396" y="168"/>
                </a:lnTo>
                <a:lnTo>
                  <a:pt x="396" y="138"/>
                </a:lnTo>
                <a:lnTo>
                  <a:pt x="390" y="126"/>
                </a:lnTo>
                <a:lnTo>
                  <a:pt x="390" y="114"/>
                </a:lnTo>
                <a:lnTo>
                  <a:pt x="384" y="108"/>
                </a:lnTo>
                <a:lnTo>
                  <a:pt x="378" y="96"/>
                </a:lnTo>
                <a:lnTo>
                  <a:pt x="378" y="84"/>
                </a:lnTo>
                <a:lnTo>
                  <a:pt x="384" y="72"/>
                </a:lnTo>
                <a:lnTo>
                  <a:pt x="390" y="66"/>
                </a:lnTo>
                <a:lnTo>
                  <a:pt x="402" y="66"/>
                </a:lnTo>
                <a:lnTo>
                  <a:pt x="414" y="60"/>
                </a:lnTo>
                <a:lnTo>
                  <a:pt x="426" y="6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9" name="Swaziland"/>
          <p:cNvSpPr>
            <a:spLocks/>
          </p:cNvSpPr>
          <p:nvPr/>
        </p:nvSpPr>
        <p:spPr bwMode="gray">
          <a:xfrm>
            <a:off x="4882421" y="5093368"/>
            <a:ext cx="41275" cy="53975"/>
          </a:xfrm>
          <a:custGeom>
            <a:avLst/>
            <a:gdLst>
              <a:gd name="T0" fmla="*/ 2147483647 w 102"/>
              <a:gd name="T1" fmla="*/ 2147483647 h 132"/>
              <a:gd name="T2" fmla="*/ 2147483647 w 102"/>
              <a:gd name="T3" fmla="*/ 2147483647 h 132"/>
              <a:gd name="T4" fmla="*/ 2147483647 w 102"/>
              <a:gd name="T5" fmla="*/ 2147483647 h 132"/>
              <a:gd name="T6" fmla="*/ 2147483647 w 102"/>
              <a:gd name="T7" fmla="*/ 2147483647 h 132"/>
              <a:gd name="T8" fmla="*/ 2147483647 w 102"/>
              <a:gd name="T9" fmla="*/ 2147483647 h 132"/>
              <a:gd name="T10" fmla="*/ 2147483647 w 102"/>
              <a:gd name="T11" fmla="*/ 0 h 132"/>
              <a:gd name="T12" fmla="*/ 2147483647 w 102"/>
              <a:gd name="T13" fmla="*/ 0 h 132"/>
              <a:gd name="T14" fmla="*/ 2147483647 w 102"/>
              <a:gd name="T15" fmla="*/ 2147483647 h 132"/>
              <a:gd name="T16" fmla="*/ 2147483647 w 102"/>
              <a:gd name="T17" fmla="*/ 2147483647 h 132"/>
              <a:gd name="T18" fmla="*/ 2147483647 w 102"/>
              <a:gd name="T19" fmla="*/ 2147483647 h 132"/>
              <a:gd name="T20" fmla="*/ 2147483647 w 102"/>
              <a:gd name="T21" fmla="*/ 2147483647 h 132"/>
              <a:gd name="T22" fmla="*/ 0 w 102"/>
              <a:gd name="T23" fmla="*/ 2147483647 h 132"/>
              <a:gd name="T24" fmla="*/ 0 w 102"/>
              <a:gd name="T25" fmla="*/ 2147483647 h 132"/>
              <a:gd name="T26" fmla="*/ 2147483647 w 102"/>
              <a:gd name="T27" fmla="*/ 2147483647 h 132"/>
              <a:gd name="T28" fmla="*/ 2147483647 w 102"/>
              <a:gd name="T29" fmla="*/ 2147483647 h 132"/>
              <a:gd name="T30" fmla="*/ 2147483647 w 102"/>
              <a:gd name="T31" fmla="*/ 2147483647 h 132"/>
              <a:gd name="T32" fmla="*/ 2147483647 w 102"/>
              <a:gd name="T33" fmla="*/ 2147483647 h 132"/>
              <a:gd name="T34" fmla="*/ 2147483647 w 102"/>
              <a:gd name="T35" fmla="*/ 2147483647 h 132"/>
              <a:gd name="T36" fmla="*/ 2147483647 w 102"/>
              <a:gd name="T37" fmla="*/ 2147483647 h 132"/>
              <a:gd name="T38" fmla="*/ 2147483647 w 102"/>
              <a:gd name="T39" fmla="*/ 2147483647 h 132"/>
              <a:gd name="T40" fmla="*/ 2147483647 w 102"/>
              <a:gd name="T41" fmla="*/ 2147483647 h 132"/>
              <a:gd name="T42" fmla="*/ 2147483647 w 102"/>
              <a:gd name="T43" fmla="*/ 2147483647 h 132"/>
              <a:gd name="T44" fmla="*/ 2147483647 w 102"/>
              <a:gd name="T45" fmla="*/ 2147483647 h 132"/>
              <a:gd name="T46" fmla="*/ 2147483647 w 102"/>
              <a:gd name="T47" fmla="*/ 2147483647 h 132"/>
              <a:gd name="T48" fmla="*/ 2147483647 w 102"/>
              <a:gd name="T49" fmla="*/ 2147483647 h 1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02"/>
              <a:gd name="T76" fmla="*/ 0 h 132"/>
              <a:gd name="T77" fmla="*/ 102 w 102"/>
              <a:gd name="T78" fmla="*/ 132 h 13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02" h="132">
                <a:moveTo>
                  <a:pt x="84" y="54"/>
                </a:moveTo>
                <a:lnTo>
                  <a:pt x="84" y="30"/>
                </a:lnTo>
                <a:lnTo>
                  <a:pt x="90" y="18"/>
                </a:lnTo>
                <a:lnTo>
                  <a:pt x="66" y="18"/>
                </a:lnTo>
                <a:lnTo>
                  <a:pt x="54" y="6"/>
                </a:lnTo>
                <a:lnTo>
                  <a:pt x="42" y="0"/>
                </a:lnTo>
                <a:lnTo>
                  <a:pt x="36" y="0"/>
                </a:lnTo>
                <a:lnTo>
                  <a:pt x="24" y="12"/>
                </a:lnTo>
                <a:lnTo>
                  <a:pt x="18" y="24"/>
                </a:lnTo>
                <a:lnTo>
                  <a:pt x="18" y="36"/>
                </a:lnTo>
                <a:lnTo>
                  <a:pt x="6" y="48"/>
                </a:lnTo>
                <a:lnTo>
                  <a:pt x="0" y="60"/>
                </a:lnTo>
                <a:lnTo>
                  <a:pt x="0" y="84"/>
                </a:lnTo>
                <a:lnTo>
                  <a:pt x="12" y="108"/>
                </a:lnTo>
                <a:lnTo>
                  <a:pt x="24" y="114"/>
                </a:lnTo>
                <a:lnTo>
                  <a:pt x="36" y="126"/>
                </a:lnTo>
                <a:lnTo>
                  <a:pt x="54" y="126"/>
                </a:lnTo>
                <a:lnTo>
                  <a:pt x="66" y="132"/>
                </a:lnTo>
                <a:lnTo>
                  <a:pt x="78" y="132"/>
                </a:lnTo>
                <a:lnTo>
                  <a:pt x="90" y="90"/>
                </a:lnTo>
                <a:lnTo>
                  <a:pt x="96" y="90"/>
                </a:lnTo>
                <a:lnTo>
                  <a:pt x="102" y="84"/>
                </a:lnTo>
                <a:lnTo>
                  <a:pt x="96" y="60"/>
                </a:lnTo>
                <a:lnTo>
                  <a:pt x="90" y="60"/>
                </a:lnTo>
                <a:lnTo>
                  <a:pt x="84" y="5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0" name="Suriname"/>
          <p:cNvSpPr>
            <a:spLocks/>
          </p:cNvSpPr>
          <p:nvPr/>
        </p:nvSpPr>
        <p:spPr bwMode="gray">
          <a:xfrm>
            <a:off x="2353533" y="4066255"/>
            <a:ext cx="117475" cy="134938"/>
          </a:xfrm>
          <a:custGeom>
            <a:avLst/>
            <a:gdLst>
              <a:gd name="T0" fmla="*/ 2147483647 w 294"/>
              <a:gd name="T1" fmla="*/ 2147483647 h 336"/>
              <a:gd name="T2" fmla="*/ 2147483647 w 294"/>
              <a:gd name="T3" fmla="*/ 2147483647 h 336"/>
              <a:gd name="T4" fmla="*/ 2147483647 w 294"/>
              <a:gd name="T5" fmla="*/ 2147483647 h 336"/>
              <a:gd name="T6" fmla="*/ 0 w 294"/>
              <a:gd name="T7" fmla="*/ 2147483647 h 336"/>
              <a:gd name="T8" fmla="*/ 2147483647 w 294"/>
              <a:gd name="T9" fmla="*/ 2147483647 h 336"/>
              <a:gd name="T10" fmla="*/ 2147483647 w 294"/>
              <a:gd name="T11" fmla="*/ 2147483647 h 336"/>
              <a:gd name="T12" fmla="*/ 2147483647 w 294"/>
              <a:gd name="T13" fmla="*/ 2147483647 h 336"/>
              <a:gd name="T14" fmla="*/ 2147483647 w 294"/>
              <a:gd name="T15" fmla="*/ 2147483647 h 336"/>
              <a:gd name="T16" fmla="*/ 2147483647 w 294"/>
              <a:gd name="T17" fmla="*/ 2147483647 h 336"/>
              <a:gd name="T18" fmla="*/ 2147483647 w 294"/>
              <a:gd name="T19" fmla="*/ 2147483647 h 336"/>
              <a:gd name="T20" fmla="*/ 2147483647 w 294"/>
              <a:gd name="T21" fmla="*/ 2147483647 h 336"/>
              <a:gd name="T22" fmla="*/ 2147483647 w 294"/>
              <a:gd name="T23" fmla="*/ 2147483647 h 336"/>
              <a:gd name="T24" fmla="*/ 2147483647 w 294"/>
              <a:gd name="T25" fmla="*/ 2147483647 h 336"/>
              <a:gd name="T26" fmla="*/ 2147483647 w 294"/>
              <a:gd name="T27" fmla="*/ 2147483647 h 336"/>
              <a:gd name="T28" fmla="*/ 2147483647 w 294"/>
              <a:gd name="T29" fmla="*/ 2147483647 h 336"/>
              <a:gd name="T30" fmla="*/ 2147483647 w 294"/>
              <a:gd name="T31" fmla="*/ 2147483647 h 336"/>
              <a:gd name="T32" fmla="*/ 2147483647 w 294"/>
              <a:gd name="T33" fmla="*/ 2147483647 h 336"/>
              <a:gd name="T34" fmla="*/ 2147483647 w 294"/>
              <a:gd name="T35" fmla="*/ 2147483647 h 336"/>
              <a:gd name="T36" fmla="*/ 2147483647 w 294"/>
              <a:gd name="T37" fmla="*/ 2147483647 h 336"/>
              <a:gd name="T38" fmla="*/ 2147483647 w 294"/>
              <a:gd name="T39" fmla="*/ 2147483647 h 336"/>
              <a:gd name="T40" fmla="*/ 2147483647 w 294"/>
              <a:gd name="T41" fmla="*/ 2147483647 h 336"/>
              <a:gd name="T42" fmla="*/ 2147483647 w 294"/>
              <a:gd name="T43" fmla="*/ 2147483647 h 336"/>
              <a:gd name="T44" fmla="*/ 2147483647 w 294"/>
              <a:gd name="T45" fmla="*/ 2147483647 h 336"/>
              <a:gd name="T46" fmla="*/ 2147483647 w 294"/>
              <a:gd name="T47" fmla="*/ 2147483647 h 336"/>
              <a:gd name="T48" fmla="*/ 2147483647 w 294"/>
              <a:gd name="T49" fmla="*/ 2147483647 h 336"/>
              <a:gd name="T50" fmla="*/ 2147483647 w 294"/>
              <a:gd name="T51" fmla="*/ 2147483647 h 336"/>
              <a:gd name="T52" fmla="*/ 2147483647 w 294"/>
              <a:gd name="T53" fmla="*/ 2147483647 h 336"/>
              <a:gd name="T54" fmla="*/ 2147483647 w 294"/>
              <a:gd name="T55" fmla="*/ 2147483647 h 336"/>
              <a:gd name="T56" fmla="*/ 2147483647 w 294"/>
              <a:gd name="T57" fmla="*/ 2147483647 h 336"/>
              <a:gd name="T58" fmla="*/ 2147483647 w 294"/>
              <a:gd name="T59" fmla="*/ 2147483647 h 336"/>
              <a:gd name="T60" fmla="*/ 2147483647 w 294"/>
              <a:gd name="T61" fmla="*/ 2147483647 h 336"/>
              <a:gd name="T62" fmla="*/ 2147483647 w 294"/>
              <a:gd name="T63" fmla="*/ 2147483647 h 336"/>
              <a:gd name="T64" fmla="*/ 2147483647 w 294"/>
              <a:gd name="T65" fmla="*/ 2147483647 h 336"/>
              <a:gd name="T66" fmla="*/ 2147483647 w 294"/>
              <a:gd name="T67" fmla="*/ 2147483647 h 336"/>
              <a:gd name="T68" fmla="*/ 2147483647 w 294"/>
              <a:gd name="T69" fmla="*/ 2147483647 h 336"/>
              <a:gd name="T70" fmla="*/ 2147483647 w 294"/>
              <a:gd name="T71" fmla="*/ 0 h 336"/>
              <a:gd name="T72" fmla="*/ 2147483647 w 294"/>
              <a:gd name="T73" fmla="*/ 2147483647 h 336"/>
              <a:gd name="T74" fmla="*/ 2147483647 w 294"/>
              <a:gd name="T75" fmla="*/ 2147483647 h 336"/>
              <a:gd name="T76" fmla="*/ 2147483647 w 294"/>
              <a:gd name="T77" fmla="*/ 2147483647 h 336"/>
              <a:gd name="T78" fmla="*/ 2147483647 w 294"/>
              <a:gd name="T79" fmla="*/ 2147483647 h 336"/>
              <a:gd name="T80" fmla="*/ 2147483647 w 294"/>
              <a:gd name="T81" fmla="*/ 2147483647 h 336"/>
              <a:gd name="T82" fmla="*/ 2147483647 w 294"/>
              <a:gd name="T83" fmla="*/ 2147483647 h 3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94"/>
              <a:gd name="T127" fmla="*/ 0 h 336"/>
              <a:gd name="T128" fmla="*/ 294 w 294"/>
              <a:gd name="T129" fmla="*/ 336 h 3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94" h="336">
                <a:moveTo>
                  <a:pt x="60" y="78"/>
                </a:moveTo>
                <a:lnTo>
                  <a:pt x="30" y="78"/>
                </a:lnTo>
                <a:lnTo>
                  <a:pt x="18" y="84"/>
                </a:lnTo>
                <a:lnTo>
                  <a:pt x="12" y="90"/>
                </a:lnTo>
                <a:lnTo>
                  <a:pt x="12" y="132"/>
                </a:lnTo>
                <a:lnTo>
                  <a:pt x="6" y="138"/>
                </a:lnTo>
                <a:lnTo>
                  <a:pt x="0" y="150"/>
                </a:lnTo>
                <a:lnTo>
                  <a:pt x="0" y="162"/>
                </a:lnTo>
                <a:lnTo>
                  <a:pt x="6" y="168"/>
                </a:lnTo>
                <a:lnTo>
                  <a:pt x="6" y="174"/>
                </a:lnTo>
                <a:lnTo>
                  <a:pt x="12" y="174"/>
                </a:lnTo>
                <a:lnTo>
                  <a:pt x="12" y="186"/>
                </a:lnTo>
                <a:lnTo>
                  <a:pt x="18" y="198"/>
                </a:lnTo>
                <a:lnTo>
                  <a:pt x="24" y="204"/>
                </a:lnTo>
                <a:lnTo>
                  <a:pt x="30" y="216"/>
                </a:lnTo>
                <a:lnTo>
                  <a:pt x="42" y="216"/>
                </a:lnTo>
                <a:lnTo>
                  <a:pt x="42" y="210"/>
                </a:lnTo>
                <a:lnTo>
                  <a:pt x="54" y="198"/>
                </a:lnTo>
                <a:lnTo>
                  <a:pt x="54" y="216"/>
                </a:lnTo>
                <a:lnTo>
                  <a:pt x="48" y="222"/>
                </a:lnTo>
                <a:lnTo>
                  <a:pt x="48" y="246"/>
                </a:lnTo>
                <a:lnTo>
                  <a:pt x="54" y="258"/>
                </a:lnTo>
                <a:lnTo>
                  <a:pt x="72" y="276"/>
                </a:lnTo>
                <a:lnTo>
                  <a:pt x="78" y="294"/>
                </a:lnTo>
                <a:lnTo>
                  <a:pt x="84" y="306"/>
                </a:lnTo>
                <a:lnTo>
                  <a:pt x="90" y="312"/>
                </a:lnTo>
                <a:lnTo>
                  <a:pt x="90" y="318"/>
                </a:lnTo>
                <a:lnTo>
                  <a:pt x="102" y="324"/>
                </a:lnTo>
                <a:lnTo>
                  <a:pt x="108" y="324"/>
                </a:lnTo>
                <a:lnTo>
                  <a:pt x="132" y="336"/>
                </a:lnTo>
                <a:lnTo>
                  <a:pt x="150" y="336"/>
                </a:lnTo>
                <a:lnTo>
                  <a:pt x="156" y="330"/>
                </a:lnTo>
                <a:lnTo>
                  <a:pt x="150" y="324"/>
                </a:lnTo>
                <a:lnTo>
                  <a:pt x="150" y="318"/>
                </a:lnTo>
                <a:lnTo>
                  <a:pt x="138" y="306"/>
                </a:lnTo>
                <a:lnTo>
                  <a:pt x="138" y="282"/>
                </a:lnTo>
                <a:lnTo>
                  <a:pt x="150" y="276"/>
                </a:lnTo>
                <a:lnTo>
                  <a:pt x="156" y="276"/>
                </a:lnTo>
                <a:lnTo>
                  <a:pt x="156" y="288"/>
                </a:lnTo>
                <a:lnTo>
                  <a:pt x="180" y="288"/>
                </a:lnTo>
                <a:lnTo>
                  <a:pt x="192" y="282"/>
                </a:lnTo>
                <a:lnTo>
                  <a:pt x="198" y="276"/>
                </a:lnTo>
                <a:lnTo>
                  <a:pt x="210" y="270"/>
                </a:lnTo>
                <a:lnTo>
                  <a:pt x="216" y="270"/>
                </a:lnTo>
                <a:lnTo>
                  <a:pt x="222" y="282"/>
                </a:lnTo>
                <a:lnTo>
                  <a:pt x="228" y="288"/>
                </a:lnTo>
                <a:lnTo>
                  <a:pt x="246" y="294"/>
                </a:lnTo>
                <a:lnTo>
                  <a:pt x="252" y="282"/>
                </a:lnTo>
                <a:lnTo>
                  <a:pt x="258" y="276"/>
                </a:lnTo>
                <a:lnTo>
                  <a:pt x="258" y="264"/>
                </a:lnTo>
                <a:lnTo>
                  <a:pt x="264" y="264"/>
                </a:lnTo>
                <a:lnTo>
                  <a:pt x="276" y="258"/>
                </a:lnTo>
                <a:lnTo>
                  <a:pt x="270" y="222"/>
                </a:lnTo>
                <a:lnTo>
                  <a:pt x="288" y="204"/>
                </a:lnTo>
                <a:lnTo>
                  <a:pt x="288" y="198"/>
                </a:lnTo>
                <a:lnTo>
                  <a:pt x="282" y="186"/>
                </a:lnTo>
                <a:lnTo>
                  <a:pt x="264" y="168"/>
                </a:lnTo>
                <a:lnTo>
                  <a:pt x="258" y="156"/>
                </a:lnTo>
                <a:lnTo>
                  <a:pt x="258" y="144"/>
                </a:lnTo>
                <a:lnTo>
                  <a:pt x="252" y="126"/>
                </a:lnTo>
                <a:lnTo>
                  <a:pt x="252" y="96"/>
                </a:lnTo>
                <a:lnTo>
                  <a:pt x="258" y="78"/>
                </a:lnTo>
                <a:lnTo>
                  <a:pt x="264" y="66"/>
                </a:lnTo>
                <a:lnTo>
                  <a:pt x="276" y="60"/>
                </a:lnTo>
                <a:lnTo>
                  <a:pt x="282" y="54"/>
                </a:lnTo>
                <a:lnTo>
                  <a:pt x="288" y="54"/>
                </a:lnTo>
                <a:lnTo>
                  <a:pt x="288" y="30"/>
                </a:lnTo>
                <a:lnTo>
                  <a:pt x="294" y="12"/>
                </a:lnTo>
                <a:lnTo>
                  <a:pt x="288" y="12"/>
                </a:lnTo>
                <a:lnTo>
                  <a:pt x="282" y="6"/>
                </a:lnTo>
                <a:lnTo>
                  <a:pt x="270" y="6"/>
                </a:lnTo>
                <a:lnTo>
                  <a:pt x="252" y="0"/>
                </a:lnTo>
                <a:lnTo>
                  <a:pt x="210" y="0"/>
                </a:lnTo>
                <a:lnTo>
                  <a:pt x="204" y="12"/>
                </a:lnTo>
                <a:lnTo>
                  <a:pt x="156" y="6"/>
                </a:lnTo>
                <a:lnTo>
                  <a:pt x="156" y="18"/>
                </a:lnTo>
                <a:lnTo>
                  <a:pt x="96" y="0"/>
                </a:lnTo>
                <a:lnTo>
                  <a:pt x="72" y="6"/>
                </a:lnTo>
                <a:lnTo>
                  <a:pt x="66" y="18"/>
                </a:lnTo>
                <a:lnTo>
                  <a:pt x="60" y="24"/>
                </a:lnTo>
                <a:lnTo>
                  <a:pt x="54" y="36"/>
                </a:lnTo>
                <a:lnTo>
                  <a:pt x="54" y="48"/>
                </a:lnTo>
                <a:lnTo>
                  <a:pt x="66" y="60"/>
                </a:lnTo>
                <a:lnTo>
                  <a:pt x="66" y="72"/>
                </a:lnTo>
                <a:lnTo>
                  <a:pt x="60" y="7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1" name="Sudan"/>
          <p:cNvSpPr>
            <a:spLocks/>
          </p:cNvSpPr>
          <p:nvPr/>
        </p:nvSpPr>
        <p:spPr bwMode="gray">
          <a:xfrm>
            <a:off x="4641121" y="3510630"/>
            <a:ext cx="468312" cy="638175"/>
          </a:xfrm>
          <a:custGeom>
            <a:avLst/>
            <a:gdLst>
              <a:gd name="T0" fmla="*/ 2147483647 w 1164"/>
              <a:gd name="T1" fmla="*/ 2147483647 h 1584"/>
              <a:gd name="T2" fmla="*/ 2147483647 w 1164"/>
              <a:gd name="T3" fmla="*/ 2147483647 h 1584"/>
              <a:gd name="T4" fmla="*/ 2147483647 w 1164"/>
              <a:gd name="T5" fmla="*/ 2147483647 h 1584"/>
              <a:gd name="T6" fmla="*/ 2147483647 w 1164"/>
              <a:gd name="T7" fmla="*/ 2147483647 h 1584"/>
              <a:gd name="T8" fmla="*/ 2147483647 w 1164"/>
              <a:gd name="T9" fmla="*/ 2147483647 h 1584"/>
              <a:gd name="T10" fmla="*/ 2147483647 w 1164"/>
              <a:gd name="T11" fmla="*/ 2147483647 h 1584"/>
              <a:gd name="T12" fmla="*/ 2147483647 w 1164"/>
              <a:gd name="T13" fmla="*/ 2147483647 h 1584"/>
              <a:gd name="T14" fmla="*/ 2147483647 w 1164"/>
              <a:gd name="T15" fmla="*/ 2147483647 h 1584"/>
              <a:gd name="T16" fmla="*/ 0 w 1164"/>
              <a:gd name="T17" fmla="*/ 2147483647 h 1584"/>
              <a:gd name="T18" fmla="*/ 2147483647 w 1164"/>
              <a:gd name="T19" fmla="*/ 2147483647 h 1584"/>
              <a:gd name="T20" fmla="*/ 2147483647 w 1164"/>
              <a:gd name="T21" fmla="*/ 2147483647 h 1584"/>
              <a:gd name="T22" fmla="*/ 2147483647 w 1164"/>
              <a:gd name="T23" fmla="*/ 2147483647 h 1584"/>
              <a:gd name="T24" fmla="*/ 2147483647 w 1164"/>
              <a:gd name="T25" fmla="*/ 2147483647 h 1584"/>
              <a:gd name="T26" fmla="*/ 2147483647 w 1164"/>
              <a:gd name="T27" fmla="*/ 2147483647 h 1584"/>
              <a:gd name="T28" fmla="*/ 2147483647 w 1164"/>
              <a:gd name="T29" fmla="*/ 2147483647 h 1584"/>
              <a:gd name="T30" fmla="*/ 2147483647 w 1164"/>
              <a:gd name="T31" fmla="*/ 2147483647 h 1584"/>
              <a:gd name="T32" fmla="*/ 2147483647 w 1164"/>
              <a:gd name="T33" fmla="*/ 2147483647 h 1584"/>
              <a:gd name="T34" fmla="*/ 2147483647 w 1164"/>
              <a:gd name="T35" fmla="*/ 2147483647 h 1584"/>
              <a:gd name="T36" fmla="*/ 2147483647 w 1164"/>
              <a:gd name="T37" fmla="*/ 2147483647 h 1584"/>
              <a:gd name="T38" fmla="*/ 2147483647 w 1164"/>
              <a:gd name="T39" fmla="*/ 2147483647 h 1584"/>
              <a:gd name="T40" fmla="*/ 2147483647 w 1164"/>
              <a:gd name="T41" fmla="*/ 2147483647 h 1584"/>
              <a:gd name="T42" fmla="*/ 2147483647 w 1164"/>
              <a:gd name="T43" fmla="*/ 2147483647 h 1584"/>
              <a:gd name="T44" fmla="*/ 2147483647 w 1164"/>
              <a:gd name="T45" fmla="*/ 2147483647 h 1584"/>
              <a:gd name="T46" fmla="*/ 2147483647 w 1164"/>
              <a:gd name="T47" fmla="*/ 2147483647 h 1584"/>
              <a:gd name="T48" fmla="*/ 2147483647 w 1164"/>
              <a:gd name="T49" fmla="*/ 2147483647 h 1584"/>
              <a:gd name="T50" fmla="*/ 2147483647 w 1164"/>
              <a:gd name="T51" fmla="*/ 2147483647 h 1584"/>
              <a:gd name="T52" fmla="*/ 2147483647 w 1164"/>
              <a:gd name="T53" fmla="*/ 2147483647 h 1584"/>
              <a:gd name="T54" fmla="*/ 2147483647 w 1164"/>
              <a:gd name="T55" fmla="*/ 2147483647 h 1584"/>
              <a:gd name="T56" fmla="*/ 2147483647 w 1164"/>
              <a:gd name="T57" fmla="*/ 2147483647 h 1584"/>
              <a:gd name="T58" fmla="*/ 2147483647 w 1164"/>
              <a:gd name="T59" fmla="*/ 2147483647 h 1584"/>
              <a:gd name="T60" fmla="*/ 2147483647 w 1164"/>
              <a:gd name="T61" fmla="*/ 2147483647 h 1584"/>
              <a:gd name="T62" fmla="*/ 2147483647 w 1164"/>
              <a:gd name="T63" fmla="*/ 2147483647 h 1584"/>
              <a:gd name="T64" fmla="*/ 2147483647 w 1164"/>
              <a:gd name="T65" fmla="*/ 2147483647 h 1584"/>
              <a:gd name="T66" fmla="*/ 2147483647 w 1164"/>
              <a:gd name="T67" fmla="*/ 2147483647 h 1584"/>
              <a:gd name="T68" fmla="*/ 2147483647 w 1164"/>
              <a:gd name="T69" fmla="*/ 2147483647 h 1584"/>
              <a:gd name="T70" fmla="*/ 2147483647 w 1164"/>
              <a:gd name="T71" fmla="*/ 2147483647 h 1584"/>
              <a:gd name="T72" fmla="*/ 2147483647 w 1164"/>
              <a:gd name="T73" fmla="*/ 2147483647 h 1584"/>
              <a:gd name="T74" fmla="*/ 2147483647 w 1164"/>
              <a:gd name="T75" fmla="*/ 2147483647 h 1584"/>
              <a:gd name="T76" fmla="*/ 2147483647 w 1164"/>
              <a:gd name="T77" fmla="*/ 2147483647 h 1584"/>
              <a:gd name="T78" fmla="*/ 2147483647 w 1164"/>
              <a:gd name="T79" fmla="*/ 2147483647 h 1584"/>
              <a:gd name="T80" fmla="*/ 2147483647 w 1164"/>
              <a:gd name="T81" fmla="*/ 2147483647 h 1584"/>
              <a:gd name="T82" fmla="*/ 2147483647 w 1164"/>
              <a:gd name="T83" fmla="*/ 2147483647 h 1584"/>
              <a:gd name="T84" fmla="*/ 2147483647 w 1164"/>
              <a:gd name="T85" fmla="*/ 2147483647 h 1584"/>
              <a:gd name="T86" fmla="*/ 2147483647 w 1164"/>
              <a:gd name="T87" fmla="*/ 2147483647 h 1584"/>
              <a:gd name="T88" fmla="*/ 2147483647 w 1164"/>
              <a:gd name="T89" fmla="*/ 2147483647 h 1584"/>
              <a:gd name="T90" fmla="*/ 2147483647 w 1164"/>
              <a:gd name="T91" fmla="*/ 2147483647 h 1584"/>
              <a:gd name="T92" fmla="*/ 2147483647 w 1164"/>
              <a:gd name="T93" fmla="*/ 2147483647 h 1584"/>
              <a:gd name="T94" fmla="*/ 2147483647 w 1164"/>
              <a:gd name="T95" fmla="*/ 2147483647 h 1584"/>
              <a:gd name="T96" fmla="*/ 2147483647 w 1164"/>
              <a:gd name="T97" fmla="*/ 2147483647 h 1584"/>
              <a:gd name="T98" fmla="*/ 2147483647 w 1164"/>
              <a:gd name="T99" fmla="*/ 2147483647 h 1584"/>
              <a:gd name="T100" fmla="*/ 2147483647 w 1164"/>
              <a:gd name="T101" fmla="*/ 2147483647 h 1584"/>
              <a:gd name="T102" fmla="*/ 2147483647 w 1164"/>
              <a:gd name="T103" fmla="*/ 2147483647 h 1584"/>
              <a:gd name="T104" fmla="*/ 2147483647 w 1164"/>
              <a:gd name="T105" fmla="*/ 2147483647 h 1584"/>
              <a:gd name="T106" fmla="*/ 2147483647 w 1164"/>
              <a:gd name="T107" fmla="*/ 2147483647 h 1584"/>
              <a:gd name="T108" fmla="*/ 2147483647 w 1164"/>
              <a:gd name="T109" fmla="*/ 2147483647 h 1584"/>
              <a:gd name="T110" fmla="*/ 2147483647 w 1164"/>
              <a:gd name="T111" fmla="*/ 2147483647 h 158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64"/>
              <a:gd name="T169" fmla="*/ 0 h 1584"/>
              <a:gd name="T170" fmla="*/ 1164 w 1164"/>
              <a:gd name="T171" fmla="*/ 1584 h 158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64" h="1584">
                <a:moveTo>
                  <a:pt x="894" y="24"/>
                </a:moveTo>
                <a:lnTo>
                  <a:pt x="894" y="48"/>
                </a:lnTo>
                <a:lnTo>
                  <a:pt x="888" y="60"/>
                </a:lnTo>
                <a:lnTo>
                  <a:pt x="882" y="66"/>
                </a:lnTo>
                <a:lnTo>
                  <a:pt x="864" y="66"/>
                </a:lnTo>
                <a:lnTo>
                  <a:pt x="858" y="72"/>
                </a:lnTo>
                <a:lnTo>
                  <a:pt x="846" y="72"/>
                </a:lnTo>
                <a:lnTo>
                  <a:pt x="834" y="84"/>
                </a:lnTo>
                <a:lnTo>
                  <a:pt x="822" y="108"/>
                </a:lnTo>
                <a:lnTo>
                  <a:pt x="816" y="114"/>
                </a:lnTo>
                <a:lnTo>
                  <a:pt x="798" y="114"/>
                </a:lnTo>
                <a:lnTo>
                  <a:pt x="792" y="108"/>
                </a:lnTo>
                <a:lnTo>
                  <a:pt x="786" y="96"/>
                </a:lnTo>
                <a:lnTo>
                  <a:pt x="780" y="90"/>
                </a:lnTo>
                <a:lnTo>
                  <a:pt x="660" y="84"/>
                </a:lnTo>
                <a:lnTo>
                  <a:pt x="660" y="72"/>
                </a:lnTo>
                <a:lnTo>
                  <a:pt x="654" y="72"/>
                </a:lnTo>
                <a:lnTo>
                  <a:pt x="636" y="90"/>
                </a:lnTo>
                <a:lnTo>
                  <a:pt x="210" y="84"/>
                </a:lnTo>
                <a:lnTo>
                  <a:pt x="210" y="246"/>
                </a:lnTo>
                <a:lnTo>
                  <a:pt x="138" y="246"/>
                </a:lnTo>
                <a:lnTo>
                  <a:pt x="144" y="600"/>
                </a:lnTo>
                <a:lnTo>
                  <a:pt x="132" y="600"/>
                </a:lnTo>
                <a:lnTo>
                  <a:pt x="120" y="594"/>
                </a:lnTo>
                <a:lnTo>
                  <a:pt x="78" y="594"/>
                </a:lnTo>
                <a:lnTo>
                  <a:pt x="66" y="606"/>
                </a:lnTo>
                <a:lnTo>
                  <a:pt x="72" y="612"/>
                </a:lnTo>
                <a:lnTo>
                  <a:pt x="72" y="624"/>
                </a:lnTo>
                <a:lnTo>
                  <a:pt x="78" y="630"/>
                </a:lnTo>
                <a:lnTo>
                  <a:pt x="78" y="636"/>
                </a:lnTo>
                <a:lnTo>
                  <a:pt x="72" y="642"/>
                </a:lnTo>
                <a:lnTo>
                  <a:pt x="60" y="648"/>
                </a:lnTo>
                <a:lnTo>
                  <a:pt x="48" y="660"/>
                </a:lnTo>
                <a:lnTo>
                  <a:pt x="48" y="678"/>
                </a:lnTo>
                <a:lnTo>
                  <a:pt x="36" y="678"/>
                </a:lnTo>
                <a:lnTo>
                  <a:pt x="42" y="702"/>
                </a:lnTo>
                <a:lnTo>
                  <a:pt x="48" y="720"/>
                </a:lnTo>
                <a:lnTo>
                  <a:pt x="30" y="732"/>
                </a:lnTo>
                <a:lnTo>
                  <a:pt x="12" y="750"/>
                </a:lnTo>
                <a:lnTo>
                  <a:pt x="18" y="756"/>
                </a:lnTo>
                <a:lnTo>
                  <a:pt x="30" y="780"/>
                </a:lnTo>
                <a:lnTo>
                  <a:pt x="30" y="792"/>
                </a:lnTo>
                <a:lnTo>
                  <a:pt x="18" y="804"/>
                </a:lnTo>
                <a:lnTo>
                  <a:pt x="6" y="810"/>
                </a:lnTo>
                <a:lnTo>
                  <a:pt x="0" y="822"/>
                </a:lnTo>
                <a:lnTo>
                  <a:pt x="0" y="840"/>
                </a:lnTo>
                <a:lnTo>
                  <a:pt x="6" y="846"/>
                </a:lnTo>
                <a:lnTo>
                  <a:pt x="18" y="846"/>
                </a:lnTo>
                <a:lnTo>
                  <a:pt x="24" y="840"/>
                </a:lnTo>
                <a:lnTo>
                  <a:pt x="36" y="840"/>
                </a:lnTo>
                <a:lnTo>
                  <a:pt x="42" y="846"/>
                </a:lnTo>
                <a:lnTo>
                  <a:pt x="42" y="888"/>
                </a:lnTo>
                <a:lnTo>
                  <a:pt x="60" y="900"/>
                </a:lnTo>
                <a:lnTo>
                  <a:pt x="42" y="906"/>
                </a:lnTo>
                <a:lnTo>
                  <a:pt x="48" y="930"/>
                </a:lnTo>
                <a:lnTo>
                  <a:pt x="54" y="930"/>
                </a:lnTo>
                <a:lnTo>
                  <a:pt x="66" y="936"/>
                </a:lnTo>
                <a:lnTo>
                  <a:pt x="78" y="954"/>
                </a:lnTo>
                <a:lnTo>
                  <a:pt x="84" y="960"/>
                </a:lnTo>
                <a:lnTo>
                  <a:pt x="84" y="966"/>
                </a:lnTo>
                <a:lnTo>
                  <a:pt x="72" y="966"/>
                </a:lnTo>
                <a:lnTo>
                  <a:pt x="72" y="990"/>
                </a:lnTo>
                <a:lnTo>
                  <a:pt x="102" y="1020"/>
                </a:lnTo>
                <a:lnTo>
                  <a:pt x="108" y="1032"/>
                </a:lnTo>
                <a:lnTo>
                  <a:pt x="120" y="1044"/>
                </a:lnTo>
                <a:lnTo>
                  <a:pt x="126" y="1062"/>
                </a:lnTo>
                <a:lnTo>
                  <a:pt x="132" y="1074"/>
                </a:lnTo>
                <a:lnTo>
                  <a:pt x="132" y="1104"/>
                </a:lnTo>
                <a:lnTo>
                  <a:pt x="126" y="1110"/>
                </a:lnTo>
                <a:lnTo>
                  <a:pt x="120" y="1122"/>
                </a:lnTo>
                <a:lnTo>
                  <a:pt x="114" y="1128"/>
                </a:lnTo>
                <a:lnTo>
                  <a:pt x="114" y="1134"/>
                </a:lnTo>
                <a:lnTo>
                  <a:pt x="120" y="1140"/>
                </a:lnTo>
                <a:lnTo>
                  <a:pt x="126" y="1140"/>
                </a:lnTo>
                <a:lnTo>
                  <a:pt x="120" y="1158"/>
                </a:lnTo>
                <a:lnTo>
                  <a:pt x="168" y="1164"/>
                </a:lnTo>
                <a:lnTo>
                  <a:pt x="168" y="1194"/>
                </a:lnTo>
                <a:lnTo>
                  <a:pt x="192" y="1206"/>
                </a:lnTo>
                <a:lnTo>
                  <a:pt x="222" y="1206"/>
                </a:lnTo>
                <a:lnTo>
                  <a:pt x="222" y="1224"/>
                </a:lnTo>
                <a:lnTo>
                  <a:pt x="228" y="1224"/>
                </a:lnTo>
                <a:lnTo>
                  <a:pt x="240" y="1230"/>
                </a:lnTo>
                <a:lnTo>
                  <a:pt x="252" y="1242"/>
                </a:lnTo>
                <a:lnTo>
                  <a:pt x="252" y="1248"/>
                </a:lnTo>
                <a:lnTo>
                  <a:pt x="246" y="1248"/>
                </a:lnTo>
                <a:lnTo>
                  <a:pt x="246" y="1254"/>
                </a:lnTo>
                <a:lnTo>
                  <a:pt x="240" y="1254"/>
                </a:lnTo>
                <a:lnTo>
                  <a:pt x="240" y="1260"/>
                </a:lnTo>
                <a:lnTo>
                  <a:pt x="252" y="1272"/>
                </a:lnTo>
                <a:lnTo>
                  <a:pt x="264" y="1278"/>
                </a:lnTo>
                <a:lnTo>
                  <a:pt x="270" y="1278"/>
                </a:lnTo>
                <a:lnTo>
                  <a:pt x="282" y="1284"/>
                </a:lnTo>
                <a:lnTo>
                  <a:pt x="294" y="1296"/>
                </a:lnTo>
                <a:lnTo>
                  <a:pt x="300" y="1308"/>
                </a:lnTo>
                <a:lnTo>
                  <a:pt x="306" y="1314"/>
                </a:lnTo>
                <a:lnTo>
                  <a:pt x="306" y="1320"/>
                </a:lnTo>
                <a:lnTo>
                  <a:pt x="324" y="1320"/>
                </a:lnTo>
                <a:lnTo>
                  <a:pt x="330" y="1326"/>
                </a:lnTo>
                <a:lnTo>
                  <a:pt x="330" y="1338"/>
                </a:lnTo>
                <a:lnTo>
                  <a:pt x="318" y="1338"/>
                </a:lnTo>
                <a:lnTo>
                  <a:pt x="318" y="1344"/>
                </a:lnTo>
                <a:lnTo>
                  <a:pt x="330" y="1356"/>
                </a:lnTo>
                <a:lnTo>
                  <a:pt x="330" y="1374"/>
                </a:lnTo>
                <a:lnTo>
                  <a:pt x="354" y="1380"/>
                </a:lnTo>
                <a:lnTo>
                  <a:pt x="360" y="1386"/>
                </a:lnTo>
                <a:lnTo>
                  <a:pt x="372" y="1392"/>
                </a:lnTo>
                <a:lnTo>
                  <a:pt x="378" y="1398"/>
                </a:lnTo>
                <a:lnTo>
                  <a:pt x="384" y="1410"/>
                </a:lnTo>
                <a:lnTo>
                  <a:pt x="384" y="1434"/>
                </a:lnTo>
                <a:lnTo>
                  <a:pt x="390" y="1446"/>
                </a:lnTo>
                <a:lnTo>
                  <a:pt x="420" y="1470"/>
                </a:lnTo>
                <a:lnTo>
                  <a:pt x="420" y="1494"/>
                </a:lnTo>
                <a:lnTo>
                  <a:pt x="468" y="1518"/>
                </a:lnTo>
                <a:lnTo>
                  <a:pt x="474" y="1512"/>
                </a:lnTo>
                <a:lnTo>
                  <a:pt x="480" y="1500"/>
                </a:lnTo>
                <a:lnTo>
                  <a:pt x="486" y="1494"/>
                </a:lnTo>
                <a:lnTo>
                  <a:pt x="498" y="1494"/>
                </a:lnTo>
                <a:lnTo>
                  <a:pt x="510" y="1500"/>
                </a:lnTo>
                <a:lnTo>
                  <a:pt x="510" y="1506"/>
                </a:lnTo>
                <a:lnTo>
                  <a:pt x="522" y="1512"/>
                </a:lnTo>
                <a:lnTo>
                  <a:pt x="528" y="1512"/>
                </a:lnTo>
                <a:lnTo>
                  <a:pt x="540" y="1500"/>
                </a:lnTo>
                <a:lnTo>
                  <a:pt x="540" y="1494"/>
                </a:lnTo>
                <a:lnTo>
                  <a:pt x="552" y="1482"/>
                </a:lnTo>
                <a:lnTo>
                  <a:pt x="558" y="1488"/>
                </a:lnTo>
                <a:lnTo>
                  <a:pt x="570" y="1494"/>
                </a:lnTo>
                <a:lnTo>
                  <a:pt x="576" y="1512"/>
                </a:lnTo>
                <a:lnTo>
                  <a:pt x="582" y="1524"/>
                </a:lnTo>
                <a:lnTo>
                  <a:pt x="594" y="1536"/>
                </a:lnTo>
                <a:lnTo>
                  <a:pt x="606" y="1542"/>
                </a:lnTo>
                <a:lnTo>
                  <a:pt x="612" y="1548"/>
                </a:lnTo>
                <a:lnTo>
                  <a:pt x="618" y="1548"/>
                </a:lnTo>
                <a:lnTo>
                  <a:pt x="624" y="1572"/>
                </a:lnTo>
                <a:lnTo>
                  <a:pt x="642" y="1572"/>
                </a:lnTo>
                <a:lnTo>
                  <a:pt x="660" y="1554"/>
                </a:lnTo>
                <a:lnTo>
                  <a:pt x="672" y="1554"/>
                </a:lnTo>
                <a:lnTo>
                  <a:pt x="678" y="1560"/>
                </a:lnTo>
                <a:lnTo>
                  <a:pt x="690" y="1566"/>
                </a:lnTo>
                <a:lnTo>
                  <a:pt x="702" y="1566"/>
                </a:lnTo>
                <a:lnTo>
                  <a:pt x="702" y="1560"/>
                </a:lnTo>
                <a:lnTo>
                  <a:pt x="708" y="1554"/>
                </a:lnTo>
                <a:lnTo>
                  <a:pt x="714" y="1554"/>
                </a:lnTo>
                <a:lnTo>
                  <a:pt x="738" y="1584"/>
                </a:lnTo>
                <a:lnTo>
                  <a:pt x="756" y="1560"/>
                </a:lnTo>
                <a:lnTo>
                  <a:pt x="780" y="1560"/>
                </a:lnTo>
                <a:lnTo>
                  <a:pt x="792" y="1548"/>
                </a:lnTo>
                <a:lnTo>
                  <a:pt x="804" y="1548"/>
                </a:lnTo>
                <a:lnTo>
                  <a:pt x="804" y="1554"/>
                </a:lnTo>
                <a:lnTo>
                  <a:pt x="810" y="1560"/>
                </a:lnTo>
                <a:lnTo>
                  <a:pt x="834" y="1560"/>
                </a:lnTo>
                <a:lnTo>
                  <a:pt x="852" y="1542"/>
                </a:lnTo>
                <a:lnTo>
                  <a:pt x="852" y="1536"/>
                </a:lnTo>
                <a:lnTo>
                  <a:pt x="858" y="1530"/>
                </a:lnTo>
                <a:lnTo>
                  <a:pt x="858" y="1524"/>
                </a:lnTo>
                <a:lnTo>
                  <a:pt x="870" y="1524"/>
                </a:lnTo>
                <a:lnTo>
                  <a:pt x="888" y="1494"/>
                </a:lnTo>
                <a:lnTo>
                  <a:pt x="978" y="1494"/>
                </a:lnTo>
                <a:lnTo>
                  <a:pt x="1002" y="1482"/>
                </a:lnTo>
                <a:lnTo>
                  <a:pt x="996" y="1464"/>
                </a:lnTo>
                <a:lnTo>
                  <a:pt x="996" y="1446"/>
                </a:lnTo>
                <a:lnTo>
                  <a:pt x="990" y="1434"/>
                </a:lnTo>
                <a:lnTo>
                  <a:pt x="984" y="1428"/>
                </a:lnTo>
                <a:lnTo>
                  <a:pt x="966" y="1428"/>
                </a:lnTo>
                <a:lnTo>
                  <a:pt x="954" y="1422"/>
                </a:lnTo>
                <a:lnTo>
                  <a:pt x="936" y="1386"/>
                </a:lnTo>
                <a:lnTo>
                  <a:pt x="936" y="1368"/>
                </a:lnTo>
                <a:lnTo>
                  <a:pt x="924" y="1362"/>
                </a:lnTo>
                <a:lnTo>
                  <a:pt x="924" y="1326"/>
                </a:lnTo>
                <a:lnTo>
                  <a:pt x="912" y="1326"/>
                </a:lnTo>
                <a:lnTo>
                  <a:pt x="906" y="1302"/>
                </a:lnTo>
                <a:lnTo>
                  <a:pt x="882" y="1302"/>
                </a:lnTo>
                <a:lnTo>
                  <a:pt x="876" y="1290"/>
                </a:lnTo>
                <a:lnTo>
                  <a:pt x="876" y="1272"/>
                </a:lnTo>
                <a:lnTo>
                  <a:pt x="864" y="1266"/>
                </a:lnTo>
                <a:lnTo>
                  <a:pt x="858" y="1254"/>
                </a:lnTo>
                <a:lnTo>
                  <a:pt x="846" y="1248"/>
                </a:lnTo>
                <a:lnTo>
                  <a:pt x="840" y="1242"/>
                </a:lnTo>
                <a:lnTo>
                  <a:pt x="816" y="1242"/>
                </a:lnTo>
                <a:lnTo>
                  <a:pt x="804" y="1236"/>
                </a:lnTo>
                <a:lnTo>
                  <a:pt x="798" y="1236"/>
                </a:lnTo>
                <a:lnTo>
                  <a:pt x="798" y="1224"/>
                </a:lnTo>
                <a:lnTo>
                  <a:pt x="804" y="1212"/>
                </a:lnTo>
                <a:lnTo>
                  <a:pt x="810" y="1206"/>
                </a:lnTo>
                <a:lnTo>
                  <a:pt x="804" y="1182"/>
                </a:lnTo>
                <a:lnTo>
                  <a:pt x="840" y="1182"/>
                </a:lnTo>
                <a:lnTo>
                  <a:pt x="846" y="1188"/>
                </a:lnTo>
                <a:lnTo>
                  <a:pt x="852" y="1182"/>
                </a:lnTo>
                <a:lnTo>
                  <a:pt x="864" y="1182"/>
                </a:lnTo>
                <a:lnTo>
                  <a:pt x="870" y="1176"/>
                </a:lnTo>
                <a:lnTo>
                  <a:pt x="870" y="1164"/>
                </a:lnTo>
                <a:lnTo>
                  <a:pt x="876" y="1152"/>
                </a:lnTo>
                <a:lnTo>
                  <a:pt x="876" y="1116"/>
                </a:lnTo>
                <a:lnTo>
                  <a:pt x="870" y="1110"/>
                </a:lnTo>
                <a:lnTo>
                  <a:pt x="870" y="1098"/>
                </a:lnTo>
                <a:lnTo>
                  <a:pt x="864" y="1086"/>
                </a:lnTo>
                <a:lnTo>
                  <a:pt x="864" y="1074"/>
                </a:lnTo>
                <a:lnTo>
                  <a:pt x="870" y="1062"/>
                </a:lnTo>
                <a:lnTo>
                  <a:pt x="882" y="1056"/>
                </a:lnTo>
                <a:lnTo>
                  <a:pt x="888" y="1050"/>
                </a:lnTo>
                <a:lnTo>
                  <a:pt x="888" y="1032"/>
                </a:lnTo>
                <a:lnTo>
                  <a:pt x="882" y="1020"/>
                </a:lnTo>
                <a:lnTo>
                  <a:pt x="882" y="1002"/>
                </a:lnTo>
                <a:lnTo>
                  <a:pt x="900" y="984"/>
                </a:lnTo>
                <a:lnTo>
                  <a:pt x="906" y="984"/>
                </a:lnTo>
                <a:lnTo>
                  <a:pt x="906" y="996"/>
                </a:lnTo>
                <a:lnTo>
                  <a:pt x="912" y="1002"/>
                </a:lnTo>
                <a:lnTo>
                  <a:pt x="924" y="1002"/>
                </a:lnTo>
                <a:lnTo>
                  <a:pt x="930" y="996"/>
                </a:lnTo>
                <a:lnTo>
                  <a:pt x="930" y="960"/>
                </a:lnTo>
                <a:lnTo>
                  <a:pt x="924" y="954"/>
                </a:lnTo>
                <a:lnTo>
                  <a:pt x="924" y="948"/>
                </a:lnTo>
                <a:lnTo>
                  <a:pt x="936" y="930"/>
                </a:lnTo>
                <a:lnTo>
                  <a:pt x="936" y="906"/>
                </a:lnTo>
                <a:lnTo>
                  <a:pt x="942" y="900"/>
                </a:lnTo>
                <a:lnTo>
                  <a:pt x="954" y="900"/>
                </a:lnTo>
                <a:lnTo>
                  <a:pt x="960" y="894"/>
                </a:lnTo>
                <a:lnTo>
                  <a:pt x="960" y="858"/>
                </a:lnTo>
                <a:lnTo>
                  <a:pt x="966" y="852"/>
                </a:lnTo>
                <a:lnTo>
                  <a:pt x="972" y="840"/>
                </a:lnTo>
                <a:lnTo>
                  <a:pt x="978" y="834"/>
                </a:lnTo>
                <a:lnTo>
                  <a:pt x="1008" y="834"/>
                </a:lnTo>
                <a:lnTo>
                  <a:pt x="1008" y="786"/>
                </a:lnTo>
                <a:lnTo>
                  <a:pt x="1014" y="774"/>
                </a:lnTo>
                <a:lnTo>
                  <a:pt x="1020" y="768"/>
                </a:lnTo>
                <a:lnTo>
                  <a:pt x="1026" y="756"/>
                </a:lnTo>
                <a:lnTo>
                  <a:pt x="1032" y="750"/>
                </a:lnTo>
                <a:lnTo>
                  <a:pt x="1032" y="708"/>
                </a:lnTo>
                <a:lnTo>
                  <a:pt x="1026" y="660"/>
                </a:lnTo>
                <a:lnTo>
                  <a:pt x="1020" y="654"/>
                </a:lnTo>
                <a:lnTo>
                  <a:pt x="1020" y="636"/>
                </a:lnTo>
                <a:lnTo>
                  <a:pt x="1032" y="630"/>
                </a:lnTo>
                <a:lnTo>
                  <a:pt x="1038" y="630"/>
                </a:lnTo>
                <a:lnTo>
                  <a:pt x="1038" y="594"/>
                </a:lnTo>
                <a:lnTo>
                  <a:pt x="1044" y="594"/>
                </a:lnTo>
                <a:lnTo>
                  <a:pt x="1050" y="588"/>
                </a:lnTo>
                <a:lnTo>
                  <a:pt x="1056" y="576"/>
                </a:lnTo>
                <a:lnTo>
                  <a:pt x="1056" y="534"/>
                </a:lnTo>
                <a:lnTo>
                  <a:pt x="1050" y="528"/>
                </a:lnTo>
                <a:lnTo>
                  <a:pt x="1050" y="516"/>
                </a:lnTo>
                <a:lnTo>
                  <a:pt x="1062" y="516"/>
                </a:lnTo>
                <a:lnTo>
                  <a:pt x="1068" y="510"/>
                </a:lnTo>
                <a:lnTo>
                  <a:pt x="1068" y="492"/>
                </a:lnTo>
                <a:lnTo>
                  <a:pt x="1086" y="492"/>
                </a:lnTo>
                <a:lnTo>
                  <a:pt x="1092" y="486"/>
                </a:lnTo>
                <a:lnTo>
                  <a:pt x="1092" y="480"/>
                </a:lnTo>
                <a:lnTo>
                  <a:pt x="1098" y="474"/>
                </a:lnTo>
                <a:lnTo>
                  <a:pt x="1098" y="462"/>
                </a:lnTo>
                <a:lnTo>
                  <a:pt x="1110" y="462"/>
                </a:lnTo>
                <a:lnTo>
                  <a:pt x="1128" y="456"/>
                </a:lnTo>
                <a:lnTo>
                  <a:pt x="1152" y="444"/>
                </a:lnTo>
                <a:lnTo>
                  <a:pt x="1164" y="420"/>
                </a:lnTo>
                <a:lnTo>
                  <a:pt x="1164" y="408"/>
                </a:lnTo>
                <a:lnTo>
                  <a:pt x="1128" y="384"/>
                </a:lnTo>
                <a:lnTo>
                  <a:pt x="1128" y="378"/>
                </a:lnTo>
                <a:lnTo>
                  <a:pt x="1122" y="372"/>
                </a:lnTo>
                <a:lnTo>
                  <a:pt x="1122" y="360"/>
                </a:lnTo>
                <a:lnTo>
                  <a:pt x="1116" y="354"/>
                </a:lnTo>
                <a:lnTo>
                  <a:pt x="1092" y="354"/>
                </a:lnTo>
                <a:lnTo>
                  <a:pt x="1080" y="342"/>
                </a:lnTo>
                <a:lnTo>
                  <a:pt x="1080" y="330"/>
                </a:lnTo>
                <a:lnTo>
                  <a:pt x="1074" y="312"/>
                </a:lnTo>
                <a:lnTo>
                  <a:pt x="1074" y="294"/>
                </a:lnTo>
                <a:lnTo>
                  <a:pt x="1068" y="282"/>
                </a:lnTo>
                <a:lnTo>
                  <a:pt x="1068" y="264"/>
                </a:lnTo>
                <a:lnTo>
                  <a:pt x="1062" y="264"/>
                </a:lnTo>
                <a:lnTo>
                  <a:pt x="1062" y="240"/>
                </a:lnTo>
                <a:lnTo>
                  <a:pt x="1056" y="222"/>
                </a:lnTo>
                <a:lnTo>
                  <a:pt x="1056" y="180"/>
                </a:lnTo>
                <a:lnTo>
                  <a:pt x="1050" y="168"/>
                </a:lnTo>
                <a:lnTo>
                  <a:pt x="1068" y="162"/>
                </a:lnTo>
                <a:lnTo>
                  <a:pt x="1038" y="132"/>
                </a:lnTo>
                <a:lnTo>
                  <a:pt x="1038" y="90"/>
                </a:lnTo>
                <a:lnTo>
                  <a:pt x="1032" y="78"/>
                </a:lnTo>
                <a:lnTo>
                  <a:pt x="1026" y="72"/>
                </a:lnTo>
                <a:lnTo>
                  <a:pt x="1014" y="66"/>
                </a:lnTo>
                <a:lnTo>
                  <a:pt x="984" y="36"/>
                </a:lnTo>
                <a:lnTo>
                  <a:pt x="972" y="36"/>
                </a:lnTo>
                <a:lnTo>
                  <a:pt x="954" y="18"/>
                </a:lnTo>
                <a:lnTo>
                  <a:pt x="948" y="0"/>
                </a:lnTo>
                <a:lnTo>
                  <a:pt x="924" y="24"/>
                </a:lnTo>
                <a:lnTo>
                  <a:pt x="894" y="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2" name="Sri Lanka"/>
          <p:cNvSpPr>
            <a:spLocks/>
          </p:cNvSpPr>
          <p:nvPr/>
        </p:nvSpPr>
        <p:spPr bwMode="gray">
          <a:xfrm>
            <a:off x="6293708" y="3948780"/>
            <a:ext cx="68263" cy="122238"/>
          </a:xfrm>
          <a:custGeom>
            <a:avLst/>
            <a:gdLst>
              <a:gd name="T0" fmla="*/ 2147483647 w 174"/>
              <a:gd name="T1" fmla="*/ 2147483647 h 306"/>
              <a:gd name="T2" fmla="*/ 2147483647 w 174"/>
              <a:gd name="T3" fmla="*/ 0 h 306"/>
              <a:gd name="T4" fmla="*/ 2147483647 w 174"/>
              <a:gd name="T5" fmla="*/ 0 h 306"/>
              <a:gd name="T6" fmla="*/ 2147483647 w 174"/>
              <a:gd name="T7" fmla="*/ 2147483647 h 306"/>
              <a:gd name="T8" fmla="*/ 2147483647 w 174"/>
              <a:gd name="T9" fmla="*/ 2147483647 h 306"/>
              <a:gd name="T10" fmla="*/ 2147483647 w 174"/>
              <a:gd name="T11" fmla="*/ 2147483647 h 306"/>
              <a:gd name="T12" fmla="*/ 2147483647 w 174"/>
              <a:gd name="T13" fmla="*/ 2147483647 h 306"/>
              <a:gd name="T14" fmla="*/ 2147483647 w 174"/>
              <a:gd name="T15" fmla="*/ 2147483647 h 306"/>
              <a:gd name="T16" fmla="*/ 2147483647 w 174"/>
              <a:gd name="T17" fmla="*/ 2147483647 h 306"/>
              <a:gd name="T18" fmla="*/ 2147483647 w 174"/>
              <a:gd name="T19" fmla="*/ 2147483647 h 306"/>
              <a:gd name="T20" fmla="*/ 2147483647 w 174"/>
              <a:gd name="T21" fmla="*/ 2147483647 h 306"/>
              <a:gd name="T22" fmla="*/ 2147483647 w 174"/>
              <a:gd name="T23" fmla="*/ 2147483647 h 306"/>
              <a:gd name="T24" fmla="*/ 2147483647 w 174"/>
              <a:gd name="T25" fmla="*/ 2147483647 h 306"/>
              <a:gd name="T26" fmla="*/ 2147483647 w 174"/>
              <a:gd name="T27" fmla="*/ 2147483647 h 306"/>
              <a:gd name="T28" fmla="*/ 2147483647 w 174"/>
              <a:gd name="T29" fmla="*/ 2147483647 h 306"/>
              <a:gd name="T30" fmla="*/ 2147483647 w 174"/>
              <a:gd name="T31" fmla="*/ 2147483647 h 306"/>
              <a:gd name="T32" fmla="*/ 2147483647 w 174"/>
              <a:gd name="T33" fmla="*/ 2147483647 h 306"/>
              <a:gd name="T34" fmla="*/ 2147483647 w 174"/>
              <a:gd name="T35" fmla="*/ 2147483647 h 306"/>
              <a:gd name="T36" fmla="*/ 2147483647 w 174"/>
              <a:gd name="T37" fmla="*/ 2147483647 h 306"/>
              <a:gd name="T38" fmla="*/ 2147483647 w 174"/>
              <a:gd name="T39" fmla="*/ 2147483647 h 306"/>
              <a:gd name="T40" fmla="*/ 0 w 174"/>
              <a:gd name="T41" fmla="*/ 2147483647 h 306"/>
              <a:gd name="T42" fmla="*/ 0 w 174"/>
              <a:gd name="T43" fmla="*/ 2147483647 h 306"/>
              <a:gd name="T44" fmla="*/ 2147483647 w 174"/>
              <a:gd name="T45" fmla="*/ 2147483647 h 306"/>
              <a:gd name="T46" fmla="*/ 2147483647 w 174"/>
              <a:gd name="T47" fmla="*/ 2147483647 h 306"/>
              <a:gd name="T48" fmla="*/ 2147483647 w 174"/>
              <a:gd name="T49" fmla="*/ 2147483647 h 306"/>
              <a:gd name="T50" fmla="*/ 2147483647 w 174"/>
              <a:gd name="T51" fmla="*/ 2147483647 h 306"/>
              <a:gd name="T52" fmla="*/ 2147483647 w 174"/>
              <a:gd name="T53" fmla="*/ 2147483647 h 306"/>
              <a:gd name="T54" fmla="*/ 0 w 174"/>
              <a:gd name="T55" fmla="*/ 2147483647 h 306"/>
              <a:gd name="T56" fmla="*/ 2147483647 w 174"/>
              <a:gd name="T57" fmla="*/ 2147483647 h 306"/>
              <a:gd name="T58" fmla="*/ 2147483647 w 174"/>
              <a:gd name="T59" fmla="*/ 2147483647 h 30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74"/>
              <a:gd name="T91" fmla="*/ 0 h 306"/>
              <a:gd name="T92" fmla="*/ 174 w 174"/>
              <a:gd name="T93" fmla="*/ 306 h 30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74" h="306">
                <a:moveTo>
                  <a:pt x="24" y="6"/>
                </a:moveTo>
                <a:lnTo>
                  <a:pt x="36" y="0"/>
                </a:lnTo>
                <a:lnTo>
                  <a:pt x="48" y="0"/>
                </a:lnTo>
                <a:lnTo>
                  <a:pt x="66" y="6"/>
                </a:lnTo>
                <a:lnTo>
                  <a:pt x="78" y="12"/>
                </a:lnTo>
                <a:lnTo>
                  <a:pt x="114" y="66"/>
                </a:lnTo>
                <a:lnTo>
                  <a:pt x="132" y="84"/>
                </a:lnTo>
                <a:lnTo>
                  <a:pt x="126" y="120"/>
                </a:lnTo>
                <a:lnTo>
                  <a:pt x="150" y="114"/>
                </a:lnTo>
                <a:lnTo>
                  <a:pt x="156" y="168"/>
                </a:lnTo>
                <a:lnTo>
                  <a:pt x="162" y="174"/>
                </a:lnTo>
                <a:lnTo>
                  <a:pt x="168" y="198"/>
                </a:lnTo>
                <a:lnTo>
                  <a:pt x="174" y="228"/>
                </a:lnTo>
                <a:lnTo>
                  <a:pt x="174" y="258"/>
                </a:lnTo>
                <a:lnTo>
                  <a:pt x="156" y="276"/>
                </a:lnTo>
                <a:lnTo>
                  <a:pt x="120" y="294"/>
                </a:lnTo>
                <a:lnTo>
                  <a:pt x="84" y="306"/>
                </a:lnTo>
                <a:lnTo>
                  <a:pt x="48" y="306"/>
                </a:lnTo>
                <a:lnTo>
                  <a:pt x="24" y="282"/>
                </a:lnTo>
                <a:lnTo>
                  <a:pt x="12" y="240"/>
                </a:lnTo>
                <a:lnTo>
                  <a:pt x="0" y="192"/>
                </a:lnTo>
                <a:lnTo>
                  <a:pt x="0" y="156"/>
                </a:lnTo>
                <a:lnTo>
                  <a:pt x="12" y="138"/>
                </a:lnTo>
                <a:lnTo>
                  <a:pt x="18" y="132"/>
                </a:lnTo>
                <a:lnTo>
                  <a:pt x="24" y="120"/>
                </a:lnTo>
                <a:lnTo>
                  <a:pt x="30" y="102"/>
                </a:lnTo>
                <a:lnTo>
                  <a:pt x="30" y="78"/>
                </a:lnTo>
                <a:lnTo>
                  <a:pt x="0" y="36"/>
                </a:lnTo>
                <a:lnTo>
                  <a:pt x="24" y="36"/>
                </a:lnTo>
                <a:lnTo>
                  <a:pt x="24" y="6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3" name="Spain"/>
          <p:cNvSpPr>
            <a:spLocks noEditPoints="1"/>
          </p:cNvSpPr>
          <p:nvPr/>
        </p:nvSpPr>
        <p:spPr bwMode="gray">
          <a:xfrm>
            <a:off x="3799746" y="2842293"/>
            <a:ext cx="352425" cy="247650"/>
          </a:xfrm>
          <a:custGeom>
            <a:avLst/>
            <a:gdLst>
              <a:gd name="T0" fmla="*/ 2147483647 w 876"/>
              <a:gd name="T1" fmla="*/ 2147483647 h 618"/>
              <a:gd name="T2" fmla="*/ 2147483647 w 876"/>
              <a:gd name="T3" fmla="*/ 2147483647 h 618"/>
              <a:gd name="T4" fmla="*/ 2147483647 w 876"/>
              <a:gd name="T5" fmla="*/ 2147483647 h 618"/>
              <a:gd name="T6" fmla="*/ 2147483647 w 876"/>
              <a:gd name="T7" fmla="*/ 2147483647 h 618"/>
              <a:gd name="T8" fmla="*/ 2147483647 w 876"/>
              <a:gd name="T9" fmla="*/ 2147483647 h 618"/>
              <a:gd name="T10" fmla="*/ 2147483647 w 876"/>
              <a:gd name="T11" fmla="*/ 2147483647 h 618"/>
              <a:gd name="T12" fmla="*/ 2147483647 w 876"/>
              <a:gd name="T13" fmla="*/ 2147483647 h 618"/>
              <a:gd name="T14" fmla="*/ 2147483647 w 876"/>
              <a:gd name="T15" fmla="*/ 2147483647 h 618"/>
              <a:gd name="T16" fmla="*/ 2147483647 w 876"/>
              <a:gd name="T17" fmla="*/ 2147483647 h 618"/>
              <a:gd name="T18" fmla="*/ 2147483647 w 876"/>
              <a:gd name="T19" fmla="*/ 2147483647 h 618"/>
              <a:gd name="T20" fmla="*/ 2147483647 w 876"/>
              <a:gd name="T21" fmla="*/ 2147483647 h 618"/>
              <a:gd name="T22" fmla="*/ 2147483647 w 876"/>
              <a:gd name="T23" fmla="*/ 2147483647 h 618"/>
              <a:gd name="T24" fmla="*/ 2147483647 w 876"/>
              <a:gd name="T25" fmla="*/ 2147483647 h 618"/>
              <a:gd name="T26" fmla="*/ 2147483647 w 876"/>
              <a:gd name="T27" fmla="*/ 2147483647 h 618"/>
              <a:gd name="T28" fmla="*/ 2147483647 w 876"/>
              <a:gd name="T29" fmla="*/ 2147483647 h 618"/>
              <a:gd name="T30" fmla="*/ 2147483647 w 876"/>
              <a:gd name="T31" fmla="*/ 2147483647 h 618"/>
              <a:gd name="T32" fmla="*/ 2147483647 w 876"/>
              <a:gd name="T33" fmla="*/ 2147483647 h 618"/>
              <a:gd name="T34" fmla="*/ 2147483647 w 876"/>
              <a:gd name="T35" fmla="*/ 2147483647 h 618"/>
              <a:gd name="T36" fmla="*/ 2147483647 w 876"/>
              <a:gd name="T37" fmla="*/ 2147483647 h 618"/>
              <a:gd name="T38" fmla="*/ 2147483647 w 876"/>
              <a:gd name="T39" fmla="*/ 2147483647 h 618"/>
              <a:gd name="T40" fmla="*/ 2147483647 w 876"/>
              <a:gd name="T41" fmla="*/ 0 h 618"/>
              <a:gd name="T42" fmla="*/ 2147483647 w 876"/>
              <a:gd name="T43" fmla="*/ 2147483647 h 618"/>
              <a:gd name="T44" fmla="*/ 0 w 876"/>
              <a:gd name="T45" fmla="*/ 2147483647 h 618"/>
              <a:gd name="T46" fmla="*/ 2147483647 w 876"/>
              <a:gd name="T47" fmla="*/ 2147483647 h 618"/>
              <a:gd name="T48" fmla="*/ 2147483647 w 876"/>
              <a:gd name="T49" fmla="*/ 2147483647 h 618"/>
              <a:gd name="T50" fmla="*/ 2147483647 w 876"/>
              <a:gd name="T51" fmla="*/ 2147483647 h 618"/>
              <a:gd name="T52" fmla="*/ 2147483647 w 876"/>
              <a:gd name="T53" fmla="*/ 2147483647 h 618"/>
              <a:gd name="T54" fmla="*/ 2147483647 w 876"/>
              <a:gd name="T55" fmla="*/ 2147483647 h 618"/>
              <a:gd name="T56" fmla="*/ 2147483647 w 876"/>
              <a:gd name="T57" fmla="*/ 2147483647 h 618"/>
              <a:gd name="T58" fmla="*/ 2147483647 w 876"/>
              <a:gd name="T59" fmla="*/ 2147483647 h 618"/>
              <a:gd name="T60" fmla="*/ 2147483647 w 876"/>
              <a:gd name="T61" fmla="*/ 2147483647 h 618"/>
              <a:gd name="T62" fmla="*/ 2147483647 w 876"/>
              <a:gd name="T63" fmla="*/ 2147483647 h 618"/>
              <a:gd name="T64" fmla="*/ 2147483647 w 876"/>
              <a:gd name="T65" fmla="*/ 2147483647 h 618"/>
              <a:gd name="T66" fmla="*/ 2147483647 w 876"/>
              <a:gd name="T67" fmla="*/ 2147483647 h 618"/>
              <a:gd name="T68" fmla="*/ 2147483647 w 876"/>
              <a:gd name="T69" fmla="*/ 2147483647 h 618"/>
              <a:gd name="T70" fmla="*/ 2147483647 w 876"/>
              <a:gd name="T71" fmla="*/ 2147483647 h 618"/>
              <a:gd name="T72" fmla="*/ 2147483647 w 876"/>
              <a:gd name="T73" fmla="*/ 2147483647 h 618"/>
              <a:gd name="T74" fmla="*/ 2147483647 w 876"/>
              <a:gd name="T75" fmla="*/ 2147483647 h 618"/>
              <a:gd name="T76" fmla="*/ 2147483647 w 876"/>
              <a:gd name="T77" fmla="*/ 2147483647 h 618"/>
              <a:gd name="T78" fmla="*/ 2147483647 w 876"/>
              <a:gd name="T79" fmla="*/ 2147483647 h 618"/>
              <a:gd name="T80" fmla="*/ 2147483647 w 876"/>
              <a:gd name="T81" fmla="*/ 2147483647 h 618"/>
              <a:gd name="T82" fmla="*/ 2147483647 w 876"/>
              <a:gd name="T83" fmla="*/ 2147483647 h 618"/>
              <a:gd name="T84" fmla="*/ 2147483647 w 876"/>
              <a:gd name="T85" fmla="*/ 2147483647 h 618"/>
              <a:gd name="T86" fmla="*/ 2147483647 w 876"/>
              <a:gd name="T87" fmla="*/ 2147483647 h 618"/>
              <a:gd name="T88" fmla="*/ 2147483647 w 876"/>
              <a:gd name="T89" fmla="*/ 2147483647 h 618"/>
              <a:gd name="T90" fmla="*/ 2147483647 w 876"/>
              <a:gd name="T91" fmla="*/ 2147483647 h 618"/>
              <a:gd name="T92" fmla="*/ 2147483647 w 876"/>
              <a:gd name="T93" fmla="*/ 2147483647 h 618"/>
              <a:gd name="T94" fmla="*/ 2147483647 w 876"/>
              <a:gd name="T95" fmla="*/ 2147483647 h 618"/>
              <a:gd name="T96" fmla="*/ 2147483647 w 876"/>
              <a:gd name="T97" fmla="*/ 2147483647 h 618"/>
              <a:gd name="T98" fmla="*/ 2147483647 w 876"/>
              <a:gd name="T99" fmla="*/ 2147483647 h 618"/>
              <a:gd name="T100" fmla="*/ 2147483647 w 876"/>
              <a:gd name="T101" fmla="*/ 2147483647 h 618"/>
              <a:gd name="T102" fmla="*/ 2147483647 w 876"/>
              <a:gd name="T103" fmla="*/ 2147483647 h 618"/>
              <a:gd name="T104" fmla="*/ 2147483647 w 876"/>
              <a:gd name="T105" fmla="*/ 2147483647 h 618"/>
              <a:gd name="T106" fmla="*/ 2147483647 w 876"/>
              <a:gd name="T107" fmla="*/ 2147483647 h 618"/>
              <a:gd name="T108" fmla="*/ 2147483647 w 876"/>
              <a:gd name="T109" fmla="*/ 2147483647 h 6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6"/>
              <a:gd name="T166" fmla="*/ 0 h 618"/>
              <a:gd name="T167" fmla="*/ 876 w 876"/>
              <a:gd name="T168" fmla="*/ 618 h 61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6" h="618">
                <a:moveTo>
                  <a:pt x="804" y="318"/>
                </a:moveTo>
                <a:lnTo>
                  <a:pt x="798" y="312"/>
                </a:lnTo>
                <a:lnTo>
                  <a:pt x="798" y="306"/>
                </a:lnTo>
                <a:lnTo>
                  <a:pt x="786" y="306"/>
                </a:lnTo>
                <a:lnTo>
                  <a:pt x="762" y="318"/>
                </a:lnTo>
                <a:lnTo>
                  <a:pt x="750" y="330"/>
                </a:lnTo>
                <a:lnTo>
                  <a:pt x="750" y="336"/>
                </a:lnTo>
                <a:lnTo>
                  <a:pt x="756" y="342"/>
                </a:lnTo>
                <a:lnTo>
                  <a:pt x="768" y="342"/>
                </a:lnTo>
                <a:lnTo>
                  <a:pt x="774" y="348"/>
                </a:lnTo>
                <a:lnTo>
                  <a:pt x="774" y="354"/>
                </a:lnTo>
                <a:lnTo>
                  <a:pt x="804" y="354"/>
                </a:lnTo>
                <a:lnTo>
                  <a:pt x="816" y="342"/>
                </a:lnTo>
                <a:lnTo>
                  <a:pt x="816" y="324"/>
                </a:lnTo>
                <a:lnTo>
                  <a:pt x="810" y="318"/>
                </a:lnTo>
                <a:lnTo>
                  <a:pt x="804" y="318"/>
                </a:lnTo>
                <a:close/>
                <a:moveTo>
                  <a:pt x="672" y="390"/>
                </a:moveTo>
                <a:lnTo>
                  <a:pt x="678" y="396"/>
                </a:lnTo>
                <a:lnTo>
                  <a:pt x="684" y="396"/>
                </a:lnTo>
                <a:lnTo>
                  <a:pt x="690" y="390"/>
                </a:lnTo>
                <a:lnTo>
                  <a:pt x="690" y="372"/>
                </a:lnTo>
                <a:lnTo>
                  <a:pt x="684" y="372"/>
                </a:lnTo>
                <a:lnTo>
                  <a:pt x="672" y="384"/>
                </a:lnTo>
                <a:lnTo>
                  <a:pt x="672" y="390"/>
                </a:lnTo>
                <a:close/>
                <a:moveTo>
                  <a:pt x="840" y="300"/>
                </a:moveTo>
                <a:lnTo>
                  <a:pt x="840" y="306"/>
                </a:lnTo>
                <a:lnTo>
                  <a:pt x="852" y="318"/>
                </a:lnTo>
                <a:lnTo>
                  <a:pt x="870" y="318"/>
                </a:lnTo>
                <a:lnTo>
                  <a:pt x="876" y="312"/>
                </a:lnTo>
                <a:lnTo>
                  <a:pt x="864" y="300"/>
                </a:lnTo>
                <a:lnTo>
                  <a:pt x="852" y="300"/>
                </a:lnTo>
                <a:lnTo>
                  <a:pt x="846" y="294"/>
                </a:lnTo>
                <a:lnTo>
                  <a:pt x="840" y="300"/>
                </a:lnTo>
                <a:close/>
                <a:moveTo>
                  <a:pt x="804" y="150"/>
                </a:moveTo>
                <a:lnTo>
                  <a:pt x="798" y="138"/>
                </a:lnTo>
                <a:lnTo>
                  <a:pt x="798" y="132"/>
                </a:lnTo>
                <a:lnTo>
                  <a:pt x="810" y="120"/>
                </a:lnTo>
                <a:lnTo>
                  <a:pt x="798" y="114"/>
                </a:lnTo>
                <a:lnTo>
                  <a:pt x="792" y="108"/>
                </a:lnTo>
                <a:lnTo>
                  <a:pt x="792" y="102"/>
                </a:lnTo>
                <a:lnTo>
                  <a:pt x="780" y="102"/>
                </a:lnTo>
                <a:lnTo>
                  <a:pt x="780" y="108"/>
                </a:lnTo>
                <a:lnTo>
                  <a:pt x="774" y="114"/>
                </a:lnTo>
                <a:lnTo>
                  <a:pt x="756" y="114"/>
                </a:lnTo>
                <a:lnTo>
                  <a:pt x="750" y="108"/>
                </a:lnTo>
                <a:lnTo>
                  <a:pt x="726" y="108"/>
                </a:lnTo>
                <a:lnTo>
                  <a:pt x="726" y="102"/>
                </a:lnTo>
                <a:lnTo>
                  <a:pt x="708" y="102"/>
                </a:lnTo>
                <a:lnTo>
                  <a:pt x="696" y="108"/>
                </a:lnTo>
                <a:lnTo>
                  <a:pt x="690" y="84"/>
                </a:lnTo>
                <a:lnTo>
                  <a:pt x="672" y="84"/>
                </a:lnTo>
                <a:lnTo>
                  <a:pt x="672" y="78"/>
                </a:lnTo>
                <a:lnTo>
                  <a:pt x="666" y="72"/>
                </a:lnTo>
                <a:lnTo>
                  <a:pt x="648" y="72"/>
                </a:lnTo>
                <a:lnTo>
                  <a:pt x="642" y="78"/>
                </a:lnTo>
                <a:lnTo>
                  <a:pt x="642" y="90"/>
                </a:lnTo>
                <a:lnTo>
                  <a:pt x="624" y="96"/>
                </a:lnTo>
                <a:lnTo>
                  <a:pt x="624" y="84"/>
                </a:lnTo>
                <a:lnTo>
                  <a:pt x="594" y="84"/>
                </a:lnTo>
                <a:lnTo>
                  <a:pt x="582" y="72"/>
                </a:lnTo>
                <a:lnTo>
                  <a:pt x="570" y="72"/>
                </a:lnTo>
                <a:lnTo>
                  <a:pt x="564" y="78"/>
                </a:lnTo>
                <a:lnTo>
                  <a:pt x="546" y="60"/>
                </a:lnTo>
                <a:lnTo>
                  <a:pt x="510" y="60"/>
                </a:lnTo>
                <a:lnTo>
                  <a:pt x="516" y="54"/>
                </a:lnTo>
                <a:lnTo>
                  <a:pt x="516" y="48"/>
                </a:lnTo>
                <a:lnTo>
                  <a:pt x="504" y="36"/>
                </a:lnTo>
                <a:lnTo>
                  <a:pt x="498" y="36"/>
                </a:lnTo>
                <a:lnTo>
                  <a:pt x="492" y="42"/>
                </a:lnTo>
                <a:lnTo>
                  <a:pt x="486" y="36"/>
                </a:lnTo>
                <a:lnTo>
                  <a:pt x="450" y="36"/>
                </a:lnTo>
                <a:lnTo>
                  <a:pt x="390" y="24"/>
                </a:lnTo>
                <a:lnTo>
                  <a:pt x="378" y="24"/>
                </a:lnTo>
                <a:lnTo>
                  <a:pt x="348" y="36"/>
                </a:lnTo>
                <a:lnTo>
                  <a:pt x="294" y="30"/>
                </a:lnTo>
                <a:lnTo>
                  <a:pt x="258" y="12"/>
                </a:lnTo>
                <a:lnTo>
                  <a:pt x="234" y="12"/>
                </a:lnTo>
                <a:lnTo>
                  <a:pt x="216" y="18"/>
                </a:lnTo>
                <a:lnTo>
                  <a:pt x="162" y="18"/>
                </a:lnTo>
                <a:lnTo>
                  <a:pt x="150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0"/>
                </a:lnTo>
                <a:lnTo>
                  <a:pt x="108" y="0"/>
                </a:lnTo>
                <a:lnTo>
                  <a:pt x="96" y="6"/>
                </a:lnTo>
                <a:lnTo>
                  <a:pt x="72" y="30"/>
                </a:lnTo>
                <a:lnTo>
                  <a:pt x="60" y="30"/>
                </a:lnTo>
                <a:lnTo>
                  <a:pt x="48" y="36"/>
                </a:lnTo>
                <a:lnTo>
                  <a:pt x="30" y="36"/>
                </a:lnTo>
                <a:lnTo>
                  <a:pt x="6" y="48"/>
                </a:lnTo>
                <a:lnTo>
                  <a:pt x="0" y="60"/>
                </a:lnTo>
                <a:lnTo>
                  <a:pt x="0" y="72"/>
                </a:lnTo>
                <a:lnTo>
                  <a:pt x="6" y="78"/>
                </a:lnTo>
                <a:lnTo>
                  <a:pt x="12" y="90"/>
                </a:lnTo>
                <a:lnTo>
                  <a:pt x="24" y="96"/>
                </a:lnTo>
                <a:lnTo>
                  <a:pt x="30" y="102"/>
                </a:lnTo>
                <a:lnTo>
                  <a:pt x="18" y="138"/>
                </a:lnTo>
                <a:lnTo>
                  <a:pt x="24" y="144"/>
                </a:lnTo>
                <a:lnTo>
                  <a:pt x="24" y="150"/>
                </a:lnTo>
                <a:lnTo>
                  <a:pt x="30" y="144"/>
                </a:lnTo>
                <a:lnTo>
                  <a:pt x="54" y="132"/>
                </a:lnTo>
                <a:lnTo>
                  <a:pt x="78" y="132"/>
                </a:lnTo>
                <a:lnTo>
                  <a:pt x="78" y="138"/>
                </a:lnTo>
                <a:lnTo>
                  <a:pt x="66" y="150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78" y="150"/>
                </a:lnTo>
                <a:lnTo>
                  <a:pt x="96" y="150"/>
                </a:lnTo>
                <a:lnTo>
                  <a:pt x="102" y="156"/>
                </a:lnTo>
                <a:lnTo>
                  <a:pt x="114" y="156"/>
                </a:lnTo>
                <a:lnTo>
                  <a:pt x="120" y="150"/>
                </a:lnTo>
                <a:lnTo>
                  <a:pt x="120" y="144"/>
                </a:lnTo>
                <a:lnTo>
                  <a:pt x="174" y="144"/>
                </a:lnTo>
                <a:lnTo>
                  <a:pt x="174" y="162"/>
                </a:lnTo>
                <a:lnTo>
                  <a:pt x="180" y="162"/>
                </a:lnTo>
                <a:lnTo>
                  <a:pt x="192" y="168"/>
                </a:lnTo>
                <a:lnTo>
                  <a:pt x="192" y="174"/>
                </a:lnTo>
                <a:lnTo>
                  <a:pt x="168" y="198"/>
                </a:lnTo>
                <a:lnTo>
                  <a:pt x="144" y="210"/>
                </a:lnTo>
                <a:lnTo>
                  <a:pt x="138" y="216"/>
                </a:lnTo>
                <a:lnTo>
                  <a:pt x="138" y="222"/>
                </a:lnTo>
                <a:lnTo>
                  <a:pt x="144" y="222"/>
                </a:lnTo>
                <a:lnTo>
                  <a:pt x="150" y="228"/>
                </a:lnTo>
                <a:lnTo>
                  <a:pt x="150" y="240"/>
                </a:lnTo>
                <a:lnTo>
                  <a:pt x="144" y="258"/>
                </a:lnTo>
                <a:lnTo>
                  <a:pt x="144" y="276"/>
                </a:lnTo>
                <a:lnTo>
                  <a:pt x="138" y="276"/>
                </a:lnTo>
                <a:lnTo>
                  <a:pt x="132" y="282"/>
                </a:lnTo>
                <a:lnTo>
                  <a:pt x="132" y="294"/>
                </a:lnTo>
                <a:lnTo>
                  <a:pt x="138" y="300"/>
                </a:lnTo>
                <a:lnTo>
                  <a:pt x="138" y="312"/>
                </a:lnTo>
                <a:lnTo>
                  <a:pt x="126" y="324"/>
                </a:lnTo>
                <a:lnTo>
                  <a:pt x="90" y="324"/>
                </a:lnTo>
                <a:lnTo>
                  <a:pt x="114" y="348"/>
                </a:lnTo>
                <a:lnTo>
                  <a:pt x="114" y="360"/>
                </a:lnTo>
                <a:lnTo>
                  <a:pt x="120" y="366"/>
                </a:lnTo>
                <a:lnTo>
                  <a:pt x="132" y="372"/>
                </a:lnTo>
                <a:lnTo>
                  <a:pt x="132" y="378"/>
                </a:lnTo>
                <a:lnTo>
                  <a:pt x="120" y="390"/>
                </a:lnTo>
                <a:lnTo>
                  <a:pt x="108" y="396"/>
                </a:lnTo>
                <a:lnTo>
                  <a:pt x="96" y="408"/>
                </a:lnTo>
                <a:lnTo>
                  <a:pt x="96" y="414"/>
                </a:lnTo>
                <a:lnTo>
                  <a:pt x="102" y="420"/>
                </a:lnTo>
                <a:lnTo>
                  <a:pt x="102" y="426"/>
                </a:lnTo>
                <a:lnTo>
                  <a:pt x="108" y="438"/>
                </a:lnTo>
                <a:lnTo>
                  <a:pt x="114" y="444"/>
                </a:lnTo>
                <a:lnTo>
                  <a:pt x="126" y="444"/>
                </a:lnTo>
                <a:lnTo>
                  <a:pt x="126" y="450"/>
                </a:lnTo>
                <a:lnTo>
                  <a:pt x="114" y="462"/>
                </a:lnTo>
                <a:lnTo>
                  <a:pt x="102" y="462"/>
                </a:lnTo>
                <a:lnTo>
                  <a:pt x="96" y="474"/>
                </a:lnTo>
                <a:lnTo>
                  <a:pt x="90" y="480"/>
                </a:lnTo>
                <a:lnTo>
                  <a:pt x="90" y="528"/>
                </a:lnTo>
                <a:lnTo>
                  <a:pt x="120" y="528"/>
                </a:lnTo>
                <a:lnTo>
                  <a:pt x="144" y="546"/>
                </a:lnTo>
                <a:lnTo>
                  <a:pt x="162" y="546"/>
                </a:lnTo>
                <a:lnTo>
                  <a:pt x="156" y="576"/>
                </a:lnTo>
                <a:lnTo>
                  <a:pt x="162" y="576"/>
                </a:lnTo>
                <a:lnTo>
                  <a:pt x="162" y="594"/>
                </a:lnTo>
                <a:lnTo>
                  <a:pt x="168" y="606"/>
                </a:lnTo>
                <a:lnTo>
                  <a:pt x="174" y="612"/>
                </a:lnTo>
                <a:lnTo>
                  <a:pt x="192" y="612"/>
                </a:lnTo>
                <a:lnTo>
                  <a:pt x="198" y="618"/>
                </a:lnTo>
                <a:lnTo>
                  <a:pt x="204" y="618"/>
                </a:lnTo>
                <a:lnTo>
                  <a:pt x="210" y="612"/>
                </a:lnTo>
                <a:lnTo>
                  <a:pt x="222" y="606"/>
                </a:lnTo>
                <a:lnTo>
                  <a:pt x="240" y="588"/>
                </a:lnTo>
                <a:lnTo>
                  <a:pt x="252" y="582"/>
                </a:lnTo>
                <a:lnTo>
                  <a:pt x="264" y="582"/>
                </a:lnTo>
                <a:lnTo>
                  <a:pt x="294" y="564"/>
                </a:lnTo>
                <a:lnTo>
                  <a:pt x="360" y="564"/>
                </a:lnTo>
                <a:lnTo>
                  <a:pt x="366" y="558"/>
                </a:lnTo>
                <a:lnTo>
                  <a:pt x="378" y="558"/>
                </a:lnTo>
                <a:lnTo>
                  <a:pt x="390" y="570"/>
                </a:lnTo>
                <a:lnTo>
                  <a:pt x="396" y="570"/>
                </a:lnTo>
                <a:lnTo>
                  <a:pt x="408" y="564"/>
                </a:lnTo>
                <a:lnTo>
                  <a:pt x="420" y="564"/>
                </a:lnTo>
                <a:lnTo>
                  <a:pt x="426" y="558"/>
                </a:lnTo>
                <a:lnTo>
                  <a:pt x="432" y="558"/>
                </a:lnTo>
                <a:lnTo>
                  <a:pt x="432" y="570"/>
                </a:lnTo>
                <a:lnTo>
                  <a:pt x="438" y="570"/>
                </a:lnTo>
                <a:lnTo>
                  <a:pt x="450" y="558"/>
                </a:lnTo>
                <a:lnTo>
                  <a:pt x="462" y="534"/>
                </a:lnTo>
                <a:lnTo>
                  <a:pt x="462" y="522"/>
                </a:lnTo>
                <a:lnTo>
                  <a:pt x="498" y="492"/>
                </a:lnTo>
                <a:lnTo>
                  <a:pt x="528" y="492"/>
                </a:lnTo>
                <a:lnTo>
                  <a:pt x="534" y="474"/>
                </a:lnTo>
                <a:lnTo>
                  <a:pt x="534" y="468"/>
                </a:lnTo>
                <a:lnTo>
                  <a:pt x="540" y="462"/>
                </a:lnTo>
                <a:lnTo>
                  <a:pt x="540" y="450"/>
                </a:lnTo>
                <a:lnTo>
                  <a:pt x="546" y="444"/>
                </a:lnTo>
                <a:lnTo>
                  <a:pt x="552" y="432"/>
                </a:lnTo>
                <a:lnTo>
                  <a:pt x="552" y="426"/>
                </a:lnTo>
                <a:lnTo>
                  <a:pt x="570" y="426"/>
                </a:lnTo>
                <a:lnTo>
                  <a:pt x="594" y="414"/>
                </a:lnTo>
                <a:lnTo>
                  <a:pt x="600" y="408"/>
                </a:lnTo>
                <a:lnTo>
                  <a:pt x="594" y="396"/>
                </a:lnTo>
                <a:lnTo>
                  <a:pt x="588" y="390"/>
                </a:lnTo>
                <a:lnTo>
                  <a:pt x="582" y="378"/>
                </a:lnTo>
                <a:lnTo>
                  <a:pt x="576" y="372"/>
                </a:lnTo>
                <a:lnTo>
                  <a:pt x="570" y="372"/>
                </a:lnTo>
                <a:lnTo>
                  <a:pt x="570" y="336"/>
                </a:lnTo>
                <a:lnTo>
                  <a:pt x="582" y="312"/>
                </a:lnTo>
                <a:lnTo>
                  <a:pt x="594" y="306"/>
                </a:lnTo>
                <a:lnTo>
                  <a:pt x="600" y="294"/>
                </a:lnTo>
                <a:lnTo>
                  <a:pt x="612" y="282"/>
                </a:lnTo>
                <a:lnTo>
                  <a:pt x="618" y="270"/>
                </a:lnTo>
                <a:lnTo>
                  <a:pt x="630" y="258"/>
                </a:lnTo>
                <a:lnTo>
                  <a:pt x="642" y="258"/>
                </a:lnTo>
                <a:lnTo>
                  <a:pt x="654" y="246"/>
                </a:lnTo>
                <a:lnTo>
                  <a:pt x="654" y="240"/>
                </a:lnTo>
                <a:lnTo>
                  <a:pt x="648" y="240"/>
                </a:lnTo>
                <a:lnTo>
                  <a:pt x="648" y="228"/>
                </a:lnTo>
                <a:lnTo>
                  <a:pt x="654" y="222"/>
                </a:lnTo>
                <a:lnTo>
                  <a:pt x="726" y="198"/>
                </a:lnTo>
                <a:lnTo>
                  <a:pt x="750" y="186"/>
                </a:lnTo>
                <a:lnTo>
                  <a:pt x="756" y="174"/>
                </a:lnTo>
                <a:lnTo>
                  <a:pt x="768" y="168"/>
                </a:lnTo>
                <a:lnTo>
                  <a:pt x="774" y="168"/>
                </a:lnTo>
                <a:lnTo>
                  <a:pt x="786" y="156"/>
                </a:lnTo>
                <a:lnTo>
                  <a:pt x="798" y="156"/>
                </a:lnTo>
                <a:lnTo>
                  <a:pt x="804" y="15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4" name="South Africa">
            <a:hlinkClick r:id="rId3"/>
          </p:cNvPr>
          <p:cNvSpPr>
            <a:spLocks noEditPoints="1"/>
          </p:cNvSpPr>
          <p:nvPr/>
        </p:nvSpPr>
        <p:spPr bwMode="gray">
          <a:xfrm>
            <a:off x="4480783" y="4979068"/>
            <a:ext cx="457200" cy="411162"/>
          </a:xfrm>
          <a:custGeom>
            <a:avLst/>
            <a:gdLst>
              <a:gd name="T0" fmla="*/ 2147483647 w 1134"/>
              <a:gd name="T1" fmla="*/ 2147483647 h 1020"/>
              <a:gd name="T2" fmla="*/ 2147483647 w 1134"/>
              <a:gd name="T3" fmla="*/ 2147483647 h 1020"/>
              <a:gd name="T4" fmla="*/ 2147483647 w 1134"/>
              <a:gd name="T5" fmla="*/ 2147483647 h 1020"/>
              <a:gd name="T6" fmla="*/ 2147483647 w 1134"/>
              <a:gd name="T7" fmla="*/ 2147483647 h 1020"/>
              <a:gd name="T8" fmla="*/ 2147483647 w 1134"/>
              <a:gd name="T9" fmla="*/ 2147483647 h 1020"/>
              <a:gd name="T10" fmla="*/ 2147483647 w 1134"/>
              <a:gd name="T11" fmla="*/ 2147483647 h 1020"/>
              <a:gd name="T12" fmla="*/ 2147483647 w 1134"/>
              <a:gd name="T13" fmla="*/ 2147483647 h 1020"/>
              <a:gd name="T14" fmla="*/ 2147483647 w 1134"/>
              <a:gd name="T15" fmla="*/ 2147483647 h 1020"/>
              <a:gd name="T16" fmla="*/ 2147483647 w 1134"/>
              <a:gd name="T17" fmla="*/ 2147483647 h 1020"/>
              <a:gd name="T18" fmla="*/ 2147483647 w 1134"/>
              <a:gd name="T19" fmla="*/ 2147483647 h 1020"/>
              <a:gd name="T20" fmla="*/ 2147483647 w 1134"/>
              <a:gd name="T21" fmla="*/ 2147483647 h 1020"/>
              <a:gd name="T22" fmla="*/ 2147483647 w 1134"/>
              <a:gd name="T23" fmla="*/ 2147483647 h 1020"/>
              <a:gd name="T24" fmla="*/ 2147483647 w 1134"/>
              <a:gd name="T25" fmla="*/ 2147483647 h 1020"/>
              <a:gd name="T26" fmla="*/ 2147483647 w 1134"/>
              <a:gd name="T27" fmla="*/ 2147483647 h 1020"/>
              <a:gd name="T28" fmla="*/ 2147483647 w 1134"/>
              <a:gd name="T29" fmla="*/ 2147483647 h 1020"/>
              <a:gd name="T30" fmla="*/ 2147483647 w 1134"/>
              <a:gd name="T31" fmla="*/ 2147483647 h 1020"/>
              <a:gd name="T32" fmla="*/ 2147483647 w 1134"/>
              <a:gd name="T33" fmla="*/ 2147483647 h 1020"/>
              <a:gd name="T34" fmla="*/ 2147483647 w 1134"/>
              <a:gd name="T35" fmla="*/ 2147483647 h 1020"/>
              <a:gd name="T36" fmla="*/ 2147483647 w 1134"/>
              <a:gd name="T37" fmla="*/ 2147483647 h 1020"/>
              <a:gd name="T38" fmla="*/ 2147483647 w 1134"/>
              <a:gd name="T39" fmla="*/ 2147483647 h 1020"/>
              <a:gd name="T40" fmla="*/ 2147483647 w 1134"/>
              <a:gd name="T41" fmla="*/ 2147483647 h 1020"/>
              <a:gd name="T42" fmla="*/ 2147483647 w 1134"/>
              <a:gd name="T43" fmla="*/ 2147483647 h 1020"/>
              <a:gd name="T44" fmla="*/ 2147483647 w 1134"/>
              <a:gd name="T45" fmla="*/ 2147483647 h 1020"/>
              <a:gd name="T46" fmla="*/ 2147483647 w 1134"/>
              <a:gd name="T47" fmla="*/ 2147483647 h 1020"/>
              <a:gd name="T48" fmla="*/ 2147483647 w 1134"/>
              <a:gd name="T49" fmla="*/ 2147483647 h 1020"/>
              <a:gd name="T50" fmla="*/ 2147483647 w 1134"/>
              <a:gd name="T51" fmla="*/ 2147483647 h 1020"/>
              <a:gd name="T52" fmla="*/ 2147483647 w 1134"/>
              <a:gd name="T53" fmla="*/ 2147483647 h 1020"/>
              <a:gd name="T54" fmla="*/ 2147483647 w 1134"/>
              <a:gd name="T55" fmla="*/ 2147483647 h 1020"/>
              <a:gd name="T56" fmla="*/ 2147483647 w 1134"/>
              <a:gd name="T57" fmla="*/ 2147483647 h 1020"/>
              <a:gd name="T58" fmla="*/ 2147483647 w 1134"/>
              <a:gd name="T59" fmla="*/ 2147483647 h 1020"/>
              <a:gd name="T60" fmla="*/ 2147483647 w 1134"/>
              <a:gd name="T61" fmla="*/ 2147483647 h 1020"/>
              <a:gd name="T62" fmla="*/ 0 w 1134"/>
              <a:gd name="T63" fmla="*/ 2147483647 h 1020"/>
              <a:gd name="T64" fmla="*/ 2147483647 w 1134"/>
              <a:gd name="T65" fmla="*/ 2147483647 h 1020"/>
              <a:gd name="T66" fmla="*/ 2147483647 w 1134"/>
              <a:gd name="T67" fmla="*/ 2147483647 h 1020"/>
              <a:gd name="T68" fmla="*/ 2147483647 w 1134"/>
              <a:gd name="T69" fmla="*/ 2147483647 h 1020"/>
              <a:gd name="T70" fmla="*/ 2147483647 w 1134"/>
              <a:gd name="T71" fmla="*/ 2147483647 h 1020"/>
              <a:gd name="T72" fmla="*/ 2147483647 w 1134"/>
              <a:gd name="T73" fmla="*/ 2147483647 h 1020"/>
              <a:gd name="T74" fmla="*/ 2147483647 w 1134"/>
              <a:gd name="T75" fmla="*/ 2147483647 h 1020"/>
              <a:gd name="T76" fmla="*/ 2147483647 w 1134"/>
              <a:gd name="T77" fmla="*/ 2147483647 h 1020"/>
              <a:gd name="T78" fmla="*/ 2147483647 w 1134"/>
              <a:gd name="T79" fmla="*/ 2147483647 h 1020"/>
              <a:gd name="T80" fmla="*/ 2147483647 w 1134"/>
              <a:gd name="T81" fmla="*/ 2147483647 h 1020"/>
              <a:gd name="T82" fmla="*/ 2147483647 w 1134"/>
              <a:gd name="T83" fmla="*/ 2147483647 h 1020"/>
              <a:gd name="T84" fmla="*/ 2147483647 w 1134"/>
              <a:gd name="T85" fmla="*/ 2147483647 h 1020"/>
              <a:gd name="T86" fmla="*/ 2147483647 w 1134"/>
              <a:gd name="T87" fmla="*/ 2147483647 h 1020"/>
              <a:gd name="T88" fmla="*/ 2147483647 w 1134"/>
              <a:gd name="T89" fmla="*/ 2147483647 h 1020"/>
              <a:gd name="T90" fmla="*/ 2147483647 w 1134"/>
              <a:gd name="T91" fmla="*/ 2147483647 h 1020"/>
              <a:gd name="T92" fmla="*/ 2147483647 w 1134"/>
              <a:gd name="T93" fmla="*/ 2147483647 h 1020"/>
              <a:gd name="T94" fmla="*/ 2147483647 w 1134"/>
              <a:gd name="T95" fmla="*/ 2147483647 h 1020"/>
              <a:gd name="T96" fmla="*/ 2147483647 w 1134"/>
              <a:gd name="T97" fmla="*/ 2147483647 h 1020"/>
              <a:gd name="T98" fmla="*/ 2147483647 w 1134"/>
              <a:gd name="T99" fmla="*/ 2147483647 h 1020"/>
              <a:gd name="T100" fmla="*/ 2147483647 w 1134"/>
              <a:gd name="T101" fmla="*/ 2147483647 h 1020"/>
              <a:gd name="T102" fmla="*/ 2147483647 w 1134"/>
              <a:gd name="T103" fmla="*/ 2147483647 h 1020"/>
              <a:gd name="T104" fmla="*/ 2147483647 w 1134"/>
              <a:gd name="T105" fmla="*/ 2147483647 h 1020"/>
              <a:gd name="T106" fmla="*/ 2147483647 w 1134"/>
              <a:gd name="T107" fmla="*/ 2147483647 h 1020"/>
              <a:gd name="T108" fmla="*/ 2147483647 w 1134"/>
              <a:gd name="T109" fmla="*/ 2147483647 h 1020"/>
              <a:gd name="T110" fmla="*/ 2147483647 w 1134"/>
              <a:gd name="T111" fmla="*/ 2147483647 h 1020"/>
              <a:gd name="T112" fmla="*/ 2147483647 w 1134"/>
              <a:gd name="T113" fmla="*/ 2147483647 h 1020"/>
              <a:gd name="T114" fmla="*/ 2147483647 w 1134"/>
              <a:gd name="T115" fmla="*/ 2147483647 h 1020"/>
              <a:gd name="T116" fmla="*/ 2147483647 w 1134"/>
              <a:gd name="T117" fmla="*/ 2147483647 h 1020"/>
              <a:gd name="T118" fmla="*/ 2147483647 w 1134"/>
              <a:gd name="T119" fmla="*/ 2147483647 h 1020"/>
              <a:gd name="T120" fmla="*/ 2147483647 w 1134"/>
              <a:gd name="T121" fmla="*/ 2147483647 h 1020"/>
              <a:gd name="T122" fmla="*/ 2147483647 w 1134"/>
              <a:gd name="T123" fmla="*/ 2147483647 h 1020"/>
              <a:gd name="T124" fmla="*/ 2147483647 w 1134"/>
              <a:gd name="T125" fmla="*/ 2147483647 h 102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34"/>
              <a:gd name="T190" fmla="*/ 0 h 1020"/>
              <a:gd name="T191" fmla="*/ 1134 w 1134"/>
              <a:gd name="T192" fmla="*/ 1020 h 102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34" h="1020">
                <a:moveTo>
                  <a:pt x="1116" y="372"/>
                </a:moveTo>
                <a:lnTo>
                  <a:pt x="1098" y="372"/>
                </a:lnTo>
                <a:lnTo>
                  <a:pt x="1092" y="378"/>
                </a:lnTo>
                <a:lnTo>
                  <a:pt x="1086" y="378"/>
                </a:lnTo>
                <a:lnTo>
                  <a:pt x="1074" y="420"/>
                </a:lnTo>
                <a:lnTo>
                  <a:pt x="1062" y="420"/>
                </a:lnTo>
                <a:lnTo>
                  <a:pt x="1050" y="414"/>
                </a:lnTo>
                <a:lnTo>
                  <a:pt x="1032" y="414"/>
                </a:lnTo>
                <a:lnTo>
                  <a:pt x="1020" y="402"/>
                </a:lnTo>
                <a:lnTo>
                  <a:pt x="1008" y="396"/>
                </a:lnTo>
                <a:lnTo>
                  <a:pt x="996" y="372"/>
                </a:lnTo>
                <a:lnTo>
                  <a:pt x="996" y="348"/>
                </a:lnTo>
                <a:lnTo>
                  <a:pt x="1002" y="336"/>
                </a:lnTo>
                <a:lnTo>
                  <a:pt x="1014" y="324"/>
                </a:lnTo>
                <a:lnTo>
                  <a:pt x="1014" y="312"/>
                </a:lnTo>
                <a:lnTo>
                  <a:pt x="1020" y="300"/>
                </a:lnTo>
                <a:lnTo>
                  <a:pt x="1032" y="288"/>
                </a:lnTo>
                <a:lnTo>
                  <a:pt x="1038" y="288"/>
                </a:lnTo>
                <a:lnTo>
                  <a:pt x="1050" y="294"/>
                </a:lnTo>
                <a:lnTo>
                  <a:pt x="1062" y="306"/>
                </a:lnTo>
                <a:lnTo>
                  <a:pt x="1086" y="270"/>
                </a:lnTo>
                <a:lnTo>
                  <a:pt x="1086" y="180"/>
                </a:lnTo>
                <a:lnTo>
                  <a:pt x="1056" y="120"/>
                </a:lnTo>
                <a:lnTo>
                  <a:pt x="1056" y="102"/>
                </a:lnTo>
                <a:lnTo>
                  <a:pt x="1050" y="90"/>
                </a:lnTo>
                <a:lnTo>
                  <a:pt x="1050" y="72"/>
                </a:lnTo>
                <a:lnTo>
                  <a:pt x="1044" y="54"/>
                </a:lnTo>
                <a:lnTo>
                  <a:pt x="1044" y="24"/>
                </a:lnTo>
                <a:lnTo>
                  <a:pt x="1026" y="12"/>
                </a:lnTo>
                <a:lnTo>
                  <a:pt x="966" y="12"/>
                </a:lnTo>
                <a:lnTo>
                  <a:pt x="954" y="6"/>
                </a:lnTo>
                <a:lnTo>
                  <a:pt x="948" y="6"/>
                </a:lnTo>
                <a:lnTo>
                  <a:pt x="936" y="0"/>
                </a:lnTo>
                <a:lnTo>
                  <a:pt x="876" y="0"/>
                </a:lnTo>
                <a:lnTo>
                  <a:pt x="864" y="24"/>
                </a:lnTo>
                <a:lnTo>
                  <a:pt x="852" y="24"/>
                </a:lnTo>
                <a:lnTo>
                  <a:pt x="840" y="30"/>
                </a:lnTo>
                <a:lnTo>
                  <a:pt x="828" y="30"/>
                </a:lnTo>
                <a:lnTo>
                  <a:pt x="822" y="36"/>
                </a:lnTo>
                <a:lnTo>
                  <a:pt x="810" y="60"/>
                </a:lnTo>
                <a:lnTo>
                  <a:pt x="768" y="102"/>
                </a:lnTo>
                <a:lnTo>
                  <a:pt x="756" y="108"/>
                </a:lnTo>
                <a:lnTo>
                  <a:pt x="750" y="108"/>
                </a:lnTo>
                <a:lnTo>
                  <a:pt x="738" y="114"/>
                </a:lnTo>
                <a:lnTo>
                  <a:pt x="726" y="138"/>
                </a:lnTo>
                <a:lnTo>
                  <a:pt x="726" y="174"/>
                </a:lnTo>
                <a:lnTo>
                  <a:pt x="714" y="180"/>
                </a:lnTo>
                <a:lnTo>
                  <a:pt x="708" y="192"/>
                </a:lnTo>
                <a:lnTo>
                  <a:pt x="702" y="198"/>
                </a:lnTo>
                <a:lnTo>
                  <a:pt x="690" y="204"/>
                </a:lnTo>
                <a:lnTo>
                  <a:pt x="672" y="210"/>
                </a:lnTo>
                <a:lnTo>
                  <a:pt x="654" y="228"/>
                </a:lnTo>
                <a:lnTo>
                  <a:pt x="654" y="240"/>
                </a:lnTo>
                <a:lnTo>
                  <a:pt x="648" y="252"/>
                </a:lnTo>
                <a:lnTo>
                  <a:pt x="642" y="270"/>
                </a:lnTo>
                <a:lnTo>
                  <a:pt x="636" y="282"/>
                </a:lnTo>
                <a:lnTo>
                  <a:pt x="630" y="288"/>
                </a:lnTo>
                <a:lnTo>
                  <a:pt x="618" y="294"/>
                </a:lnTo>
                <a:lnTo>
                  <a:pt x="606" y="294"/>
                </a:lnTo>
                <a:lnTo>
                  <a:pt x="600" y="288"/>
                </a:lnTo>
                <a:lnTo>
                  <a:pt x="594" y="294"/>
                </a:lnTo>
                <a:lnTo>
                  <a:pt x="582" y="300"/>
                </a:lnTo>
                <a:lnTo>
                  <a:pt x="570" y="300"/>
                </a:lnTo>
                <a:lnTo>
                  <a:pt x="564" y="294"/>
                </a:lnTo>
                <a:lnTo>
                  <a:pt x="552" y="288"/>
                </a:lnTo>
                <a:lnTo>
                  <a:pt x="546" y="282"/>
                </a:lnTo>
                <a:lnTo>
                  <a:pt x="516" y="282"/>
                </a:lnTo>
                <a:lnTo>
                  <a:pt x="504" y="270"/>
                </a:lnTo>
                <a:lnTo>
                  <a:pt x="492" y="264"/>
                </a:lnTo>
                <a:lnTo>
                  <a:pt x="486" y="258"/>
                </a:lnTo>
                <a:lnTo>
                  <a:pt x="474" y="252"/>
                </a:lnTo>
                <a:lnTo>
                  <a:pt x="462" y="252"/>
                </a:lnTo>
                <a:lnTo>
                  <a:pt x="450" y="258"/>
                </a:lnTo>
                <a:lnTo>
                  <a:pt x="444" y="264"/>
                </a:lnTo>
                <a:lnTo>
                  <a:pt x="438" y="276"/>
                </a:lnTo>
                <a:lnTo>
                  <a:pt x="438" y="288"/>
                </a:lnTo>
                <a:lnTo>
                  <a:pt x="432" y="300"/>
                </a:lnTo>
                <a:lnTo>
                  <a:pt x="432" y="324"/>
                </a:lnTo>
                <a:lnTo>
                  <a:pt x="420" y="324"/>
                </a:lnTo>
                <a:lnTo>
                  <a:pt x="414" y="330"/>
                </a:lnTo>
                <a:lnTo>
                  <a:pt x="408" y="330"/>
                </a:lnTo>
                <a:lnTo>
                  <a:pt x="402" y="336"/>
                </a:lnTo>
                <a:lnTo>
                  <a:pt x="396" y="348"/>
                </a:lnTo>
                <a:lnTo>
                  <a:pt x="390" y="354"/>
                </a:lnTo>
                <a:lnTo>
                  <a:pt x="390" y="360"/>
                </a:lnTo>
                <a:lnTo>
                  <a:pt x="366" y="360"/>
                </a:lnTo>
                <a:lnTo>
                  <a:pt x="366" y="378"/>
                </a:lnTo>
                <a:lnTo>
                  <a:pt x="288" y="378"/>
                </a:lnTo>
                <a:lnTo>
                  <a:pt x="288" y="348"/>
                </a:lnTo>
                <a:lnTo>
                  <a:pt x="294" y="336"/>
                </a:lnTo>
                <a:lnTo>
                  <a:pt x="294" y="330"/>
                </a:lnTo>
                <a:lnTo>
                  <a:pt x="300" y="318"/>
                </a:lnTo>
                <a:lnTo>
                  <a:pt x="300" y="294"/>
                </a:lnTo>
                <a:lnTo>
                  <a:pt x="294" y="288"/>
                </a:lnTo>
                <a:lnTo>
                  <a:pt x="294" y="270"/>
                </a:lnTo>
                <a:lnTo>
                  <a:pt x="288" y="258"/>
                </a:lnTo>
                <a:lnTo>
                  <a:pt x="282" y="240"/>
                </a:lnTo>
                <a:lnTo>
                  <a:pt x="276" y="234"/>
                </a:lnTo>
                <a:lnTo>
                  <a:pt x="264" y="228"/>
                </a:lnTo>
                <a:lnTo>
                  <a:pt x="258" y="222"/>
                </a:lnTo>
                <a:lnTo>
                  <a:pt x="246" y="216"/>
                </a:lnTo>
                <a:lnTo>
                  <a:pt x="240" y="510"/>
                </a:lnTo>
                <a:lnTo>
                  <a:pt x="222" y="510"/>
                </a:lnTo>
                <a:lnTo>
                  <a:pt x="210" y="516"/>
                </a:lnTo>
                <a:lnTo>
                  <a:pt x="204" y="522"/>
                </a:lnTo>
                <a:lnTo>
                  <a:pt x="204" y="528"/>
                </a:lnTo>
                <a:lnTo>
                  <a:pt x="192" y="528"/>
                </a:lnTo>
                <a:lnTo>
                  <a:pt x="192" y="552"/>
                </a:lnTo>
                <a:lnTo>
                  <a:pt x="168" y="552"/>
                </a:lnTo>
                <a:lnTo>
                  <a:pt x="156" y="540"/>
                </a:lnTo>
                <a:lnTo>
                  <a:pt x="144" y="540"/>
                </a:lnTo>
                <a:lnTo>
                  <a:pt x="132" y="552"/>
                </a:lnTo>
                <a:lnTo>
                  <a:pt x="108" y="552"/>
                </a:lnTo>
                <a:lnTo>
                  <a:pt x="102" y="546"/>
                </a:lnTo>
                <a:lnTo>
                  <a:pt x="102" y="540"/>
                </a:lnTo>
                <a:lnTo>
                  <a:pt x="96" y="534"/>
                </a:lnTo>
                <a:lnTo>
                  <a:pt x="72" y="534"/>
                </a:lnTo>
                <a:lnTo>
                  <a:pt x="66" y="528"/>
                </a:lnTo>
                <a:lnTo>
                  <a:pt x="60" y="516"/>
                </a:lnTo>
                <a:lnTo>
                  <a:pt x="60" y="492"/>
                </a:lnTo>
                <a:lnTo>
                  <a:pt x="42" y="474"/>
                </a:lnTo>
                <a:lnTo>
                  <a:pt x="36" y="474"/>
                </a:lnTo>
                <a:lnTo>
                  <a:pt x="30" y="480"/>
                </a:lnTo>
                <a:lnTo>
                  <a:pt x="30" y="486"/>
                </a:lnTo>
                <a:lnTo>
                  <a:pt x="24" y="498"/>
                </a:lnTo>
                <a:lnTo>
                  <a:pt x="18" y="504"/>
                </a:lnTo>
                <a:lnTo>
                  <a:pt x="18" y="510"/>
                </a:lnTo>
                <a:lnTo>
                  <a:pt x="0" y="522"/>
                </a:lnTo>
                <a:lnTo>
                  <a:pt x="0" y="516"/>
                </a:lnTo>
                <a:lnTo>
                  <a:pt x="0" y="528"/>
                </a:lnTo>
                <a:lnTo>
                  <a:pt x="6" y="540"/>
                </a:lnTo>
                <a:lnTo>
                  <a:pt x="6" y="552"/>
                </a:lnTo>
                <a:lnTo>
                  <a:pt x="36" y="582"/>
                </a:lnTo>
                <a:lnTo>
                  <a:pt x="42" y="600"/>
                </a:lnTo>
                <a:lnTo>
                  <a:pt x="42" y="648"/>
                </a:lnTo>
                <a:lnTo>
                  <a:pt x="48" y="672"/>
                </a:lnTo>
                <a:lnTo>
                  <a:pt x="54" y="690"/>
                </a:lnTo>
                <a:lnTo>
                  <a:pt x="72" y="714"/>
                </a:lnTo>
                <a:lnTo>
                  <a:pt x="96" y="738"/>
                </a:lnTo>
                <a:lnTo>
                  <a:pt x="114" y="762"/>
                </a:lnTo>
                <a:lnTo>
                  <a:pt x="120" y="786"/>
                </a:lnTo>
                <a:lnTo>
                  <a:pt x="120" y="834"/>
                </a:lnTo>
                <a:lnTo>
                  <a:pt x="114" y="846"/>
                </a:lnTo>
                <a:lnTo>
                  <a:pt x="114" y="852"/>
                </a:lnTo>
                <a:lnTo>
                  <a:pt x="90" y="852"/>
                </a:lnTo>
                <a:lnTo>
                  <a:pt x="90" y="876"/>
                </a:lnTo>
                <a:lnTo>
                  <a:pt x="96" y="888"/>
                </a:lnTo>
                <a:lnTo>
                  <a:pt x="108" y="906"/>
                </a:lnTo>
                <a:lnTo>
                  <a:pt x="114" y="918"/>
                </a:lnTo>
                <a:lnTo>
                  <a:pt x="114" y="960"/>
                </a:lnTo>
                <a:lnTo>
                  <a:pt x="120" y="972"/>
                </a:lnTo>
                <a:lnTo>
                  <a:pt x="120" y="978"/>
                </a:lnTo>
                <a:lnTo>
                  <a:pt x="126" y="978"/>
                </a:lnTo>
                <a:lnTo>
                  <a:pt x="126" y="972"/>
                </a:lnTo>
                <a:lnTo>
                  <a:pt x="132" y="966"/>
                </a:lnTo>
                <a:lnTo>
                  <a:pt x="144" y="966"/>
                </a:lnTo>
                <a:lnTo>
                  <a:pt x="150" y="972"/>
                </a:lnTo>
                <a:lnTo>
                  <a:pt x="180" y="984"/>
                </a:lnTo>
                <a:lnTo>
                  <a:pt x="180" y="996"/>
                </a:lnTo>
                <a:lnTo>
                  <a:pt x="204" y="1020"/>
                </a:lnTo>
                <a:lnTo>
                  <a:pt x="216" y="1020"/>
                </a:lnTo>
                <a:lnTo>
                  <a:pt x="240" y="1008"/>
                </a:lnTo>
                <a:lnTo>
                  <a:pt x="246" y="996"/>
                </a:lnTo>
                <a:lnTo>
                  <a:pt x="252" y="990"/>
                </a:lnTo>
                <a:lnTo>
                  <a:pt x="264" y="984"/>
                </a:lnTo>
                <a:lnTo>
                  <a:pt x="294" y="984"/>
                </a:lnTo>
                <a:lnTo>
                  <a:pt x="306" y="990"/>
                </a:lnTo>
                <a:lnTo>
                  <a:pt x="354" y="990"/>
                </a:lnTo>
                <a:lnTo>
                  <a:pt x="354" y="984"/>
                </a:lnTo>
                <a:lnTo>
                  <a:pt x="360" y="978"/>
                </a:lnTo>
                <a:lnTo>
                  <a:pt x="360" y="966"/>
                </a:lnTo>
                <a:lnTo>
                  <a:pt x="366" y="960"/>
                </a:lnTo>
                <a:lnTo>
                  <a:pt x="378" y="954"/>
                </a:lnTo>
                <a:lnTo>
                  <a:pt x="408" y="954"/>
                </a:lnTo>
                <a:lnTo>
                  <a:pt x="420" y="960"/>
                </a:lnTo>
                <a:lnTo>
                  <a:pt x="432" y="960"/>
                </a:lnTo>
                <a:lnTo>
                  <a:pt x="438" y="966"/>
                </a:lnTo>
                <a:lnTo>
                  <a:pt x="444" y="960"/>
                </a:lnTo>
                <a:lnTo>
                  <a:pt x="456" y="960"/>
                </a:lnTo>
                <a:lnTo>
                  <a:pt x="468" y="954"/>
                </a:lnTo>
                <a:lnTo>
                  <a:pt x="504" y="954"/>
                </a:lnTo>
                <a:lnTo>
                  <a:pt x="522" y="960"/>
                </a:lnTo>
                <a:lnTo>
                  <a:pt x="534" y="966"/>
                </a:lnTo>
                <a:lnTo>
                  <a:pt x="552" y="966"/>
                </a:lnTo>
                <a:lnTo>
                  <a:pt x="558" y="960"/>
                </a:lnTo>
                <a:lnTo>
                  <a:pt x="570" y="954"/>
                </a:lnTo>
                <a:lnTo>
                  <a:pt x="606" y="954"/>
                </a:lnTo>
                <a:lnTo>
                  <a:pt x="618" y="948"/>
                </a:lnTo>
                <a:lnTo>
                  <a:pt x="624" y="942"/>
                </a:lnTo>
                <a:lnTo>
                  <a:pt x="636" y="936"/>
                </a:lnTo>
                <a:lnTo>
                  <a:pt x="684" y="936"/>
                </a:lnTo>
                <a:lnTo>
                  <a:pt x="708" y="924"/>
                </a:lnTo>
                <a:lnTo>
                  <a:pt x="720" y="912"/>
                </a:lnTo>
                <a:lnTo>
                  <a:pt x="738" y="900"/>
                </a:lnTo>
                <a:lnTo>
                  <a:pt x="774" y="864"/>
                </a:lnTo>
                <a:lnTo>
                  <a:pt x="786" y="858"/>
                </a:lnTo>
                <a:lnTo>
                  <a:pt x="804" y="846"/>
                </a:lnTo>
                <a:lnTo>
                  <a:pt x="900" y="750"/>
                </a:lnTo>
                <a:lnTo>
                  <a:pt x="918" y="750"/>
                </a:lnTo>
                <a:lnTo>
                  <a:pt x="924" y="744"/>
                </a:lnTo>
                <a:lnTo>
                  <a:pt x="960" y="696"/>
                </a:lnTo>
                <a:lnTo>
                  <a:pt x="972" y="672"/>
                </a:lnTo>
                <a:lnTo>
                  <a:pt x="984" y="654"/>
                </a:lnTo>
                <a:lnTo>
                  <a:pt x="990" y="642"/>
                </a:lnTo>
                <a:lnTo>
                  <a:pt x="1002" y="606"/>
                </a:lnTo>
                <a:lnTo>
                  <a:pt x="1014" y="588"/>
                </a:lnTo>
                <a:lnTo>
                  <a:pt x="1020" y="576"/>
                </a:lnTo>
                <a:lnTo>
                  <a:pt x="1026" y="570"/>
                </a:lnTo>
                <a:lnTo>
                  <a:pt x="1038" y="564"/>
                </a:lnTo>
                <a:lnTo>
                  <a:pt x="1050" y="552"/>
                </a:lnTo>
                <a:lnTo>
                  <a:pt x="1068" y="546"/>
                </a:lnTo>
                <a:lnTo>
                  <a:pt x="1086" y="534"/>
                </a:lnTo>
                <a:lnTo>
                  <a:pt x="1098" y="510"/>
                </a:lnTo>
                <a:lnTo>
                  <a:pt x="1098" y="498"/>
                </a:lnTo>
                <a:lnTo>
                  <a:pt x="1104" y="486"/>
                </a:lnTo>
                <a:lnTo>
                  <a:pt x="1110" y="468"/>
                </a:lnTo>
                <a:lnTo>
                  <a:pt x="1116" y="456"/>
                </a:lnTo>
                <a:lnTo>
                  <a:pt x="1122" y="450"/>
                </a:lnTo>
                <a:lnTo>
                  <a:pt x="1122" y="438"/>
                </a:lnTo>
                <a:lnTo>
                  <a:pt x="1128" y="432"/>
                </a:lnTo>
                <a:lnTo>
                  <a:pt x="1128" y="414"/>
                </a:lnTo>
                <a:lnTo>
                  <a:pt x="1134" y="396"/>
                </a:lnTo>
                <a:lnTo>
                  <a:pt x="1128" y="384"/>
                </a:lnTo>
                <a:lnTo>
                  <a:pt x="1116" y="372"/>
                </a:lnTo>
                <a:close/>
                <a:moveTo>
                  <a:pt x="870" y="624"/>
                </a:moveTo>
                <a:lnTo>
                  <a:pt x="858" y="630"/>
                </a:lnTo>
                <a:lnTo>
                  <a:pt x="852" y="636"/>
                </a:lnTo>
                <a:lnTo>
                  <a:pt x="840" y="642"/>
                </a:lnTo>
                <a:lnTo>
                  <a:pt x="822" y="642"/>
                </a:lnTo>
                <a:lnTo>
                  <a:pt x="810" y="648"/>
                </a:lnTo>
                <a:lnTo>
                  <a:pt x="804" y="654"/>
                </a:lnTo>
                <a:lnTo>
                  <a:pt x="798" y="666"/>
                </a:lnTo>
                <a:lnTo>
                  <a:pt x="792" y="672"/>
                </a:lnTo>
                <a:lnTo>
                  <a:pt x="792" y="684"/>
                </a:lnTo>
                <a:lnTo>
                  <a:pt x="774" y="684"/>
                </a:lnTo>
                <a:lnTo>
                  <a:pt x="744" y="654"/>
                </a:lnTo>
                <a:lnTo>
                  <a:pt x="744" y="636"/>
                </a:lnTo>
                <a:lnTo>
                  <a:pt x="720" y="600"/>
                </a:lnTo>
                <a:lnTo>
                  <a:pt x="744" y="600"/>
                </a:lnTo>
                <a:lnTo>
                  <a:pt x="750" y="582"/>
                </a:lnTo>
                <a:lnTo>
                  <a:pt x="768" y="564"/>
                </a:lnTo>
                <a:lnTo>
                  <a:pt x="768" y="546"/>
                </a:lnTo>
                <a:lnTo>
                  <a:pt x="774" y="540"/>
                </a:lnTo>
                <a:lnTo>
                  <a:pt x="798" y="540"/>
                </a:lnTo>
                <a:lnTo>
                  <a:pt x="798" y="528"/>
                </a:lnTo>
                <a:lnTo>
                  <a:pt x="810" y="522"/>
                </a:lnTo>
                <a:lnTo>
                  <a:pt x="846" y="522"/>
                </a:lnTo>
                <a:lnTo>
                  <a:pt x="852" y="528"/>
                </a:lnTo>
                <a:lnTo>
                  <a:pt x="858" y="540"/>
                </a:lnTo>
                <a:lnTo>
                  <a:pt x="864" y="546"/>
                </a:lnTo>
                <a:lnTo>
                  <a:pt x="870" y="558"/>
                </a:lnTo>
                <a:lnTo>
                  <a:pt x="882" y="564"/>
                </a:lnTo>
                <a:lnTo>
                  <a:pt x="888" y="588"/>
                </a:lnTo>
                <a:lnTo>
                  <a:pt x="864" y="606"/>
                </a:lnTo>
                <a:lnTo>
                  <a:pt x="870" y="624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5" name="Somalia"/>
          <p:cNvSpPr>
            <a:spLocks/>
          </p:cNvSpPr>
          <p:nvPr/>
        </p:nvSpPr>
        <p:spPr bwMode="gray">
          <a:xfrm>
            <a:off x="5191983" y="3869405"/>
            <a:ext cx="287338" cy="446088"/>
          </a:xfrm>
          <a:custGeom>
            <a:avLst/>
            <a:gdLst>
              <a:gd name="T0" fmla="*/ 2147483647 w 714"/>
              <a:gd name="T1" fmla="*/ 2147483647 h 1104"/>
              <a:gd name="T2" fmla="*/ 2147483647 w 714"/>
              <a:gd name="T3" fmla="*/ 2147483647 h 1104"/>
              <a:gd name="T4" fmla="*/ 2147483647 w 714"/>
              <a:gd name="T5" fmla="*/ 2147483647 h 1104"/>
              <a:gd name="T6" fmla="*/ 2147483647 w 714"/>
              <a:gd name="T7" fmla="*/ 2147483647 h 1104"/>
              <a:gd name="T8" fmla="*/ 2147483647 w 714"/>
              <a:gd name="T9" fmla="*/ 2147483647 h 1104"/>
              <a:gd name="T10" fmla="*/ 2147483647 w 714"/>
              <a:gd name="T11" fmla="*/ 2147483647 h 1104"/>
              <a:gd name="T12" fmla="*/ 2147483647 w 714"/>
              <a:gd name="T13" fmla="*/ 2147483647 h 1104"/>
              <a:gd name="T14" fmla="*/ 2147483647 w 714"/>
              <a:gd name="T15" fmla="*/ 2147483647 h 1104"/>
              <a:gd name="T16" fmla="*/ 2147483647 w 714"/>
              <a:gd name="T17" fmla="*/ 2147483647 h 1104"/>
              <a:gd name="T18" fmla="*/ 2147483647 w 714"/>
              <a:gd name="T19" fmla="*/ 2147483647 h 1104"/>
              <a:gd name="T20" fmla="*/ 2147483647 w 714"/>
              <a:gd name="T21" fmla="*/ 2147483647 h 1104"/>
              <a:gd name="T22" fmla="*/ 2147483647 w 714"/>
              <a:gd name="T23" fmla="*/ 2147483647 h 1104"/>
              <a:gd name="T24" fmla="*/ 0 w 714"/>
              <a:gd name="T25" fmla="*/ 2147483647 h 1104"/>
              <a:gd name="T26" fmla="*/ 2147483647 w 714"/>
              <a:gd name="T27" fmla="*/ 2147483647 h 1104"/>
              <a:gd name="T28" fmla="*/ 2147483647 w 714"/>
              <a:gd name="T29" fmla="*/ 2147483647 h 1104"/>
              <a:gd name="T30" fmla="*/ 2147483647 w 714"/>
              <a:gd name="T31" fmla="*/ 2147483647 h 1104"/>
              <a:gd name="T32" fmla="*/ 2147483647 w 714"/>
              <a:gd name="T33" fmla="*/ 2147483647 h 1104"/>
              <a:gd name="T34" fmla="*/ 2147483647 w 714"/>
              <a:gd name="T35" fmla="*/ 2147483647 h 1104"/>
              <a:gd name="T36" fmla="*/ 2147483647 w 714"/>
              <a:gd name="T37" fmla="*/ 2147483647 h 1104"/>
              <a:gd name="T38" fmla="*/ 2147483647 w 714"/>
              <a:gd name="T39" fmla="*/ 2147483647 h 1104"/>
              <a:gd name="T40" fmla="*/ 2147483647 w 714"/>
              <a:gd name="T41" fmla="*/ 2147483647 h 1104"/>
              <a:gd name="T42" fmla="*/ 2147483647 w 714"/>
              <a:gd name="T43" fmla="*/ 2147483647 h 1104"/>
              <a:gd name="T44" fmla="*/ 2147483647 w 714"/>
              <a:gd name="T45" fmla="*/ 2147483647 h 1104"/>
              <a:gd name="T46" fmla="*/ 2147483647 w 714"/>
              <a:gd name="T47" fmla="*/ 2147483647 h 1104"/>
              <a:gd name="T48" fmla="*/ 2147483647 w 714"/>
              <a:gd name="T49" fmla="*/ 2147483647 h 1104"/>
              <a:gd name="T50" fmla="*/ 2147483647 w 714"/>
              <a:gd name="T51" fmla="*/ 2147483647 h 1104"/>
              <a:gd name="T52" fmla="*/ 2147483647 w 714"/>
              <a:gd name="T53" fmla="*/ 2147483647 h 1104"/>
              <a:gd name="T54" fmla="*/ 2147483647 w 714"/>
              <a:gd name="T55" fmla="*/ 2147483647 h 1104"/>
              <a:gd name="T56" fmla="*/ 2147483647 w 714"/>
              <a:gd name="T57" fmla="*/ 2147483647 h 1104"/>
              <a:gd name="T58" fmla="*/ 2147483647 w 714"/>
              <a:gd name="T59" fmla="*/ 2147483647 h 1104"/>
              <a:gd name="T60" fmla="*/ 2147483647 w 714"/>
              <a:gd name="T61" fmla="*/ 2147483647 h 1104"/>
              <a:gd name="T62" fmla="*/ 2147483647 w 714"/>
              <a:gd name="T63" fmla="*/ 2147483647 h 1104"/>
              <a:gd name="T64" fmla="*/ 2147483647 w 714"/>
              <a:gd name="T65" fmla="*/ 2147483647 h 1104"/>
              <a:gd name="T66" fmla="*/ 2147483647 w 714"/>
              <a:gd name="T67" fmla="*/ 2147483647 h 1104"/>
              <a:gd name="T68" fmla="*/ 2147483647 w 714"/>
              <a:gd name="T69" fmla="*/ 2147483647 h 1104"/>
              <a:gd name="T70" fmla="*/ 2147483647 w 714"/>
              <a:gd name="T71" fmla="*/ 2147483647 h 1104"/>
              <a:gd name="T72" fmla="*/ 2147483647 w 714"/>
              <a:gd name="T73" fmla="*/ 2147483647 h 1104"/>
              <a:gd name="T74" fmla="*/ 2147483647 w 714"/>
              <a:gd name="T75" fmla="*/ 2147483647 h 1104"/>
              <a:gd name="T76" fmla="*/ 2147483647 w 714"/>
              <a:gd name="T77" fmla="*/ 2147483647 h 1104"/>
              <a:gd name="T78" fmla="*/ 2147483647 w 714"/>
              <a:gd name="T79" fmla="*/ 2147483647 h 1104"/>
              <a:gd name="T80" fmla="*/ 2147483647 w 714"/>
              <a:gd name="T81" fmla="*/ 2147483647 h 1104"/>
              <a:gd name="T82" fmla="*/ 2147483647 w 714"/>
              <a:gd name="T83" fmla="*/ 2147483647 h 1104"/>
              <a:gd name="T84" fmla="*/ 2147483647 w 714"/>
              <a:gd name="T85" fmla="*/ 2147483647 h 1104"/>
              <a:gd name="T86" fmla="*/ 2147483647 w 714"/>
              <a:gd name="T87" fmla="*/ 2147483647 h 110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714"/>
              <a:gd name="T133" fmla="*/ 0 h 1104"/>
              <a:gd name="T134" fmla="*/ 714 w 714"/>
              <a:gd name="T135" fmla="*/ 1104 h 110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714" h="1104">
                <a:moveTo>
                  <a:pt x="108" y="114"/>
                </a:moveTo>
                <a:lnTo>
                  <a:pt x="120" y="126"/>
                </a:lnTo>
                <a:lnTo>
                  <a:pt x="120" y="138"/>
                </a:lnTo>
                <a:lnTo>
                  <a:pt x="126" y="150"/>
                </a:lnTo>
                <a:lnTo>
                  <a:pt x="132" y="156"/>
                </a:lnTo>
                <a:lnTo>
                  <a:pt x="138" y="168"/>
                </a:lnTo>
                <a:lnTo>
                  <a:pt x="144" y="174"/>
                </a:lnTo>
                <a:lnTo>
                  <a:pt x="156" y="198"/>
                </a:lnTo>
                <a:lnTo>
                  <a:pt x="162" y="204"/>
                </a:lnTo>
                <a:lnTo>
                  <a:pt x="162" y="210"/>
                </a:lnTo>
                <a:lnTo>
                  <a:pt x="186" y="210"/>
                </a:lnTo>
                <a:lnTo>
                  <a:pt x="192" y="222"/>
                </a:lnTo>
                <a:lnTo>
                  <a:pt x="198" y="228"/>
                </a:lnTo>
                <a:lnTo>
                  <a:pt x="204" y="240"/>
                </a:lnTo>
                <a:lnTo>
                  <a:pt x="240" y="258"/>
                </a:lnTo>
                <a:lnTo>
                  <a:pt x="312" y="282"/>
                </a:lnTo>
                <a:lnTo>
                  <a:pt x="336" y="288"/>
                </a:lnTo>
                <a:lnTo>
                  <a:pt x="348" y="294"/>
                </a:lnTo>
                <a:lnTo>
                  <a:pt x="366" y="300"/>
                </a:lnTo>
                <a:lnTo>
                  <a:pt x="378" y="312"/>
                </a:lnTo>
                <a:lnTo>
                  <a:pt x="414" y="330"/>
                </a:lnTo>
                <a:lnTo>
                  <a:pt x="486" y="324"/>
                </a:lnTo>
                <a:lnTo>
                  <a:pt x="276" y="570"/>
                </a:lnTo>
                <a:lnTo>
                  <a:pt x="192" y="570"/>
                </a:lnTo>
                <a:lnTo>
                  <a:pt x="186" y="576"/>
                </a:lnTo>
                <a:lnTo>
                  <a:pt x="174" y="576"/>
                </a:lnTo>
                <a:lnTo>
                  <a:pt x="162" y="582"/>
                </a:lnTo>
                <a:lnTo>
                  <a:pt x="156" y="588"/>
                </a:lnTo>
                <a:lnTo>
                  <a:pt x="144" y="594"/>
                </a:lnTo>
                <a:lnTo>
                  <a:pt x="144" y="606"/>
                </a:lnTo>
                <a:lnTo>
                  <a:pt x="126" y="624"/>
                </a:lnTo>
                <a:lnTo>
                  <a:pt x="102" y="624"/>
                </a:lnTo>
                <a:lnTo>
                  <a:pt x="90" y="630"/>
                </a:lnTo>
                <a:lnTo>
                  <a:pt x="78" y="630"/>
                </a:lnTo>
                <a:lnTo>
                  <a:pt x="66" y="642"/>
                </a:lnTo>
                <a:lnTo>
                  <a:pt x="66" y="654"/>
                </a:lnTo>
                <a:lnTo>
                  <a:pt x="60" y="660"/>
                </a:lnTo>
                <a:lnTo>
                  <a:pt x="42" y="696"/>
                </a:lnTo>
                <a:lnTo>
                  <a:pt x="0" y="738"/>
                </a:lnTo>
                <a:lnTo>
                  <a:pt x="0" y="1038"/>
                </a:lnTo>
                <a:lnTo>
                  <a:pt x="42" y="1104"/>
                </a:lnTo>
                <a:lnTo>
                  <a:pt x="48" y="1086"/>
                </a:lnTo>
                <a:lnTo>
                  <a:pt x="84" y="1032"/>
                </a:lnTo>
                <a:lnTo>
                  <a:pt x="96" y="1008"/>
                </a:lnTo>
                <a:lnTo>
                  <a:pt x="114" y="996"/>
                </a:lnTo>
                <a:lnTo>
                  <a:pt x="144" y="966"/>
                </a:lnTo>
                <a:lnTo>
                  <a:pt x="150" y="954"/>
                </a:lnTo>
                <a:lnTo>
                  <a:pt x="162" y="936"/>
                </a:lnTo>
                <a:lnTo>
                  <a:pt x="192" y="906"/>
                </a:lnTo>
                <a:lnTo>
                  <a:pt x="216" y="876"/>
                </a:lnTo>
                <a:lnTo>
                  <a:pt x="246" y="846"/>
                </a:lnTo>
                <a:lnTo>
                  <a:pt x="264" y="840"/>
                </a:lnTo>
                <a:lnTo>
                  <a:pt x="276" y="828"/>
                </a:lnTo>
                <a:lnTo>
                  <a:pt x="294" y="816"/>
                </a:lnTo>
                <a:lnTo>
                  <a:pt x="318" y="804"/>
                </a:lnTo>
                <a:lnTo>
                  <a:pt x="336" y="786"/>
                </a:lnTo>
                <a:lnTo>
                  <a:pt x="372" y="756"/>
                </a:lnTo>
                <a:lnTo>
                  <a:pt x="420" y="708"/>
                </a:lnTo>
                <a:lnTo>
                  <a:pt x="438" y="684"/>
                </a:lnTo>
                <a:lnTo>
                  <a:pt x="462" y="654"/>
                </a:lnTo>
                <a:lnTo>
                  <a:pt x="492" y="618"/>
                </a:lnTo>
                <a:lnTo>
                  <a:pt x="516" y="570"/>
                </a:lnTo>
                <a:lnTo>
                  <a:pt x="528" y="540"/>
                </a:lnTo>
                <a:lnTo>
                  <a:pt x="546" y="516"/>
                </a:lnTo>
                <a:lnTo>
                  <a:pt x="558" y="498"/>
                </a:lnTo>
                <a:lnTo>
                  <a:pt x="564" y="492"/>
                </a:lnTo>
                <a:lnTo>
                  <a:pt x="570" y="480"/>
                </a:lnTo>
                <a:lnTo>
                  <a:pt x="576" y="474"/>
                </a:lnTo>
                <a:lnTo>
                  <a:pt x="576" y="450"/>
                </a:lnTo>
                <a:lnTo>
                  <a:pt x="582" y="432"/>
                </a:lnTo>
                <a:lnTo>
                  <a:pt x="588" y="420"/>
                </a:lnTo>
                <a:lnTo>
                  <a:pt x="588" y="402"/>
                </a:lnTo>
                <a:lnTo>
                  <a:pt x="594" y="390"/>
                </a:lnTo>
                <a:lnTo>
                  <a:pt x="606" y="378"/>
                </a:lnTo>
                <a:lnTo>
                  <a:pt x="612" y="366"/>
                </a:lnTo>
                <a:lnTo>
                  <a:pt x="624" y="354"/>
                </a:lnTo>
                <a:lnTo>
                  <a:pt x="624" y="324"/>
                </a:lnTo>
                <a:lnTo>
                  <a:pt x="636" y="318"/>
                </a:lnTo>
                <a:lnTo>
                  <a:pt x="642" y="306"/>
                </a:lnTo>
                <a:lnTo>
                  <a:pt x="660" y="252"/>
                </a:lnTo>
                <a:lnTo>
                  <a:pt x="672" y="252"/>
                </a:lnTo>
                <a:lnTo>
                  <a:pt x="672" y="246"/>
                </a:lnTo>
                <a:lnTo>
                  <a:pt x="684" y="234"/>
                </a:lnTo>
                <a:lnTo>
                  <a:pt x="684" y="138"/>
                </a:lnTo>
                <a:lnTo>
                  <a:pt x="708" y="126"/>
                </a:lnTo>
                <a:lnTo>
                  <a:pt x="702" y="54"/>
                </a:lnTo>
                <a:lnTo>
                  <a:pt x="708" y="42"/>
                </a:lnTo>
                <a:lnTo>
                  <a:pt x="708" y="36"/>
                </a:lnTo>
                <a:lnTo>
                  <a:pt x="714" y="24"/>
                </a:lnTo>
                <a:lnTo>
                  <a:pt x="714" y="12"/>
                </a:lnTo>
                <a:lnTo>
                  <a:pt x="690" y="0"/>
                </a:lnTo>
                <a:lnTo>
                  <a:pt x="672" y="0"/>
                </a:lnTo>
                <a:lnTo>
                  <a:pt x="666" y="12"/>
                </a:lnTo>
                <a:lnTo>
                  <a:pt x="654" y="18"/>
                </a:lnTo>
                <a:lnTo>
                  <a:pt x="648" y="30"/>
                </a:lnTo>
                <a:lnTo>
                  <a:pt x="624" y="42"/>
                </a:lnTo>
                <a:lnTo>
                  <a:pt x="612" y="42"/>
                </a:lnTo>
                <a:lnTo>
                  <a:pt x="594" y="48"/>
                </a:lnTo>
                <a:lnTo>
                  <a:pt x="582" y="54"/>
                </a:lnTo>
                <a:lnTo>
                  <a:pt x="564" y="54"/>
                </a:lnTo>
                <a:lnTo>
                  <a:pt x="546" y="48"/>
                </a:lnTo>
                <a:lnTo>
                  <a:pt x="534" y="42"/>
                </a:lnTo>
                <a:lnTo>
                  <a:pt x="516" y="48"/>
                </a:lnTo>
                <a:lnTo>
                  <a:pt x="510" y="54"/>
                </a:lnTo>
                <a:lnTo>
                  <a:pt x="498" y="60"/>
                </a:lnTo>
                <a:lnTo>
                  <a:pt x="492" y="72"/>
                </a:lnTo>
                <a:lnTo>
                  <a:pt x="486" y="78"/>
                </a:lnTo>
                <a:lnTo>
                  <a:pt x="474" y="78"/>
                </a:lnTo>
                <a:lnTo>
                  <a:pt x="462" y="72"/>
                </a:lnTo>
                <a:lnTo>
                  <a:pt x="456" y="60"/>
                </a:lnTo>
                <a:lnTo>
                  <a:pt x="444" y="60"/>
                </a:lnTo>
                <a:lnTo>
                  <a:pt x="438" y="66"/>
                </a:lnTo>
                <a:lnTo>
                  <a:pt x="426" y="72"/>
                </a:lnTo>
                <a:lnTo>
                  <a:pt x="396" y="102"/>
                </a:lnTo>
                <a:lnTo>
                  <a:pt x="384" y="108"/>
                </a:lnTo>
                <a:lnTo>
                  <a:pt x="372" y="108"/>
                </a:lnTo>
                <a:lnTo>
                  <a:pt x="360" y="102"/>
                </a:lnTo>
                <a:lnTo>
                  <a:pt x="354" y="96"/>
                </a:lnTo>
                <a:lnTo>
                  <a:pt x="342" y="90"/>
                </a:lnTo>
                <a:lnTo>
                  <a:pt x="330" y="90"/>
                </a:lnTo>
                <a:lnTo>
                  <a:pt x="306" y="102"/>
                </a:lnTo>
                <a:lnTo>
                  <a:pt x="294" y="114"/>
                </a:lnTo>
                <a:lnTo>
                  <a:pt x="270" y="126"/>
                </a:lnTo>
                <a:lnTo>
                  <a:pt x="210" y="126"/>
                </a:lnTo>
                <a:lnTo>
                  <a:pt x="192" y="108"/>
                </a:lnTo>
                <a:lnTo>
                  <a:pt x="186" y="96"/>
                </a:lnTo>
                <a:lnTo>
                  <a:pt x="174" y="90"/>
                </a:lnTo>
                <a:lnTo>
                  <a:pt x="168" y="78"/>
                </a:lnTo>
                <a:lnTo>
                  <a:pt x="168" y="66"/>
                </a:lnTo>
                <a:lnTo>
                  <a:pt x="156" y="54"/>
                </a:lnTo>
                <a:lnTo>
                  <a:pt x="150" y="54"/>
                </a:lnTo>
                <a:lnTo>
                  <a:pt x="126" y="78"/>
                </a:lnTo>
                <a:lnTo>
                  <a:pt x="108" y="11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6" name="Solomon Islands"/>
          <p:cNvSpPr>
            <a:spLocks noEditPoints="1"/>
          </p:cNvSpPr>
          <p:nvPr/>
        </p:nvSpPr>
        <p:spPr bwMode="gray">
          <a:xfrm>
            <a:off x="8495571" y="4477418"/>
            <a:ext cx="149225" cy="139700"/>
          </a:xfrm>
          <a:custGeom>
            <a:avLst/>
            <a:gdLst>
              <a:gd name="T0" fmla="*/ 2147483647 w 372"/>
              <a:gd name="T1" fmla="*/ 0 h 348"/>
              <a:gd name="T2" fmla="*/ 2147483647 w 372"/>
              <a:gd name="T3" fmla="*/ 2147483647 h 348"/>
              <a:gd name="T4" fmla="*/ 0 w 372"/>
              <a:gd name="T5" fmla="*/ 2147483647 h 348"/>
              <a:gd name="T6" fmla="*/ 2147483647 w 372"/>
              <a:gd name="T7" fmla="*/ 2147483647 h 348"/>
              <a:gd name="T8" fmla="*/ 0 w 372"/>
              <a:gd name="T9" fmla="*/ 2147483647 h 348"/>
              <a:gd name="T10" fmla="*/ 2147483647 w 372"/>
              <a:gd name="T11" fmla="*/ 2147483647 h 348"/>
              <a:gd name="T12" fmla="*/ 2147483647 w 372"/>
              <a:gd name="T13" fmla="*/ 2147483647 h 348"/>
              <a:gd name="T14" fmla="*/ 2147483647 w 372"/>
              <a:gd name="T15" fmla="*/ 2147483647 h 348"/>
              <a:gd name="T16" fmla="*/ 2147483647 w 372"/>
              <a:gd name="T17" fmla="*/ 2147483647 h 348"/>
              <a:gd name="T18" fmla="*/ 2147483647 w 372"/>
              <a:gd name="T19" fmla="*/ 2147483647 h 348"/>
              <a:gd name="T20" fmla="*/ 2147483647 w 372"/>
              <a:gd name="T21" fmla="*/ 2147483647 h 348"/>
              <a:gd name="T22" fmla="*/ 2147483647 w 372"/>
              <a:gd name="T23" fmla="*/ 2147483647 h 348"/>
              <a:gd name="T24" fmla="*/ 2147483647 w 372"/>
              <a:gd name="T25" fmla="*/ 2147483647 h 348"/>
              <a:gd name="T26" fmla="*/ 2147483647 w 372"/>
              <a:gd name="T27" fmla="*/ 2147483647 h 348"/>
              <a:gd name="T28" fmla="*/ 2147483647 w 372"/>
              <a:gd name="T29" fmla="*/ 2147483647 h 348"/>
              <a:gd name="T30" fmla="*/ 2147483647 w 372"/>
              <a:gd name="T31" fmla="*/ 2147483647 h 348"/>
              <a:gd name="T32" fmla="*/ 2147483647 w 372"/>
              <a:gd name="T33" fmla="*/ 2147483647 h 348"/>
              <a:gd name="T34" fmla="*/ 2147483647 w 372"/>
              <a:gd name="T35" fmla="*/ 2147483647 h 348"/>
              <a:gd name="T36" fmla="*/ 2147483647 w 372"/>
              <a:gd name="T37" fmla="*/ 2147483647 h 348"/>
              <a:gd name="T38" fmla="*/ 2147483647 w 372"/>
              <a:gd name="T39" fmla="*/ 2147483647 h 348"/>
              <a:gd name="T40" fmla="*/ 2147483647 w 372"/>
              <a:gd name="T41" fmla="*/ 2147483647 h 348"/>
              <a:gd name="T42" fmla="*/ 2147483647 w 372"/>
              <a:gd name="T43" fmla="*/ 2147483647 h 348"/>
              <a:gd name="T44" fmla="*/ 2147483647 w 372"/>
              <a:gd name="T45" fmla="*/ 2147483647 h 348"/>
              <a:gd name="T46" fmla="*/ 2147483647 w 372"/>
              <a:gd name="T47" fmla="*/ 2147483647 h 348"/>
              <a:gd name="T48" fmla="*/ 2147483647 w 372"/>
              <a:gd name="T49" fmla="*/ 2147483647 h 348"/>
              <a:gd name="T50" fmla="*/ 2147483647 w 372"/>
              <a:gd name="T51" fmla="*/ 2147483647 h 348"/>
              <a:gd name="T52" fmla="*/ 2147483647 w 372"/>
              <a:gd name="T53" fmla="*/ 2147483647 h 348"/>
              <a:gd name="T54" fmla="*/ 2147483647 w 372"/>
              <a:gd name="T55" fmla="*/ 2147483647 h 348"/>
              <a:gd name="T56" fmla="*/ 2147483647 w 372"/>
              <a:gd name="T57" fmla="*/ 2147483647 h 348"/>
              <a:gd name="T58" fmla="*/ 2147483647 w 372"/>
              <a:gd name="T59" fmla="*/ 2147483647 h 348"/>
              <a:gd name="T60" fmla="*/ 2147483647 w 372"/>
              <a:gd name="T61" fmla="*/ 2147483647 h 348"/>
              <a:gd name="T62" fmla="*/ 2147483647 w 372"/>
              <a:gd name="T63" fmla="*/ 2147483647 h 3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72"/>
              <a:gd name="T97" fmla="*/ 0 h 348"/>
              <a:gd name="T98" fmla="*/ 372 w 372"/>
              <a:gd name="T99" fmla="*/ 348 h 3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72" h="348">
                <a:moveTo>
                  <a:pt x="30" y="18"/>
                </a:moveTo>
                <a:lnTo>
                  <a:pt x="12" y="0"/>
                </a:lnTo>
                <a:lnTo>
                  <a:pt x="6" y="24"/>
                </a:lnTo>
                <a:lnTo>
                  <a:pt x="24" y="48"/>
                </a:lnTo>
                <a:lnTo>
                  <a:pt x="30" y="18"/>
                </a:lnTo>
                <a:close/>
                <a:moveTo>
                  <a:pt x="0" y="126"/>
                </a:moveTo>
                <a:lnTo>
                  <a:pt x="18" y="132"/>
                </a:lnTo>
                <a:lnTo>
                  <a:pt x="36" y="102"/>
                </a:lnTo>
                <a:lnTo>
                  <a:pt x="0" y="102"/>
                </a:lnTo>
                <a:lnTo>
                  <a:pt x="0" y="126"/>
                </a:lnTo>
                <a:close/>
                <a:moveTo>
                  <a:pt x="78" y="120"/>
                </a:moveTo>
                <a:lnTo>
                  <a:pt x="36" y="120"/>
                </a:lnTo>
                <a:lnTo>
                  <a:pt x="42" y="144"/>
                </a:lnTo>
                <a:lnTo>
                  <a:pt x="78" y="132"/>
                </a:lnTo>
                <a:lnTo>
                  <a:pt x="78" y="120"/>
                </a:lnTo>
                <a:close/>
                <a:moveTo>
                  <a:pt x="60" y="186"/>
                </a:moveTo>
                <a:lnTo>
                  <a:pt x="96" y="186"/>
                </a:lnTo>
                <a:lnTo>
                  <a:pt x="48" y="150"/>
                </a:lnTo>
                <a:lnTo>
                  <a:pt x="60" y="186"/>
                </a:lnTo>
                <a:close/>
                <a:moveTo>
                  <a:pt x="246" y="222"/>
                </a:moveTo>
                <a:lnTo>
                  <a:pt x="222" y="210"/>
                </a:lnTo>
                <a:lnTo>
                  <a:pt x="192" y="210"/>
                </a:lnTo>
                <a:lnTo>
                  <a:pt x="192" y="228"/>
                </a:lnTo>
                <a:lnTo>
                  <a:pt x="198" y="234"/>
                </a:lnTo>
                <a:lnTo>
                  <a:pt x="204" y="246"/>
                </a:lnTo>
                <a:lnTo>
                  <a:pt x="216" y="252"/>
                </a:lnTo>
                <a:lnTo>
                  <a:pt x="252" y="264"/>
                </a:lnTo>
                <a:lnTo>
                  <a:pt x="264" y="264"/>
                </a:lnTo>
                <a:lnTo>
                  <a:pt x="276" y="258"/>
                </a:lnTo>
                <a:lnTo>
                  <a:pt x="276" y="252"/>
                </a:lnTo>
                <a:lnTo>
                  <a:pt x="270" y="246"/>
                </a:lnTo>
                <a:lnTo>
                  <a:pt x="264" y="234"/>
                </a:lnTo>
                <a:lnTo>
                  <a:pt x="246" y="222"/>
                </a:lnTo>
                <a:close/>
                <a:moveTo>
                  <a:pt x="312" y="288"/>
                </a:moveTo>
                <a:lnTo>
                  <a:pt x="360" y="348"/>
                </a:lnTo>
                <a:lnTo>
                  <a:pt x="372" y="318"/>
                </a:lnTo>
                <a:lnTo>
                  <a:pt x="312" y="288"/>
                </a:lnTo>
                <a:close/>
                <a:moveTo>
                  <a:pt x="288" y="126"/>
                </a:moveTo>
                <a:lnTo>
                  <a:pt x="288" y="132"/>
                </a:lnTo>
                <a:lnTo>
                  <a:pt x="282" y="138"/>
                </a:lnTo>
                <a:lnTo>
                  <a:pt x="282" y="150"/>
                </a:lnTo>
                <a:lnTo>
                  <a:pt x="276" y="162"/>
                </a:lnTo>
                <a:lnTo>
                  <a:pt x="276" y="192"/>
                </a:lnTo>
                <a:lnTo>
                  <a:pt x="312" y="228"/>
                </a:lnTo>
                <a:lnTo>
                  <a:pt x="324" y="234"/>
                </a:lnTo>
                <a:lnTo>
                  <a:pt x="330" y="240"/>
                </a:lnTo>
                <a:lnTo>
                  <a:pt x="288" y="126"/>
                </a:lnTo>
                <a:close/>
                <a:moveTo>
                  <a:pt x="120" y="60"/>
                </a:moveTo>
                <a:lnTo>
                  <a:pt x="120" y="66"/>
                </a:lnTo>
                <a:lnTo>
                  <a:pt x="126" y="78"/>
                </a:lnTo>
                <a:lnTo>
                  <a:pt x="138" y="90"/>
                </a:lnTo>
                <a:lnTo>
                  <a:pt x="150" y="108"/>
                </a:lnTo>
                <a:lnTo>
                  <a:pt x="168" y="120"/>
                </a:lnTo>
                <a:lnTo>
                  <a:pt x="192" y="144"/>
                </a:lnTo>
                <a:lnTo>
                  <a:pt x="204" y="150"/>
                </a:lnTo>
                <a:lnTo>
                  <a:pt x="216" y="150"/>
                </a:lnTo>
                <a:lnTo>
                  <a:pt x="210" y="138"/>
                </a:lnTo>
                <a:lnTo>
                  <a:pt x="204" y="132"/>
                </a:lnTo>
                <a:lnTo>
                  <a:pt x="198" y="120"/>
                </a:lnTo>
                <a:lnTo>
                  <a:pt x="186" y="108"/>
                </a:lnTo>
                <a:lnTo>
                  <a:pt x="174" y="90"/>
                </a:lnTo>
                <a:lnTo>
                  <a:pt x="156" y="78"/>
                </a:lnTo>
                <a:lnTo>
                  <a:pt x="144" y="66"/>
                </a:lnTo>
                <a:lnTo>
                  <a:pt x="132" y="60"/>
                </a:lnTo>
                <a:lnTo>
                  <a:pt x="120" y="6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7" name="Slovenia"/>
          <p:cNvSpPr>
            <a:spLocks/>
          </p:cNvSpPr>
          <p:nvPr/>
        </p:nvSpPr>
        <p:spPr bwMode="gray">
          <a:xfrm>
            <a:off x="4387121" y="2739105"/>
            <a:ext cx="84137" cy="49213"/>
          </a:xfrm>
          <a:custGeom>
            <a:avLst/>
            <a:gdLst>
              <a:gd name="T0" fmla="*/ 2147483647 w 210"/>
              <a:gd name="T1" fmla="*/ 2147483647 h 120"/>
              <a:gd name="T2" fmla="*/ 2147483647 w 210"/>
              <a:gd name="T3" fmla="*/ 2147483647 h 120"/>
              <a:gd name="T4" fmla="*/ 2147483647 w 210"/>
              <a:gd name="T5" fmla="*/ 2147483647 h 120"/>
              <a:gd name="T6" fmla="*/ 2147483647 w 210"/>
              <a:gd name="T7" fmla="*/ 2147483647 h 120"/>
              <a:gd name="T8" fmla="*/ 2147483647 w 210"/>
              <a:gd name="T9" fmla="*/ 2147483647 h 120"/>
              <a:gd name="T10" fmla="*/ 2147483647 w 210"/>
              <a:gd name="T11" fmla="*/ 2147483647 h 120"/>
              <a:gd name="T12" fmla="*/ 2147483647 w 210"/>
              <a:gd name="T13" fmla="*/ 2147483647 h 120"/>
              <a:gd name="T14" fmla="*/ 2147483647 w 210"/>
              <a:gd name="T15" fmla="*/ 2147483647 h 120"/>
              <a:gd name="T16" fmla="*/ 2147483647 w 210"/>
              <a:gd name="T17" fmla="*/ 2147483647 h 120"/>
              <a:gd name="T18" fmla="*/ 2147483647 w 210"/>
              <a:gd name="T19" fmla="*/ 2147483647 h 120"/>
              <a:gd name="T20" fmla="*/ 2147483647 w 210"/>
              <a:gd name="T21" fmla="*/ 2147483647 h 120"/>
              <a:gd name="T22" fmla="*/ 2147483647 w 210"/>
              <a:gd name="T23" fmla="*/ 2147483647 h 120"/>
              <a:gd name="T24" fmla="*/ 2147483647 w 210"/>
              <a:gd name="T25" fmla="*/ 2147483647 h 120"/>
              <a:gd name="T26" fmla="*/ 2147483647 w 210"/>
              <a:gd name="T27" fmla="*/ 2147483647 h 120"/>
              <a:gd name="T28" fmla="*/ 2147483647 w 210"/>
              <a:gd name="T29" fmla="*/ 2147483647 h 120"/>
              <a:gd name="T30" fmla="*/ 2147483647 w 210"/>
              <a:gd name="T31" fmla="*/ 2147483647 h 120"/>
              <a:gd name="T32" fmla="*/ 2147483647 w 210"/>
              <a:gd name="T33" fmla="*/ 2147483647 h 120"/>
              <a:gd name="T34" fmla="*/ 2147483647 w 210"/>
              <a:gd name="T35" fmla="*/ 2147483647 h 120"/>
              <a:gd name="T36" fmla="*/ 2147483647 w 210"/>
              <a:gd name="T37" fmla="*/ 2147483647 h 120"/>
              <a:gd name="T38" fmla="*/ 2147483647 w 210"/>
              <a:gd name="T39" fmla="*/ 2147483647 h 120"/>
              <a:gd name="T40" fmla="*/ 2147483647 w 210"/>
              <a:gd name="T41" fmla="*/ 2147483647 h 120"/>
              <a:gd name="T42" fmla="*/ 2147483647 w 210"/>
              <a:gd name="T43" fmla="*/ 0 h 120"/>
              <a:gd name="T44" fmla="*/ 2147483647 w 210"/>
              <a:gd name="T45" fmla="*/ 2147483647 h 120"/>
              <a:gd name="T46" fmla="*/ 2147483647 w 210"/>
              <a:gd name="T47" fmla="*/ 2147483647 h 120"/>
              <a:gd name="T48" fmla="*/ 2147483647 w 210"/>
              <a:gd name="T49" fmla="*/ 2147483647 h 120"/>
              <a:gd name="T50" fmla="*/ 2147483647 w 210"/>
              <a:gd name="T51" fmla="*/ 2147483647 h 120"/>
              <a:gd name="T52" fmla="*/ 2147483647 w 210"/>
              <a:gd name="T53" fmla="*/ 2147483647 h 120"/>
              <a:gd name="T54" fmla="*/ 2147483647 w 210"/>
              <a:gd name="T55" fmla="*/ 2147483647 h 120"/>
              <a:gd name="T56" fmla="*/ 2147483647 w 210"/>
              <a:gd name="T57" fmla="*/ 2147483647 h 120"/>
              <a:gd name="T58" fmla="*/ 2147483647 w 210"/>
              <a:gd name="T59" fmla="*/ 2147483647 h 120"/>
              <a:gd name="T60" fmla="*/ 2147483647 w 210"/>
              <a:gd name="T61" fmla="*/ 2147483647 h 120"/>
              <a:gd name="T62" fmla="*/ 2147483647 w 210"/>
              <a:gd name="T63" fmla="*/ 2147483647 h 120"/>
              <a:gd name="T64" fmla="*/ 2147483647 w 210"/>
              <a:gd name="T65" fmla="*/ 2147483647 h 120"/>
              <a:gd name="T66" fmla="*/ 2147483647 w 210"/>
              <a:gd name="T67" fmla="*/ 2147483647 h 120"/>
              <a:gd name="T68" fmla="*/ 0 w 210"/>
              <a:gd name="T69" fmla="*/ 2147483647 h 120"/>
              <a:gd name="T70" fmla="*/ 2147483647 w 210"/>
              <a:gd name="T71" fmla="*/ 2147483647 h 120"/>
              <a:gd name="T72" fmla="*/ 2147483647 w 210"/>
              <a:gd name="T73" fmla="*/ 2147483647 h 120"/>
              <a:gd name="T74" fmla="*/ 2147483647 w 210"/>
              <a:gd name="T75" fmla="*/ 2147483647 h 120"/>
              <a:gd name="T76" fmla="*/ 2147483647 w 210"/>
              <a:gd name="T77" fmla="*/ 2147483647 h 120"/>
              <a:gd name="T78" fmla="*/ 2147483647 w 210"/>
              <a:gd name="T79" fmla="*/ 2147483647 h 120"/>
              <a:gd name="T80" fmla="*/ 2147483647 w 210"/>
              <a:gd name="T81" fmla="*/ 2147483647 h 120"/>
              <a:gd name="T82" fmla="*/ 2147483647 w 210"/>
              <a:gd name="T83" fmla="*/ 2147483647 h 120"/>
              <a:gd name="T84" fmla="*/ 2147483647 w 210"/>
              <a:gd name="T85" fmla="*/ 2147483647 h 120"/>
              <a:gd name="T86" fmla="*/ 2147483647 w 210"/>
              <a:gd name="T87" fmla="*/ 2147483647 h 12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10"/>
              <a:gd name="T133" fmla="*/ 0 h 120"/>
              <a:gd name="T134" fmla="*/ 210 w 210"/>
              <a:gd name="T135" fmla="*/ 120 h 12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10" h="120">
                <a:moveTo>
                  <a:pt x="24" y="120"/>
                </a:moveTo>
                <a:lnTo>
                  <a:pt x="42" y="120"/>
                </a:lnTo>
                <a:lnTo>
                  <a:pt x="42" y="108"/>
                </a:lnTo>
                <a:lnTo>
                  <a:pt x="54" y="114"/>
                </a:lnTo>
                <a:lnTo>
                  <a:pt x="72" y="114"/>
                </a:lnTo>
                <a:lnTo>
                  <a:pt x="78" y="102"/>
                </a:lnTo>
                <a:lnTo>
                  <a:pt x="78" y="108"/>
                </a:lnTo>
                <a:lnTo>
                  <a:pt x="84" y="114"/>
                </a:lnTo>
                <a:lnTo>
                  <a:pt x="126" y="114"/>
                </a:lnTo>
                <a:lnTo>
                  <a:pt x="126" y="96"/>
                </a:lnTo>
                <a:lnTo>
                  <a:pt x="138" y="90"/>
                </a:lnTo>
                <a:lnTo>
                  <a:pt x="150" y="78"/>
                </a:lnTo>
                <a:lnTo>
                  <a:pt x="150" y="72"/>
                </a:lnTo>
                <a:lnTo>
                  <a:pt x="144" y="66"/>
                </a:lnTo>
                <a:lnTo>
                  <a:pt x="144" y="54"/>
                </a:lnTo>
                <a:lnTo>
                  <a:pt x="174" y="54"/>
                </a:lnTo>
                <a:lnTo>
                  <a:pt x="186" y="48"/>
                </a:lnTo>
                <a:lnTo>
                  <a:pt x="186" y="36"/>
                </a:lnTo>
                <a:lnTo>
                  <a:pt x="210" y="36"/>
                </a:lnTo>
                <a:lnTo>
                  <a:pt x="192" y="24"/>
                </a:lnTo>
                <a:lnTo>
                  <a:pt x="186" y="6"/>
                </a:lnTo>
                <a:lnTo>
                  <a:pt x="180" y="0"/>
                </a:lnTo>
                <a:lnTo>
                  <a:pt x="174" y="12"/>
                </a:lnTo>
                <a:lnTo>
                  <a:pt x="168" y="30"/>
                </a:lnTo>
                <a:lnTo>
                  <a:pt x="144" y="24"/>
                </a:lnTo>
                <a:lnTo>
                  <a:pt x="132" y="30"/>
                </a:lnTo>
                <a:lnTo>
                  <a:pt x="84" y="30"/>
                </a:lnTo>
                <a:lnTo>
                  <a:pt x="84" y="42"/>
                </a:lnTo>
                <a:lnTo>
                  <a:pt x="54" y="42"/>
                </a:lnTo>
                <a:lnTo>
                  <a:pt x="48" y="36"/>
                </a:lnTo>
                <a:lnTo>
                  <a:pt x="30" y="36"/>
                </a:lnTo>
                <a:lnTo>
                  <a:pt x="24" y="42"/>
                </a:lnTo>
                <a:lnTo>
                  <a:pt x="6" y="42"/>
                </a:lnTo>
                <a:lnTo>
                  <a:pt x="6" y="48"/>
                </a:lnTo>
                <a:lnTo>
                  <a:pt x="0" y="54"/>
                </a:lnTo>
                <a:lnTo>
                  <a:pt x="12" y="60"/>
                </a:lnTo>
                <a:lnTo>
                  <a:pt x="6" y="96"/>
                </a:lnTo>
                <a:lnTo>
                  <a:pt x="18" y="96"/>
                </a:lnTo>
                <a:lnTo>
                  <a:pt x="30" y="102"/>
                </a:lnTo>
                <a:lnTo>
                  <a:pt x="36" y="102"/>
                </a:lnTo>
                <a:lnTo>
                  <a:pt x="36" y="108"/>
                </a:lnTo>
                <a:lnTo>
                  <a:pt x="30" y="108"/>
                </a:lnTo>
                <a:lnTo>
                  <a:pt x="30" y="114"/>
                </a:lnTo>
                <a:lnTo>
                  <a:pt x="24" y="12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8" name="Slovakia"/>
          <p:cNvSpPr>
            <a:spLocks/>
          </p:cNvSpPr>
          <p:nvPr/>
        </p:nvSpPr>
        <p:spPr bwMode="gray">
          <a:xfrm>
            <a:off x="4472846" y="2658143"/>
            <a:ext cx="144462" cy="58737"/>
          </a:xfrm>
          <a:custGeom>
            <a:avLst/>
            <a:gdLst>
              <a:gd name="T0" fmla="*/ 2147483647 w 354"/>
              <a:gd name="T1" fmla="*/ 2147483647 h 144"/>
              <a:gd name="T2" fmla="*/ 2147483647 w 354"/>
              <a:gd name="T3" fmla="*/ 2147483647 h 144"/>
              <a:gd name="T4" fmla="*/ 2147483647 w 354"/>
              <a:gd name="T5" fmla="*/ 2147483647 h 144"/>
              <a:gd name="T6" fmla="*/ 2147483647 w 354"/>
              <a:gd name="T7" fmla="*/ 2147483647 h 144"/>
              <a:gd name="T8" fmla="*/ 2147483647 w 354"/>
              <a:gd name="T9" fmla="*/ 2147483647 h 144"/>
              <a:gd name="T10" fmla="*/ 2147483647 w 354"/>
              <a:gd name="T11" fmla="*/ 2147483647 h 144"/>
              <a:gd name="T12" fmla="*/ 2147483647 w 354"/>
              <a:gd name="T13" fmla="*/ 2147483647 h 144"/>
              <a:gd name="T14" fmla="*/ 2147483647 w 354"/>
              <a:gd name="T15" fmla="*/ 0 h 144"/>
              <a:gd name="T16" fmla="*/ 2147483647 w 354"/>
              <a:gd name="T17" fmla="*/ 2147483647 h 144"/>
              <a:gd name="T18" fmla="*/ 2147483647 w 354"/>
              <a:gd name="T19" fmla="*/ 0 h 144"/>
              <a:gd name="T20" fmla="*/ 2147483647 w 354"/>
              <a:gd name="T21" fmla="*/ 2147483647 h 144"/>
              <a:gd name="T22" fmla="*/ 2147483647 w 354"/>
              <a:gd name="T23" fmla="*/ 2147483647 h 144"/>
              <a:gd name="T24" fmla="*/ 2147483647 w 354"/>
              <a:gd name="T25" fmla="*/ 2147483647 h 144"/>
              <a:gd name="T26" fmla="*/ 2147483647 w 354"/>
              <a:gd name="T27" fmla="*/ 2147483647 h 144"/>
              <a:gd name="T28" fmla="*/ 2147483647 w 354"/>
              <a:gd name="T29" fmla="*/ 2147483647 h 144"/>
              <a:gd name="T30" fmla="*/ 0 w 354"/>
              <a:gd name="T31" fmla="*/ 2147483647 h 144"/>
              <a:gd name="T32" fmla="*/ 2147483647 w 354"/>
              <a:gd name="T33" fmla="*/ 2147483647 h 144"/>
              <a:gd name="T34" fmla="*/ 2147483647 w 354"/>
              <a:gd name="T35" fmla="*/ 2147483647 h 144"/>
              <a:gd name="T36" fmla="*/ 2147483647 w 354"/>
              <a:gd name="T37" fmla="*/ 2147483647 h 144"/>
              <a:gd name="T38" fmla="*/ 2147483647 w 354"/>
              <a:gd name="T39" fmla="*/ 2147483647 h 144"/>
              <a:gd name="T40" fmla="*/ 2147483647 w 354"/>
              <a:gd name="T41" fmla="*/ 2147483647 h 144"/>
              <a:gd name="T42" fmla="*/ 2147483647 w 354"/>
              <a:gd name="T43" fmla="*/ 2147483647 h 144"/>
              <a:gd name="T44" fmla="*/ 2147483647 w 354"/>
              <a:gd name="T45" fmla="*/ 2147483647 h 144"/>
              <a:gd name="T46" fmla="*/ 2147483647 w 354"/>
              <a:gd name="T47" fmla="*/ 2147483647 h 144"/>
              <a:gd name="T48" fmla="*/ 2147483647 w 354"/>
              <a:gd name="T49" fmla="*/ 2147483647 h 144"/>
              <a:gd name="T50" fmla="*/ 2147483647 w 354"/>
              <a:gd name="T51" fmla="*/ 2147483647 h 144"/>
              <a:gd name="T52" fmla="*/ 2147483647 w 354"/>
              <a:gd name="T53" fmla="*/ 2147483647 h 144"/>
              <a:gd name="T54" fmla="*/ 2147483647 w 354"/>
              <a:gd name="T55" fmla="*/ 2147483647 h 144"/>
              <a:gd name="T56" fmla="*/ 2147483647 w 354"/>
              <a:gd name="T57" fmla="*/ 2147483647 h 144"/>
              <a:gd name="T58" fmla="*/ 2147483647 w 354"/>
              <a:gd name="T59" fmla="*/ 2147483647 h 144"/>
              <a:gd name="T60" fmla="*/ 2147483647 w 354"/>
              <a:gd name="T61" fmla="*/ 2147483647 h 144"/>
              <a:gd name="T62" fmla="*/ 2147483647 w 354"/>
              <a:gd name="T63" fmla="*/ 2147483647 h 144"/>
              <a:gd name="T64" fmla="*/ 2147483647 w 354"/>
              <a:gd name="T65" fmla="*/ 2147483647 h 144"/>
              <a:gd name="T66" fmla="*/ 2147483647 w 354"/>
              <a:gd name="T67" fmla="*/ 2147483647 h 144"/>
              <a:gd name="T68" fmla="*/ 2147483647 w 354"/>
              <a:gd name="T69" fmla="*/ 2147483647 h 14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4"/>
              <a:gd name="T106" fmla="*/ 0 h 144"/>
              <a:gd name="T107" fmla="*/ 354 w 354"/>
              <a:gd name="T108" fmla="*/ 144 h 14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4" h="144">
                <a:moveTo>
                  <a:pt x="348" y="30"/>
                </a:moveTo>
                <a:lnTo>
                  <a:pt x="324" y="30"/>
                </a:lnTo>
                <a:lnTo>
                  <a:pt x="300" y="6"/>
                </a:lnTo>
                <a:lnTo>
                  <a:pt x="276" y="6"/>
                </a:lnTo>
                <a:lnTo>
                  <a:pt x="270" y="12"/>
                </a:lnTo>
                <a:lnTo>
                  <a:pt x="258" y="18"/>
                </a:lnTo>
                <a:lnTo>
                  <a:pt x="246" y="18"/>
                </a:lnTo>
                <a:lnTo>
                  <a:pt x="240" y="12"/>
                </a:lnTo>
                <a:lnTo>
                  <a:pt x="210" y="12"/>
                </a:lnTo>
                <a:lnTo>
                  <a:pt x="210" y="18"/>
                </a:lnTo>
                <a:lnTo>
                  <a:pt x="204" y="24"/>
                </a:lnTo>
                <a:lnTo>
                  <a:pt x="192" y="24"/>
                </a:lnTo>
                <a:lnTo>
                  <a:pt x="186" y="18"/>
                </a:lnTo>
                <a:lnTo>
                  <a:pt x="186" y="12"/>
                </a:lnTo>
                <a:lnTo>
                  <a:pt x="180" y="12"/>
                </a:lnTo>
                <a:lnTo>
                  <a:pt x="168" y="0"/>
                </a:lnTo>
                <a:lnTo>
                  <a:pt x="156" y="0"/>
                </a:lnTo>
                <a:lnTo>
                  <a:pt x="144" y="12"/>
                </a:lnTo>
                <a:lnTo>
                  <a:pt x="138" y="12"/>
                </a:lnTo>
                <a:lnTo>
                  <a:pt x="126" y="0"/>
                </a:lnTo>
                <a:lnTo>
                  <a:pt x="108" y="12"/>
                </a:lnTo>
                <a:lnTo>
                  <a:pt x="84" y="18"/>
                </a:lnTo>
                <a:lnTo>
                  <a:pt x="84" y="42"/>
                </a:lnTo>
                <a:lnTo>
                  <a:pt x="72" y="48"/>
                </a:lnTo>
                <a:lnTo>
                  <a:pt x="66" y="54"/>
                </a:lnTo>
                <a:lnTo>
                  <a:pt x="54" y="60"/>
                </a:lnTo>
                <a:lnTo>
                  <a:pt x="36" y="60"/>
                </a:lnTo>
                <a:lnTo>
                  <a:pt x="36" y="54"/>
                </a:lnTo>
                <a:lnTo>
                  <a:pt x="30" y="60"/>
                </a:lnTo>
                <a:lnTo>
                  <a:pt x="12" y="60"/>
                </a:lnTo>
                <a:lnTo>
                  <a:pt x="6" y="66"/>
                </a:lnTo>
                <a:lnTo>
                  <a:pt x="0" y="90"/>
                </a:lnTo>
                <a:lnTo>
                  <a:pt x="0" y="102"/>
                </a:lnTo>
                <a:lnTo>
                  <a:pt x="6" y="102"/>
                </a:lnTo>
                <a:lnTo>
                  <a:pt x="6" y="114"/>
                </a:lnTo>
                <a:lnTo>
                  <a:pt x="12" y="114"/>
                </a:lnTo>
                <a:lnTo>
                  <a:pt x="12" y="126"/>
                </a:lnTo>
                <a:lnTo>
                  <a:pt x="6" y="132"/>
                </a:lnTo>
                <a:lnTo>
                  <a:pt x="18" y="138"/>
                </a:lnTo>
                <a:lnTo>
                  <a:pt x="30" y="120"/>
                </a:lnTo>
                <a:lnTo>
                  <a:pt x="36" y="126"/>
                </a:lnTo>
                <a:lnTo>
                  <a:pt x="42" y="138"/>
                </a:lnTo>
                <a:lnTo>
                  <a:pt x="48" y="144"/>
                </a:lnTo>
                <a:lnTo>
                  <a:pt x="90" y="144"/>
                </a:lnTo>
                <a:lnTo>
                  <a:pt x="108" y="138"/>
                </a:lnTo>
                <a:lnTo>
                  <a:pt x="120" y="138"/>
                </a:lnTo>
                <a:lnTo>
                  <a:pt x="132" y="114"/>
                </a:lnTo>
                <a:lnTo>
                  <a:pt x="168" y="120"/>
                </a:lnTo>
                <a:lnTo>
                  <a:pt x="174" y="108"/>
                </a:lnTo>
                <a:lnTo>
                  <a:pt x="198" y="108"/>
                </a:lnTo>
                <a:lnTo>
                  <a:pt x="210" y="102"/>
                </a:lnTo>
                <a:lnTo>
                  <a:pt x="216" y="102"/>
                </a:lnTo>
                <a:lnTo>
                  <a:pt x="228" y="90"/>
                </a:lnTo>
                <a:lnTo>
                  <a:pt x="234" y="78"/>
                </a:lnTo>
                <a:lnTo>
                  <a:pt x="258" y="78"/>
                </a:lnTo>
                <a:lnTo>
                  <a:pt x="258" y="90"/>
                </a:lnTo>
                <a:lnTo>
                  <a:pt x="276" y="96"/>
                </a:lnTo>
                <a:lnTo>
                  <a:pt x="276" y="78"/>
                </a:lnTo>
                <a:lnTo>
                  <a:pt x="288" y="78"/>
                </a:lnTo>
                <a:lnTo>
                  <a:pt x="288" y="90"/>
                </a:lnTo>
                <a:lnTo>
                  <a:pt x="300" y="90"/>
                </a:lnTo>
                <a:lnTo>
                  <a:pt x="312" y="84"/>
                </a:lnTo>
                <a:lnTo>
                  <a:pt x="336" y="84"/>
                </a:lnTo>
                <a:lnTo>
                  <a:pt x="336" y="90"/>
                </a:lnTo>
                <a:lnTo>
                  <a:pt x="336" y="72"/>
                </a:lnTo>
                <a:lnTo>
                  <a:pt x="342" y="72"/>
                </a:lnTo>
                <a:lnTo>
                  <a:pt x="348" y="66"/>
                </a:lnTo>
                <a:lnTo>
                  <a:pt x="348" y="60"/>
                </a:lnTo>
                <a:lnTo>
                  <a:pt x="354" y="54"/>
                </a:lnTo>
                <a:lnTo>
                  <a:pt x="354" y="30"/>
                </a:lnTo>
                <a:lnTo>
                  <a:pt x="348" y="3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" name="Sierra Leone"/>
          <p:cNvSpPr>
            <a:spLocks/>
          </p:cNvSpPr>
          <p:nvPr/>
        </p:nvSpPr>
        <p:spPr bwMode="gray">
          <a:xfrm>
            <a:off x="3639408" y="3932905"/>
            <a:ext cx="84138" cy="107950"/>
          </a:xfrm>
          <a:custGeom>
            <a:avLst/>
            <a:gdLst>
              <a:gd name="T0" fmla="*/ 2147483647 w 210"/>
              <a:gd name="T1" fmla="*/ 2147483647 h 270"/>
              <a:gd name="T2" fmla="*/ 2147483647 w 210"/>
              <a:gd name="T3" fmla="*/ 2147483647 h 270"/>
              <a:gd name="T4" fmla="*/ 2147483647 w 210"/>
              <a:gd name="T5" fmla="*/ 2147483647 h 270"/>
              <a:gd name="T6" fmla="*/ 2147483647 w 210"/>
              <a:gd name="T7" fmla="*/ 2147483647 h 270"/>
              <a:gd name="T8" fmla="*/ 2147483647 w 210"/>
              <a:gd name="T9" fmla="*/ 2147483647 h 270"/>
              <a:gd name="T10" fmla="*/ 2147483647 w 210"/>
              <a:gd name="T11" fmla="*/ 2147483647 h 270"/>
              <a:gd name="T12" fmla="*/ 2147483647 w 210"/>
              <a:gd name="T13" fmla="*/ 2147483647 h 270"/>
              <a:gd name="T14" fmla="*/ 2147483647 w 210"/>
              <a:gd name="T15" fmla="*/ 2147483647 h 270"/>
              <a:gd name="T16" fmla="*/ 2147483647 w 210"/>
              <a:gd name="T17" fmla="*/ 2147483647 h 270"/>
              <a:gd name="T18" fmla="*/ 2147483647 w 210"/>
              <a:gd name="T19" fmla="*/ 2147483647 h 270"/>
              <a:gd name="T20" fmla="*/ 2147483647 w 210"/>
              <a:gd name="T21" fmla="*/ 2147483647 h 270"/>
              <a:gd name="T22" fmla="*/ 2147483647 w 210"/>
              <a:gd name="T23" fmla="*/ 0 h 270"/>
              <a:gd name="T24" fmla="*/ 2147483647 w 210"/>
              <a:gd name="T25" fmla="*/ 0 h 270"/>
              <a:gd name="T26" fmla="*/ 2147483647 w 210"/>
              <a:gd name="T27" fmla="*/ 2147483647 h 270"/>
              <a:gd name="T28" fmla="*/ 2147483647 w 210"/>
              <a:gd name="T29" fmla="*/ 2147483647 h 270"/>
              <a:gd name="T30" fmla="*/ 2147483647 w 210"/>
              <a:gd name="T31" fmla="*/ 2147483647 h 270"/>
              <a:gd name="T32" fmla="*/ 2147483647 w 210"/>
              <a:gd name="T33" fmla="*/ 2147483647 h 270"/>
              <a:gd name="T34" fmla="*/ 2147483647 w 210"/>
              <a:gd name="T35" fmla="*/ 2147483647 h 270"/>
              <a:gd name="T36" fmla="*/ 2147483647 w 210"/>
              <a:gd name="T37" fmla="*/ 2147483647 h 270"/>
              <a:gd name="T38" fmla="*/ 2147483647 w 210"/>
              <a:gd name="T39" fmla="*/ 2147483647 h 270"/>
              <a:gd name="T40" fmla="*/ 2147483647 w 210"/>
              <a:gd name="T41" fmla="*/ 2147483647 h 270"/>
              <a:gd name="T42" fmla="*/ 2147483647 w 210"/>
              <a:gd name="T43" fmla="*/ 2147483647 h 270"/>
              <a:gd name="T44" fmla="*/ 0 w 210"/>
              <a:gd name="T45" fmla="*/ 2147483647 h 270"/>
              <a:gd name="T46" fmla="*/ 2147483647 w 210"/>
              <a:gd name="T47" fmla="*/ 2147483647 h 270"/>
              <a:gd name="T48" fmla="*/ 2147483647 w 210"/>
              <a:gd name="T49" fmla="*/ 2147483647 h 270"/>
              <a:gd name="T50" fmla="*/ 0 w 210"/>
              <a:gd name="T51" fmla="*/ 2147483647 h 270"/>
              <a:gd name="T52" fmla="*/ 0 w 210"/>
              <a:gd name="T53" fmla="*/ 2147483647 h 270"/>
              <a:gd name="T54" fmla="*/ 2147483647 w 210"/>
              <a:gd name="T55" fmla="*/ 2147483647 h 270"/>
              <a:gd name="T56" fmla="*/ 2147483647 w 210"/>
              <a:gd name="T57" fmla="*/ 2147483647 h 270"/>
              <a:gd name="T58" fmla="*/ 2147483647 w 210"/>
              <a:gd name="T59" fmla="*/ 2147483647 h 270"/>
              <a:gd name="T60" fmla="*/ 2147483647 w 210"/>
              <a:gd name="T61" fmla="*/ 2147483647 h 270"/>
              <a:gd name="T62" fmla="*/ 2147483647 w 210"/>
              <a:gd name="T63" fmla="*/ 2147483647 h 270"/>
              <a:gd name="T64" fmla="*/ 2147483647 w 210"/>
              <a:gd name="T65" fmla="*/ 2147483647 h 270"/>
              <a:gd name="T66" fmla="*/ 2147483647 w 210"/>
              <a:gd name="T67" fmla="*/ 2147483647 h 270"/>
              <a:gd name="T68" fmla="*/ 2147483647 w 210"/>
              <a:gd name="T69" fmla="*/ 2147483647 h 270"/>
              <a:gd name="T70" fmla="*/ 2147483647 w 210"/>
              <a:gd name="T71" fmla="*/ 2147483647 h 270"/>
              <a:gd name="T72" fmla="*/ 2147483647 w 210"/>
              <a:gd name="T73" fmla="*/ 2147483647 h 270"/>
              <a:gd name="T74" fmla="*/ 2147483647 w 210"/>
              <a:gd name="T75" fmla="*/ 2147483647 h 270"/>
              <a:gd name="T76" fmla="*/ 2147483647 w 210"/>
              <a:gd name="T77" fmla="*/ 2147483647 h 270"/>
              <a:gd name="T78" fmla="*/ 2147483647 w 210"/>
              <a:gd name="T79" fmla="*/ 2147483647 h 270"/>
              <a:gd name="T80" fmla="*/ 2147483647 w 210"/>
              <a:gd name="T81" fmla="*/ 2147483647 h 270"/>
              <a:gd name="T82" fmla="*/ 2147483647 w 210"/>
              <a:gd name="T83" fmla="*/ 2147483647 h 270"/>
              <a:gd name="T84" fmla="*/ 2147483647 w 210"/>
              <a:gd name="T85" fmla="*/ 2147483647 h 270"/>
              <a:gd name="T86" fmla="*/ 2147483647 w 210"/>
              <a:gd name="T87" fmla="*/ 2147483647 h 27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10"/>
              <a:gd name="T133" fmla="*/ 0 h 270"/>
              <a:gd name="T134" fmla="*/ 210 w 210"/>
              <a:gd name="T135" fmla="*/ 270 h 27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10" h="270">
                <a:moveTo>
                  <a:pt x="186" y="180"/>
                </a:moveTo>
                <a:lnTo>
                  <a:pt x="186" y="162"/>
                </a:lnTo>
                <a:lnTo>
                  <a:pt x="210" y="156"/>
                </a:lnTo>
                <a:lnTo>
                  <a:pt x="204" y="132"/>
                </a:lnTo>
                <a:lnTo>
                  <a:pt x="174" y="144"/>
                </a:lnTo>
                <a:lnTo>
                  <a:pt x="180" y="126"/>
                </a:lnTo>
                <a:lnTo>
                  <a:pt x="186" y="120"/>
                </a:lnTo>
                <a:lnTo>
                  <a:pt x="192" y="108"/>
                </a:lnTo>
                <a:lnTo>
                  <a:pt x="192" y="90"/>
                </a:lnTo>
                <a:lnTo>
                  <a:pt x="180" y="78"/>
                </a:lnTo>
                <a:lnTo>
                  <a:pt x="180" y="60"/>
                </a:lnTo>
                <a:lnTo>
                  <a:pt x="138" y="0"/>
                </a:lnTo>
                <a:lnTo>
                  <a:pt x="102" y="0"/>
                </a:lnTo>
                <a:lnTo>
                  <a:pt x="96" y="18"/>
                </a:lnTo>
                <a:lnTo>
                  <a:pt x="60" y="18"/>
                </a:lnTo>
                <a:lnTo>
                  <a:pt x="60" y="24"/>
                </a:lnTo>
                <a:lnTo>
                  <a:pt x="54" y="30"/>
                </a:lnTo>
                <a:lnTo>
                  <a:pt x="48" y="42"/>
                </a:lnTo>
                <a:lnTo>
                  <a:pt x="36" y="54"/>
                </a:lnTo>
                <a:lnTo>
                  <a:pt x="30" y="66"/>
                </a:lnTo>
                <a:lnTo>
                  <a:pt x="18" y="72"/>
                </a:lnTo>
                <a:lnTo>
                  <a:pt x="12" y="78"/>
                </a:lnTo>
                <a:lnTo>
                  <a:pt x="0" y="84"/>
                </a:lnTo>
                <a:lnTo>
                  <a:pt x="12" y="96"/>
                </a:lnTo>
                <a:lnTo>
                  <a:pt x="6" y="102"/>
                </a:lnTo>
                <a:lnTo>
                  <a:pt x="0" y="114"/>
                </a:lnTo>
                <a:lnTo>
                  <a:pt x="0" y="132"/>
                </a:lnTo>
                <a:lnTo>
                  <a:pt x="6" y="138"/>
                </a:lnTo>
                <a:lnTo>
                  <a:pt x="18" y="144"/>
                </a:lnTo>
                <a:lnTo>
                  <a:pt x="24" y="150"/>
                </a:lnTo>
                <a:lnTo>
                  <a:pt x="18" y="180"/>
                </a:lnTo>
                <a:lnTo>
                  <a:pt x="42" y="198"/>
                </a:lnTo>
                <a:lnTo>
                  <a:pt x="42" y="204"/>
                </a:lnTo>
                <a:lnTo>
                  <a:pt x="48" y="210"/>
                </a:lnTo>
                <a:lnTo>
                  <a:pt x="54" y="222"/>
                </a:lnTo>
                <a:lnTo>
                  <a:pt x="78" y="234"/>
                </a:lnTo>
                <a:lnTo>
                  <a:pt x="96" y="234"/>
                </a:lnTo>
                <a:lnTo>
                  <a:pt x="126" y="270"/>
                </a:lnTo>
                <a:lnTo>
                  <a:pt x="126" y="234"/>
                </a:lnTo>
                <a:lnTo>
                  <a:pt x="144" y="216"/>
                </a:lnTo>
                <a:lnTo>
                  <a:pt x="156" y="210"/>
                </a:lnTo>
                <a:lnTo>
                  <a:pt x="168" y="198"/>
                </a:lnTo>
                <a:lnTo>
                  <a:pt x="180" y="192"/>
                </a:lnTo>
                <a:lnTo>
                  <a:pt x="186" y="18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0" name="Serbia"/>
          <p:cNvSpPr>
            <a:spLocks/>
          </p:cNvSpPr>
          <p:nvPr/>
        </p:nvSpPr>
        <p:spPr bwMode="gray">
          <a:xfrm>
            <a:off x="4526821" y="2766093"/>
            <a:ext cx="111125" cy="122237"/>
          </a:xfrm>
          <a:custGeom>
            <a:avLst/>
            <a:gdLst>
              <a:gd name="T0" fmla="*/ 2147483647 w 496"/>
              <a:gd name="T1" fmla="*/ 2147483647 h 542"/>
              <a:gd name="T2" fmla="*/ 2147483647 w 496"/>
              <a:gd name="T3" fmla="*/ 2147483647 h 542"/>
              <a:gd name="T4" fmla="*/ 2147483647 w 496"/>
              <a:gd name="T5" fmla="*/ 2147483647 h 542"/>
              <a:gd name="T6" fmla="*/ 2147483647 w 496"/>
              <a:gd name="T7" fmla="*/ 2147483647 h 542"/>
              <a:gd name="T8" fmla="*/ 2147483647 w 496"/>
              <a:gd name="T9" fmla="*/ 2147483647 h 542"/>
              <a:gd name="T10" fmla="*/ 2147483647 w 496"/>
              <a:gd name="T11" fmla="*/ 2147483647 h 542"/>
              <a:gd name="T12" fmla="*/ 2147483647 w 496"/>
              <a:gd name="T13" fmla="*/ 2147483647 h 542"/>
              <a:gd name="T14" fmla="*/ 2147483647 w 496"/>
              <a:gd name="T15" fmla="*/ 2147483647 h 542"/>
              <a:gd name="T16" fmla="*/ 2147483647 w 496"/>
              <a:gd name="T17" fmla="*/ 0 h 542"/>
              <a:gd name="T18" fmla="*/ 0 w 496"/>
              <a:gd name="T19" fmla="*/ 2147483647 h 542"/>
              <a:gd name="T20" fmla="*/ 2147483647 w 496"/>
              <a:gd name="T21" fmla="*/ 2147483647 h 542"/>
              <a:gd name="T22" fmla="*/ 2147483647 w 496"/>
              <a:gd name="T23" fmla="*/ 2147483647 h 542"/>
              <a:gd name="T24" fmla="*/ 2147483647 w 496"/>
              <a:gd name="T25" fmla="*/ 2147483647 h 542"/>
              <a:gd name="T26" fmla="*/ 2147483647 w 496"/>
              <a:gd name="T27" fmla="*/ 2147483647 h 542"/>
              <a:gd name="T28" fmla="*/ 2147483647 w 496"/>
              <a:gd name="T29" fmla="*/ 2147483647 h 542"/>
              <a:gd name="T30" fmla="*/ 2147483647 w 496"/>
              <a:gd name="T31" fmla="*/ 2147483647 h 542"/>
              <a:gd name="T32" fmla="*/ 2147483647 w 496"/>
              <a:gd name="T33" fmla="*/ 2147483647 h 542"/>
              <a:gd name="T34" fmla="*/ 2147483647 w 496"/>
              <a:gd name="T35" fmla="*/ 2147483647 h 542"/>
              <a:gd name="T36" fmla="*/ 2147483647 w 496"/>
              <a:gd name="T37" fmla="*/ 2147483647 h 542"/>
              <a:gd name="T38" fmla="*/ 2147483647 w 496"/>
              <a:gd name="T39" fmla="*/ 2147483647 h 542"/>
              <a:gd name="T40" fmla="*/ 2147483647 w 496"/>
              <a:gd name="T41" fmla="*/ 2147483647 h 542"/>
              <a:gd name="T42" fmla="*/ 2147483647 w 496"/>
              <a:gd name="T43" fmla="*/ 2147483647 h 542"/>
              <a:gd name="T44" fmla="*/ 2147483647 w 496"/>
              <a:gd name="T45" fmla="*/ 2147483647 h 542"/>
              <a:gd name="T46" fmla="*/ 2147483647 w 496"/>
              <a:gd name="T47" fmla="*/ 2147483647 h 542"/>
              <a:gd name="T48" fmla="*/ 2147483647 w 496"/>
              <a:gd name="T49" fmla="*/ 2147483647 h 542"/>
              <a:gd name="T50" fmla="*/ 2147483647 w 496"/>
              <a:gd name="T51" fmla="*/ 2147483647 h 542"/>
              <a:gd name="T52" fmla="*/ 2147483647 w 496"/>
              <a:gd name="T53" fmla="*/ 2147483647 h 542"/>
              <a:gd name="T54" fmla="*/ 2147483647 w 496"/>
              <a:gd name="T55" fmla="*/ 2147483647 h 542"/>
              <a:gd name="T56" fmla="*/ 2147483647 w 496"/>
              <a:gd name="T57" fmla="*/ 2147483647 h 542"/>
              <a:gd name="T58" fmla="*/ 2147483647 w 496"/>
              <a:gd name="T59" fmla="*/ 2147483647 h 542"/>
              <a:gd name="T60" fmla="*/ 2147483647 w 496"/>
              <a:gd name="T61" fmla="*/ 2147483647 h 542"/>
              <a:gd name="T62" fmla="*/ 2147483647 w 496"/>
              <a:gd name="T63" fmla="*/ 2147483647 h 542"/>
              <a:gd name="T64" fmla="*/ 2147483647 w 496"/>
              <a:gd name="T65" fmla="*/ 2147483647 h 542"/>
              <a:gd name="T66" fmla="*/ 2147483647 w 496"/>
              <a:gd name="T67" fmla="*/ 2147483647 h 542"/>
              <a:gd name="T68" fmla="*/ 2147483647 w 496"/>
              <a:gd name="T69" fmla="*/ 2147483647 h 542"/>
              <a:gd name="T70" fmla="*/ 2147483647 w 496"/>
              <a:gd name="T71" fmla="*/ 2147483647 h 542"/>
              <a:gd name="T72" fmla="*/ 2147483647 w 496"/>
              <a:gd name="T73" fmla="*/ 2147483647 h 542"/>
              <a:gd name="T74" fmla="*/ 2147483647 w 496"/>
              <a:gd name="T75" fmla="*/ 2147483647 h 542"/>
              <a:gd name="T76" fmla="*/ 2147483647 w 496"/>
              <a:gd name="T77" fmla="*/ 2147483647 h 542"/>
              <a:gd name="T78" fmla="*/ 2147483647 w 496"/>
              <a:gd name="T79" fmla="*/ 2147483647 h 542"/>
              <a:gd name="T80" fmla="*/ 2147483647 w 496"/>
              <a:gd name="T81" fmla="*/ 2147483647 h 542"/>
              <a:gd name="T82" fmla="*/ 2147483647 w 496"/>
              <a:gd name="T83" fmla="*/ 2147483647 h 542"/>
              <a:gd name="T84" fmla="*/ 2147483647 w 496"/>
              <a:gd name="T85" fmla="*/ 2147483647 h 542"/>
              <a:gd name="T86" fmla="*/ 2147483647 w 496"/>
              <a:gd name="T87" fmla="*/ 2147483647 h 542"/>
              <a:gd name="T88" fmla="*/ 2147483647 w 496"/>
              <a:gd name="T89" fmla="*/ 2147483647 h 542"/>
              <a:gd name="T90" fmla="*/ 2147483647 w 496"/>
              <a:gd name="T91" fmla="*/ 2147483647 h 542"/>
              <a:gd name="T92" fmla="*/ 2147483647 w 496"/>
              <a:gd name="T93" fmla="*/ 2147483647 h 542"/>
              <a:gd name="T94" fmla="*/ 2147483647 w 496"/>
              <a:gd name="T95" fmla="*/ 2147483647 h 542"/>
              <a:gd name="T96" fmla="*/ 2147483647 w 496"/>
              <a:gd name="T97" fmla="*/ 2147483647 h 542"/>
              <a:gd name="T98" fmla="*/ 2147483647 w 496"/>
              <a:gd name="T99" fmla="*/ 2147483647 h 542"/>
              <a:gd name="T100" fmla="*/ 2147483647 w 496"/>
              <a:gd name="T101" fmla="*/ 2147483647 h 542"/>
              <a:gd name="T102" fmla="*/ 2147483647 w 496"/>
              <a:gd name="T103" fmla="*/ 2147483647 h 542"/>
              <a:gd name="T104" fmla="*/ 2147483647 w 496"/>
              <a:gd name="T105" fmla="*/ 2147483647 h 542"/>
              <a:gd name="T106" fmla="*/ 2147483647 w 496"/>
              <a:gd name="T107" fmla="*/ 2147483647 h 542"/>
              <a:gd name="T108" fmla="*/ 2147483647 w 496"/>
              <a:gd name="T109" fmla="*/ 2147483647 h 542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96"/>
              <a:gd name="T166" fmla="*/ 0 h 542"/>
              <a:gd name="T167" fmla="*/ 496 w 496"/>
              <a:gd name="T168" fmla="*/ 542 h 542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96" h="542">
                <a:moveTo>
                  <a:pt x="486" y="406"/>
                </a:moveTo>
                <a:cubicBezTo>
                  <a:pt x="453" y="395"/>
                  <a:pt x="453" y="395"/>
                  <a:pt x="453" y="395"/>
                </a:cubicBezTo>
                <a:cubicBezTo>
                  <a:pt x="464" y="374"/>
                  <a:pt x="464" y="374"/>
                  <a:pt x="464" y="374"/>
                </a:cubicBezTo>
                <a:cubicBezTo>
                  <a:pt x="432" y="363"/>
                  <a:pt x="432" y="363"/>
                  <a:pt x="432" y="363"/>
                </a:cubicBezTo>
                <a:cubicBezTo>
                  <a:pt x="432" y="331"/>
                  <a:pt x="432" y="331"/>
                  <a:pt x="432" y="331"/>
                </a:cubicBezTo>
                <a:cubicBezTo>
                  <a:pt x="453" y="310"/>
                  <a:pt x="453" y="310"/>
                  <a:pt x="453" y="310"/>
                </a:cubicBezTo>
                <a:cubicBezTo>
                  <a:pt x="453" y="267"/>
                  <a:pt x="453" y="267"/>
                  <a:pt x="453" y="267"/>
                </a:cubicBezTo>
                <a:cubicBezTo>
                  <a:pt x="442" y="256"/>
                  <a:pt x="442" y="256"/>
                  <a:pt x="442" y="256"/>
                </a:cubicBezTo>
                <a:cubicBezTo>
                  <a:pt x="453" y="235"/>
                  <a:pt x="453" y="235"/>
                  <a:pt x="453" y="235"/>
                </a:cubicBezTo>
                <a:cubicBezTo>
                  <a:pt x="464" y="224"/>
                  <a:pt x="464" y="224"/>
                  <a:pt x="464" y="224"/>
                </a:cubicBezTo>
                <a:cubicBezTo>
                  <a:pt x="421" y="213"/>
                  <a:pt x="421" y="213"/>
                  <a:pt x="421" y="213"/>
                </a:cubicBezTo>
                <a:cubicBezTo>
                  <a:pt x="378" y="224"/>
                  <a:pt x="378" y="224"/>
                  <a:pt x="378" y="224"/>
                </a:cubicBezTo>
                <a:cubicBezTo>
                  <a:pt x="367" y="213"/>
                  <a:pt x="367" y="213"/>
                  <a:pt x="367" y="213"/>
                </a:cubicBezTo>
                <a:cubicBezTo>
                  <a:pt x="324" y="203"/>
                  <a:pt x="324" y="203"/>
                  <a:pt x="324" y="203"/>
                </a:cubicBezTo>
                <a:cubicBezTo>
                  <a:pt x="302" y="171"/>
                  <a:pt x="302" y="171"/>
                  <a:pt x="302" y="171"/>
                </a:cubicBezTo>
                <a:cubicBezTo>
                  <a:pt x="313" y="160"/>
                  <a:pt x="313" y="160"/>
                  <a:pt x="313" y="160"/>
                </a:cubicBezTo>
                <a:cubicBezTo>
                  <a:pt x="313" y="128"/>
                  <a:pt x="313" y="128"/>
                  <a:pt x="313" y="128"/>
                </a:cubicBezTo>
                <a:cubicBezTo>
                  <a:pt x="291" y="118"/>
                  <a:pt x="291" y="118"/>
                  <a:pt x="291" y="118"/>
                </a:cubicBezTo>
                <a:cubicBezTo>
                  <a:pt x="280" y="118"/>
                  <a:pt x="280" y="118"/>
                  <a:pt x="280" y="118"/>
                </a:cubicBezTo>
                <a:cubicBezTo>
                  <a:pt x="270" y="128"/>
                  <a:pt x="270" y="128"/>
                  <a:pt x="270" y="128"/>
                </a:cubicBezTo>
                <a:cubicBezTo>
                  <a:pt x="259" y="128"/>
                  <a:pt x="259" y="128"/>
                  <a:pt x="259" y="128"/>
                </a:cubicBezTo>
                <a:cubicBezTo>
                  <a:pt x="249" y="118"/>
                  <a:pt x="249" y="118"/>
                  <a:pt x="249" y="118"/>
                </a:cubicBezTo>
                <a:cubicBezTo>
                  <a:pt x="227" y="53"/>
                  <a:pt x="227" y="53"/>
                  <a:pt x="227" y="53"/>
                </a:cubicBezTo>
                <a:cubicBezTo>
                  <a:pt x="216" y="53"/>
                  <a:pt x="216" y="53"/>
                  <a:pt x="216" y="53"/>
                </a:cubicBezTo>
                <a:cubicBezTo>
                  <a:pt x="173" y="21"/>
                  <a:pt x="173" y="21"/>
                  <a:pt x="173" y="21"/>
                </a:cubicBezTo>
                <a:cubicBezTo>
                  <a:pt x="129" y="0"/>
                  <a:pt x="129" y="0"/>
                  <a:pt x="129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54" y="32"/>
                  <a:pt x="54" y="32"/>
                  <a:pt x="54" y="32"/>
                </a:cubicBezTo>
                <a:cubicBezTo>
                  <a:pt x="11" y="32"/>
                  <a:pt x="11" y="32"/>
                  <a:pt x="11" y="32"/>
                </a:cubicBezTo>
                <a:cubicBezTo>
                  <a:pt x="0" y="43"/>
                  <a:pt x="0" y="43"/>
                  <a:pt x="0" y="43"/>
                </a:cubicBezTo>
                <a:cubicBezTo>
                  <a:pt x="11" y="43"/>
                  <a:pt x="11" y="43"/>
                  <a:pt x="11" y="43"/>
                </a:cubicBezTo>
                <a:cubicBezTo>
                  <a:pt x="22" y="96"/>
                  <a:pt x="22" y="96"/>
                  <a:pt x="22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65" y="139"/>
                  <a:pt x="65" y="139"/>
                  <a:pt x="65" y="139"/>
                </a:cubicBezTo>
                <a:cubicBezTo>
                  <a:pt x="76" y="139"/>
                  <a:pt x="76" y="139"/>
                  <a:pt x="76" y="139"/>
                </a:cubicBezTo>
                <a:cubicBezTo>
                  <a:pt x="65" y="150"/>
                  <a:pt x="65" y="150"/>
                  <a:pt x="65" y="150"/>
                </a:cubicBezTo>
                <a:cubicBezTo>
                  <a:pt x="54" y="150"/>
                  <a:pt x="54" y="150"/>
                  <a:pt x="54" y="150"/>
                </a:cubicBezTo>
                <a:cubicBezTo>
                  <a:pt x="43" y="160"/>
                  <a:pt x="43" y="160"/>
                  <a:pt x="43" y="160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32" y="181"/>
                  <a:pt x="32" y="181"/>
                  <a:pt x="32" y="181"/>
                </a:cubicBezTo>
                <a:cubicBezTo>
                  <a:pt x="22" y="181"/>
                  <a:pt x="22" y="181"/>
                  <a:pt x="22" y="181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32" y="192"/>
                  <a:pt x="32" y="192"/>
                  <a:pt x="32" y="192"/>
                </a:cubicBezTo>
                <a:cubicBezTo>
                  <a:pt x="54" y="181"/>
                  <a:pt x="54" y="181"/>
                  <a:pt x="54" y="181"/>
                </a:cubicBezTo>
                <a:cubicBezTo>
                  <a:pt x="76" y="181"/>
                  <a:pt x="76" y="181"/>
                  <a:pt x="76" y="181"/>
                </a:cubicBezTo>
                <a:cubicBezTo>
                  <a:pt x="76" y="203"/>
                  <a:pt x="76" y="203"/>
                  <a:pt x="76" y="203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67"/>
                  <a:pt x="43" y="267"/>
                  <a:pt x="43" y="267"/>
                </a:cubicBezTo>
                <a:cubicBezTo>
                  <a:pt x="87" y="267"/>
                  <a:pt x="87" y="267"/>
                  <a:pt x="87" y="267"/>
                </a:cubicBezTo>
                <a:cubicBezTo>
                  <a:pt x="98" y="278"/>
                  <a:pt x="98" y="278"/>
                  <a:pt x="98" y="278"/>
                </a:cubicBezTo>
                <a:cubicBezTo>
                  <a:pt x="108" y="299"/>
                  <a:pt x="108" y="299"/>
                  <a:pt x="108" y="299"/>
                </a:cubicBezTo>
                <a:cubicBezTo>
                  <a:pt x="65" y="310"/>
                  <a:pt x="65" y="310"/>
                  <a:pt x="65" y="310"/>
                </a:cubicBezTo>
                <a:cubicBezTo>
                  <a:pt x="87" y="331"/>
                  <a:pt x="87" y="331"/>
                  <a:pt x="87" y="331"/>
                </a:cubicBezTo>
                <a:cubicBezTo>
                  <a:pt x="98" y="353"/>
                  <a:pt x="98" y="353"/>
                  <a:pt x="98" y="353"/>
                </a:cubicBezTo>
                <a:cubicBezTo>
                  <a:pt x="98" y="363"/>
                  <a:pt x="98" y="363"/>
                  <a:pt x="98" y="363"/>
                </a:cubicBezTo>
                <a:cubicBezTo>
                  <a:pt x="87" y="363"/>
                  <a:pt x="87" y="363"/>
                  <a:pt x="87" y="363"/>
                </a:cubicBezTo>
                <a:cubicBezTo>
                  <a:pt x="87" y="374"/>
                  <a:pt x="87" y="374"/>
                  <a:pt x="87" y="374"/>
                </a:cubicBezTo>
                <a:cubicBezTo>
                  <a:pt x="119" y="395"/>
                  <a:pt x="119" y="395"/>
                  <a:pt x="119" y="395"/>
                </a:cubicBezTo>
                <a:cubicBezTo>
                  <a:pt x="140" y="417"/>
                  <a:pt x="140" y="417"/>
                  <a:pt x="140" y="417"/>
                </a:cubicBezTo>
                <a:cubicBezTo>
                  <a:pt x="157" y="442"/>
                  <a:pt x="157" y="442"/>
                  <a:pt x="157" y="442"/>
                </a:cubicBezTo>
                <a:cubicBezTo>
                  <a:pt x="157" y="442"/>
                  <a:pt x="157" y="442"/>
                  <a:pt x="157" y="442"/>
                </a:cubicBezTo>
                <a:cubicBezTo>
                  <a:pt x="159" y="442"/>
                  <a:pt x="161" y="443"/>
                  <a:pt x="166" y="444"/>
                </a:cubicBezTo>
                <a:cubicBezTo>
                  <a:pt x="166" y="444"/>
                  <a:pt x="166" y="444"/>
                  <a:pt x="167" y="444"/>
                </a:cubicBezTo>
                <a:cubicBezTo>
                  <a:pt x="173" y="438"/>
                  <a:pt x="173" y="438"/>
                  <a:pt x="173" y="438"/>
                </a:cubicBezTo>
                <a:cubicBezTo>
                  <a:pt x="173" y="447"/>
                  <a:pt x="173" y="447"/>
                  <a:pt x="173" y="447"/>
                </a:cubicBezTo>
                <a:cubicBezTo>
                  <a:pt x="174" y="448"/>
                  <a:pt x="175" y="448"/>
                  <a:pt x="176" y="449"/>
                </a:cubicBezTo>
                <a:cubicBezTo>
                  <a:pt x="176" y="449"/>
                  <a:pt x="176" y="449"/>
                  <a:pt x="180" y="444"/>
                </a:cubicBezTo>
                <a:cubicBezTo>
                  <a:pt x="180" y="444"/>
                  <a:pt x="180" y="444"/>
                  <a:pt x="199" y="447"/>
                </a:cubicBezTo>
                <a:cubicBezTo>
                  <a:pt x="199" y="447"/>
                  <a:pt x="199" y="447"/>
                  <a:pt x="212" y="446"/>
                </a:cubicBezTo>
                <a:cubicBezTo>
                  <a:pt x="212" y="446"/>
                  <a:pt x="212" y="446"/>
                  <a:pt x="230" y="446"/>
                </a:cubicBezTo>
                <a:cubicBezTo>
                  <a:pt x="230" y="446"/>
                  <a:pt x="230" y="446"/>
                  <a:pt x="240" y="443"/>
                </a:cubicBezTo>
                <a:cubicBezTo>
                  <a:pt x="240" y="443"/>
                  <a:pt x="240" y="443"/>
                  <a:pt x="239" y="437"/>
                </a:cubicBezTo>
                <a:cubicBezTo>
                  <a:pt x="239" y="437"/>
                  <a:pt x="239" y="437"/>
                  <a:pt x="237" y="431"/>
                </a:cubicBezTo>
                <a:cubicBezTo>
                  <a:pt x="237" y="431"/>
                  <a:pt x="237" y="431"/>
                  <a:pt x="245" y="425"/>
                </a:cubicBezTo>
                <a:cubicBezTo>
                  <a:pt x="245" y="425"/>
                  <a:pt x="245" y="425"/>
                  <a:pt x="255" y="417"/>
                </a:cubicBezTo>
                <a:cubicBezTo>
                  <a:pt x="255" y="417"/>
                  <a:pt x="255" y="417"/>
                  <a:pt x="258" y="416"/>
                </a:cubicBezTo>
                <a:cubicBezTo>
                  <a:pt x="258" y="416"/>
                  <a:pt x="258" y="416"/>
                  <a:pt x="258" y="421"/>
                </a:cubicBezTo>
                <a:cubicBezTo>
                  <a:pt x="258" y="421"/>
                  <a:pt x="258" y="421"/>
                  <a:pt x="262" y="419"/>
                </a:cubicBezTo>
                <a:cubicBezTo>
                  <a:pt x="262" y="419"/>
                  <a:pt x="262" y="419"/>
                  <a:pt x="266" y="418"/>
                </a:cubicBezTo>
                <a:cubicBezTo>
                  <a:pt x="266" y="418"/>
                  <a:pt x="266" y="418"/>
                  <a:pt x="263" y="414"/>
                </a:cubicBezTo>
                <a:cubicBezTo>
                  <a:pt x="263" y="414"/>
                  <a:pt x="263" y="414"/>
                  <a:pt x="267" y="412"/>
                </a:cubicBezTo>
                <a:cubicBezTo>
                  <a:pt x="267" y="412"/>
                  <a:pt x="267" y="412"/>
                  <a:pt x="268" y="407"/>
                </a:cubicBezTo>
                <a:cubicBezTo>
                  <a:pt x="268" y="407"/>
                  <a:pt x="268" y="407"/>
                  <a:pt x="264" y="405"/>
                </a:cubicBezTo>
                <a:cubicBezTo>
                  <a:pt x="264" y="405"/>
                  <a:pt x="264" y="405"/>
                  <a:pt x="264" y="402"/>
                </a:cubicBezTo>
                <a:cubicBezTo>
                  <a:pt x="264" y="402"/>
                  <a:pt x="264" y="402"/>
                  <a:pt x="267" y="399"/>
                </a:cubicBezTo>
                <a:cubicBezTo>
                  <a:pt x="267" y="399"/>
                  <a:pt x="267" y="399"/>
                  <a:pt x="266" y="396"/>
                </a:cubicBezTo>
                <a:cubicBezTo>
                  <a:pt x="266" y="396"/>
                  <a:pt x="266" y="396"/>
                  <a:pt x="258" y="394"/>
                </a:cubicBezTo>
                <a:cubicBezTo>
                  <a:pt x="258" y="394"/>
                  <a:pt x="258" y="394"/>
                  <a:pt x="254" y="388"/>
                </a:cubicBezTo>
                <a:cubicBezTo>
                  <a:pt x="254" y="388"/>
                  <a:pt x="254" y="388"/>
                  <a:pt x="256" y="385"/>
                </a:cubicBezTo>
                <a:cubicBezTo>
                  <a:pt x="256" y="385"/>
                  <a:pt x="256" y="385"/>
                  <a:pt x="259" y="389"/>
                </a:cubicBezTo>
                <a:cubicBezTo>
                  <a:pt x="259" y="389"/>
                  <a:pt x="259" y="389"/>
                  <a:pt x="262" y="387"/>
                </a:cubicBezTo>
                <a:cubicBezTo>
                  <a:pt x="262" y="387"/>
                  <a:pt x="262" y="387"/>
                  <a:pt x="267" y="388"/>
                </a:cubicBezTo>
                <a:cubicBezTo>
                  <a:pt x="267" y="388"/>
                  <a:pt x="267" y="388"/>
                  <a:pt x="271" y="385"/>
                </a:cubicBezTo>
                <a:cubicBezTo>
                  <a:pt x="271" y="385"/>
                  <a:pt x="271" y="385"/>
                  <a:pt x="279" y="380"/>
                </a:cubicBezTo>
                <a:cubicBezTo>
                  <a:pt x="279" y="380"/>
                  <a:pt x="279" y="380"/>
                  <a:pt x="282" y="378"/>
                </a:cubicBezTo>
                <a:cubicBezTo>
                  <a:pt x="282" y="378"/>
                  <a:pt x="282" y="378"/>
                  <a:pt x="283" y="374"/>
                </a:cubicBezTo>
                <a:cubicBezTo>
                  <a:pt x="283" y="374"/>
                  <a:pt x="283" y="374"/>
                  <a:pt x="288" y="372"/>
                </a:cubicBezTo>
                <a:cubicBezTo>
                  <a:pt x="288" y="372"/>
                  <a:pt x="288" y="372"/>
                  <a:pt x="293" y="377"/>
                </a:cubicBezTo>
                <a:cubicBezTo>
                  <a:pt x="293" y="377"/>
                  <a:pt x="293" y="377"/>
                  <a:pt x="297" y="384"/>
                </a:cubicBezTo>
                <a:cubicBezTo>
                  <a:pt x="297" y="384"/>
                  <a:pt x="297" y="384"/>
                  <a:pt x="298" y="389"/>
                </a:cubicBezTo>
                <a:cubicBezTo>
                  <a:pt x="298" y="389"/>
                  <a:pt x="298" y="389"/>
                  <a:pt x="298" y="392"/>
                </a:cubicBezTo>
                <a:cubicBezTo>
                  <a:pt x="298" y="392"/>
                  <a:pt x="298" y="392"/>
                  <a:pt x="291" y="396"/>
                </a:cubicBezTo>
                <a:cubicBezTo>
                  <a:pt x="291" y="396"/>
                  <a:pt x="291" y="396"/>
                  <a:pt x="292" y="399"/>
                </a:cubicBezTo>
                <a:cubicBezTo>
                  <a:pt x="292" y="399"/>
                  <a:pt x="292" y="399"/>
                  <a:pt x="299" y="400"/>
                </a:cubicBezTo>
                <a:cubicBezTo>
                  <a:pt x="299" y="400"/>
                  <a:pt x="299" y="400"/>
                  <a:pt x="303" y="404"/>
                </a:cubicBezTo>
                <a:cubicBezTo>
                  <a:pt x="303" y="404"/>
                  <a:pt x="303" y="404"/>
                  <a:pt x="309" y="402"/>
                </a:cubicBezTo>
                <a:cubicBezTo>
                  <a:pt x="309" y="402"/>
                  <a:pt x="309" y="402"/>
                  <a:pt x="314" y="404"/>
                </a:cubicBezTo>
                <a:cubicBezTo>
                  <a:pt x="314" y="404"/>
                  <a:pt x="314" y="404"/>
                  <a:pt x="319" y="401"/>
                </a:cubicBezTo>
                <a:cubicBezTo>
                  <a:pt x="319" y="401"/>
                  <a:pt x="319" y="401"/>
                  <a:pt x="321" y="404"/>
                </a:cubicBezTo>
                <a:cubicBezTo>
                  <a:pt x="321" y="404"/>
                  <a:pt x="321" y="404"/>
                  <a:pt x="318" y="408"/>
                </a:cubicBezTo>
                <a:cubicBezTo>
                  <a:pt x="318" y="408"/>
                  <a:pt x="318" y="408"/>
                  <a:pt x="324" y="407"/>
                </a:cubicBezTo>
                <a:cubicBezTo>
                  <a:pt x="324" y="407"/>
                  <a:pt x="324" y="407"/>
                  <a:pt x="326" y="408"/>
                </a:cubicBezTo>
                <a:cubicBezTo>
                  <a:pt x="326" y="408"/>
                  <a:pt x="326" y="408"/>
                  <a:pt x="324" y="425"/>
                </a:cubicBezTo>
                <a:cubicBezTo>
                  <a:pt x="324" y="425"/>
                  <a:pt x="324" y="425"/>
                  <a:pt x="324" y="432"/>
                </a:cubicBezTo>
                <a:cubicBezTo>
                  <a:pt x="324" y="432"/>
                  <a:pt x="324" y="432"/>
                  <a:pt x="328" y="433"/>
                </a:cubicBezTo>
                <a:cubicBezTo>
                  <a:pt x="328" y="433"/>
                  <a:pt x="328" y="433"/>
                  <a:pt x="330" y="431"/>
                </a:cubicBezTo>
                <a:cubicBezTo>
                  <a:pt x="330" y="431"/>
                  <a:pt x="330" y="431"/>
                  <a:pt x="331" y="428"/>
                </a:cubicBezTo>
                <a:cubicBezTo>
                  <a:pt x="331" y="428"/>
                  <a:pt x="331" y="428"/>
                  <a:pt x="334" y="429"/>
                </a:cubicBezTo>
                <a:cubicBezTo>
                  <a:pt x="334" y="429"/>
                  <a:pt x="334" y="429"/>
                  <a:pt x="336" y="433"/>
                </a:cubicBezTo>
                <a:cubicBezTo>
                  <a:pt x="336" y="433"/>
                  <a:pt x="336" y="433"/>
                  <a:pt x="336" y="443"/>
                </a:cubicBezTo>
                <a:cubicBezTo>
                  <a:pt x="336" y="443"/>
                  <a:pt x="336" y="443"/>
                  <a:pt x="335" y="448"/>
                </a:cubicBezTo>
                <a:cubicBezTo>
                  <a:pt x="335" y="448"/>
                  <a:pt x="335" y="448"/>
                  <a:pt x="339" y="450"/>
                </a:cubicBezTo>
                <a:cubicBezTo>
                  <a:pt x="339" y="450"/>
                  <a:pt x="339" y="450"/>
                  <a:pt x="344" y="450"/>
                </a:cubicBezTo>
                <a:cubicBezTo>
                  <a:pt x="344" y="450"/>
                  <a:pt x="344" y="450"/>
                  <a:pt x="348" y="452"/>
                </a:cubicBezTo>
                <a:cubicBezTo>
                  <a:pt x="348" y="452"/>
                  <a:pt x="348" y="452"/>
                  <a:pt x="353" y="456"/>
                </a:cubicBezTo>
                <a:cubicBezTo>
                  <a:pt x="353" y="456"/>
                  <a:pt x="353" y="456"/>
                  <a:pt x="357" y="457"/>
                </a:cubicBezTo>
                <a:cubicBezTo>
                  <a:pt x="357" y="457"/>
                  <a:pt x="357" y="457"/>
                  <a:pt x="356" y="467"/>
                </a:cubicBezTo>
                <a:cubicBezTo>
                  <a:pt x="356" y="467"/>
                  <a:pt x="356" y="467"/>
                  <a:pt x="356" y="472"/>
                </a:cubicBezTo>
                <a:cubicBezTo>
                  <a:pt x="356" y="472"/>
                  <a:pt x="356" y="472"/>
                  <a:pt x="352" y="473"/>
                </a:cubicBezTo>
                <a:cubicBezTo>
                  <a:pt x="352" y="473"/>
                  <a:pt x="352" y="473"/>
                  <a:pt x="354" y="478"/>
                </a:cubicBezTo>
                <a:cubicBezTo>
                  <a:pt x="354" y="478"/>
                  <a:pt x="354" y="478"/>
                  <a:pt x="351" y="482"/>
                </a:cubicBezTo>
                <a:cubicBezTo>
                  <a:pt x="351" y="482"/>
                  <a:pt x="351" y="482"/>
                  <a:pt x="353" y="483"/>
                </a:cubicBezTo>
                <a:cubicBezTo>
                  <a:pt x="353" y="483"/>
                  <a:pt x="353" y="483"/>
                  <a:pt x="356" y="482"/>
                </a:cubicBezTo>
                <a:cubicBezTo>
                  <a:pt x="356" y="482"/>
                  <a:pt x="356" y="482"/>
                  <a:pt x="361" y="485"/>
                </a:cubicBezTo>
                <a:cubicBezTo>
                  <a:pt x="361" y="485"/>
                  <a:pt x="361" y="485"/>
                  <a:pt x="364" y="483"/>
                </a:cubicBezTo>
                <a:cubicBezTo>
                  <a:pt x="364" y="483"/>
                  <a:pt x="364" y="483"/>
                  <a:pt x="369" y="485"/>
                </a:cubicBezTo>
                <a:cubicBezTo>
                  <a:pt x="369" y="485"/>
                  <a:pt x="369" y="485"/>
                  <a:pt x="372" y="485"/>
                </a:cubicBezTo>
                <a:cubicBezTo>
                  <a:pt x="372" y="485"/>
                  <a:pt x="372" y="485"/>
                  <a:pt x="377" y="489"/>
                </a:cubicBezTo>
                <a:cubicBezTo>
                  <a:pt x="377" y="489"/>
                  <a:pt x="377" y="489"/>
                  <a:pt x="381" y="492"/>
                </a:cubicBezTo>
                <a:cubicBezTo>
                  <a:pt x="381" y="492"/>
                  <a:pt x="381" y="492"/>
                  <a:pt x="383" y="496"/>
                </a:cubicBezTo>
                <a:cubicBezTo>
                  <a:pt x="383" y="496"/>
                  <a:pt x="383" y="496"/>
                  <a:pt x="385" y="499"/>
                </a:cubicBezTo>
                <a:cubicBezTo>
                  <a:pt x="385" y="499"/>
                  <a:pt x="385" y="499"/>
                  <a:pt x="390" y="496"/>
                </a:cubicBezTo>
                <a:cubicBezTo>
                  <a:pt x="390" y="496"/>
                  <a:pt x="390" y="496"/>
                  <a:pt x="394" y="494"/>
                </a:cubicBezTo>
                <a:cubicBezTo>
                  <a:pt x="394" y="494"/>
                  <a:pt x="394" y="494"/>
                  <a:pt x="398" y="496"/>
                </a:cubicBezTo>
                <a:cubicBezTo>
                  <a:pt x="398" y="496"/>
                  <a:pt x="398" y="496"/>
                  <a:pt x="399" y="501"/>
                </a:cubicBezTo>
                <a:cubicBezTo>
                  <a:pt x="399" y="501"/>
                  <a:pt x="399" y="501"/>
                  <a:pt x="395" y="505"/>
                </a:cubicBezTo>
                <a:cubicBezTo>
                  <a:pt x="395" y="505"/>
                  <a:pt x="395" y="505"/>
                  <a:pt x="395" y="509"/>
                </a:cubicBezTo>
                <a:cubicBezTo>
                  <a:pt x="395" y="509"/>
                  <a:pt x="395" y="509"/>
                  <a:pt x="392" y="513"/>
                </a:cubicBezTo>
                <a:cubicBezTo>
                  <a:pt x="392" y="513"/>
                  <a:pt x="392" y="513"/>
                  <a:pt x="392" y="516"/>
                </a:cubicBezTo>
                <a:cubicBezTo>
                  <a:pt x="392" y="516"/>
                  <a:pt x="392" y="516"/>
                  <a:pt x="386" y="519"/>
                </a:cubicBezTo>
                <a:cubicBezTo>
                  <a:pt x="386" y="519"/>
                  <a:pt x="386" y="519"/>
                  <a:pt x="384" y="528"/>
                </a:cubicBezTo>
                <a:cubicBezTo>
                  <a:pt x="384" y="528"/>
                  <a:pt x="384" y="528"/>
                  <a:pt x="379" y="531"/>
                </a:cubicBezTo>
                <a:cubicBezTo>
                  <a:pt x="379" y="531"/>
                  <a:pt x="379" y="531"/>
                  <a:pt x="376" y="535"/>
                </a:cubicBezTo>
                <a:cubicBezTo>
                  <a:pt x="376" y="535"/>
                  <a:pt x="376" y="535"/>
                  <a:pt x="376" y="542"/>
                </a:cubicBezTo>
                <a:cubicBezTo>
                  <a:pt x="432" y="535"/>
                  <a:pt x="432" y="535"/>
                  <a:pt x="432" y="535"/>
                </a:cubicBezTo>
                <a:cubicBezTo>
                  <a:pt x="453" y="535"/>
                  <a:pt x="453" y="535"/>
                  <a:pt x="453" y="535"/>
                </a:cubicBezTo>
                <a:cubicBezTo>
                  <a:pt x="453" y="492"/>
                  <a:pt x="453" y="492"/>
                  <a:pt x="453" y="492"/>
                </a:cubicBezTo>
                <a:cubicBezTo>
                  <a:pt x="442" y="481"/>
                  <a:pt x="442" y="481"/>
                  <a:pt x="442" y="481"/>
                </a:cubicBezTo>
                <a:cubicBezTo>
                  <a:pt x="442" y="470"/>
                  <a:pt x="442" y="470"/>
                  <a:pt x="442" y="470"/>
                </a:cubicBezTo>
                <a:cubicBezTo>
                  <a:pt x="486" y="470"/>
                  <a:pt x="486" y="470"/>
                  <a:pt x="486" y="470"/>
                </a:cubicBezTo>
                <a:cubicBezTo>
                  <a:pt x="496" y="460"/>
                  <a:pt x="496" y="460"/>
                  <a:pt x="496" y="460"/>
                </a:cubicBezTo>
                <a:cubicBezTo>
                  <a:pt x="496" y="417"/>
                  <a:pt x="496" y="417"/>
                  <a:pt x="496" y="417"/>
                </a:cubicBezTo>
                <a:lnTo>
                  <a:pt x="486" y="40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1" name="Senegal"/>
          <p:cNvSpPr>
            <a:spLocks/>
          </p:cNvSpPr>
          <p:nvPr/>
        </p:nvSpPr>
        <p:spPr bwMode="gray">
          <a:xfrm>
            <a:off x="3523521" y="3713830"/>
            <a:ext cx="168275" cy="147638"/>
          </a:xfrm>
          <a:custGeom>
            <a:avLst/>
            <a:gdLst>
              <a:gd name="T0" fmla="*/ 2147483647 w 414"/>
              <a:gd name="T1" fmla="*/ 2147483647 h 366"/>
              <a:gd name="T2" fmla="*/ 2147483647 w 414"/>
              <a:gd name="T3" fmla="*/ 2147483647 h 366"/>
              <a:gd name="T4" fmla="*/ 2147483647 w 414"/>
              <a:gd name="T5" fmla="*/ 2147483647 h 366"/>
              <a:gd name="T6" fmla="*/ 2147483647 w 414"/>
              <a:gd name="T7" fmla="*/ 2147483647 h 366"/>
              <a:gd name="T8" fmla="*/ 2147483647 w 414"/>
              <a:gd name="T9" fmla="*/ 2147483647 h 366"/>
              <a:gd name="T10" fmla="*/ 2147483647 w 414"/>
              <a:gd name="T11" fmla="*/ 2147483647 h 366"/>
              <a:gd name="T12" fmla="*/ 2147483647 w 414"/>
              <a:gd name="T13" fmla="*/ 2147483647 h 366"/>
              <a:gd name="T14" fmla="*/ 2147483647 w 414"/>
              <a:gd name="T15" fmla="*/ 2147483647 h 366"/>
              <a:gd name="T16" fmla="*/ 2147483647 w 414"/>
              <a:gd name="T17" fmla="*/ 2147483647 h 366"/>
              <a:gd name="T18" fmla="*/ 2147483647 w 414"/>
              <a:gd name="T19" fmla="*/ 2147483647 h 366"/>
              <a:gd name="T20" fmla="*/ 2147483647 w 414"/>
              <a:gd name="T21" fmla="*/ 2147483647 h 366"/>
              <a:gd name="T22" fmla="*/ 2147483647 w 414"/>
              <a:gd name="T23" fmla="*/ 2147483647 h 366"/>
              <a:gd name="T24" fmla="*/ 2147483647 w 414"/>
              <a:gd name="T25" fmla="*/ 2147483647 h 366"/>
              <a:gd name="T26" fmla="*/ 2147483647 w 414"/>
              <a:gd name="T27" fmla="*/ 2147483647 h 366"/>
              <a:gd name="T28" fmla="*/ 2147483647 w 414"/>
              <a:gd name="T29" fmla="*/ 0 h 366"/>
              <a:gd name="T30" fmla="*/ 2147483647 w 414"/>
              <a:gd name="T31" fmla="*/ 2147483647 h 366"/>
              <a:gd name="T32" fmla="*/ 2147483647 w 414"/>
              <a:gd name="T33" fmla="*/ 2147483647 h 366"/>
              <a:gd name="T34" fmla="*/ 2147483647 w 414"/>
              <a:gd name="T35" fmla="*/ 2147483647 h 366"/>
              <a:gd name="T36" fmla="*/ 2147483647 w 414"/>
              <a:gd name="T37" fmla="*/ 2147483647 h 366"/>
              <a:gd name="T38" fmla="*/ 2147483647 w 414"/>
              <a:gd name="T39" fmla="*/ 2147483647 h 366"/>
              <a:gd name="T40" fmla="*/ 2147483647 w 414"/>
              <a:gd name="T41" fmla="*/ 2147483647 h 366"/>
              <a:gd name="T42" fmla="*/ 0 w 414"/>
              <a:gd name="T43" fmla="*/ 2147483647 h 366"/>
              <a:gd name="T44" fmla="*/ 2147483647 w 414"/>
              <a:gd name="T45" fmla="*/ 2147483647 h 366"/>
              <a:gd name="T46" fmla="*/ 2147483647 w 414"/>
              <a:gd name="T47" fmla="*/ 2147483647 h 366"/>
              <a:gd name="T48" fmla="*/ 2147483647 w 414"/>
              <a:gd name="T49" fmla="*/ 2147483647 h 366"/>
              <a:gd name="T50" fmla="*/ 2147483647 w 414"/>
              <a:gd name="T51" fmla="*/ 2147483647 h 366"/>
              <a:gd name="T52" fmla="*/ 2147483647 w 414"/>
              <a:gd name="T53" fmla="*/ 2147483647 h 366"/>
              <a:gd name="T54" fmla="*/ 2147483647 w 414"/>
              <a:gd name="T55" fmla="*/ 2147483647 h 366"/>
              <a:gd name="T56" fmla="*/ 2147483647 w 414"/>
              <a:gd name="T57" fmla="*/ 2147483647 h 366"/>
              <a:gd name="T58" fmla="*/ 2147483647 w 414"/>
              <a:gd name="T59" fmla="*/ 2147483647 h 366"/>
              <a:gd name="T60" fmla="*/ 2147483647 w 414"/>
              <a:gd name="T61" fmla="*/ 2147483647 h 366"/>
              <a:gd name="T62" fmla="*/ 2147483647 w 414"/>
              <a:gd name="T63" fmla="*/ 2147483647 h 366"/>
              <a:gd name="T64" fmla="*/ 2147483647 w 414"/>
              <a:gd name="T65" fmla="*/ 2147483647 h 366"/>
              <a:gd name="T66" fmla="*/ 2147483647 w 414"/>
              <a:gd name="T67" fmla="*/ 2147483647 h 366"/>
              <a:gd name="T68" fmla="*/ 2147483647 w 414"/>
              <a:gd name="T69" fmla="*/ 2147483647 h 366"/>
              <a:gd name="T70" fmla="*/ 2147483647 w 414"/>
              <a:gd name="T71" fmla="*/ 2147483647 h 366"/>
              <a:gd name="T72" fmla="*/ 2147483647 w 414"/>
              <a:gd name="T73" fmla="*/ 2147483647 h 366"/>
              <a:gd name="T74" fmla="*/ 2147483647 w 414"/>
              <a:gd name="T75" fmla="*/ 2147483647 h 366"/>
              <a:gd name="T76" fmla="*/ 2147483647 w 414"/>
              <a:gd name="T77" fmla="*/ 2147483647 h 366"/>
              <a:gd name="T78" fmla="*/ 2147483647 w 414"/>
              <a:gd name="T79" fmla="*/ 2147483647 h 366"/>
              <a:gd name="T80" fmla="*/ 2147483647 w 414"/>
              <a:gd name="T81" fmla="*/ 2147483647 h 366"/>
              <a:gd name="T82" fmla="*/ 2147483647 w 414"/>
              <a:gd name="T83" fmla="*/ 2147483647 h 366"/>
              <a:gd name="T84" fmla="*/ 2147483647 w 414"/>
              <a:gd name="T85" fmla="*/ 2147483647 h 366"/>
              <a:gd name="T86" fmla="*/ 2147483647 w 414"/>
              <a:gd name="T87" fmla="*/ 2147483647 h 366"/>
              <a:gd name="T88" fmla="*/ 2147483647 w 414"/>
              <a:gd name="T89" fmla="*/ 2147483647 h 366"/>
              <a:gd name="T90" fmla="*/ 2147483647 w 414"/>
              <a:gd name="T91" fmla="*/ 2147483647 h 366"/>
              <a:gd name="T92" fmla="*/ 2147483647 w 414"/>
              <a:gd name="T93" fmla="*/ 2147483647 h 366"/>
              <a:gd name="T94" fmla="*/ 2147483647 w 414"/>
              <a:gd name="T95" fmla="*/ 2147483647 h 366"/>
              <a:gd name="T96" fmla="*/ 2147483647 w 414"/>
              <a:gd name="T97" fmla="*/ 2147483647 h 366"/>
              <a:gd name="T98" fmla="*/ 2147483647 w 414"/>
              <a:gd name="T99" fmla="*/ 2147483647 h 366"/>
              <a:gd name="T100" fmla="*/ 2147483647 w 414"/>
              <a:gd name="T101" fmla="*/ 2147483647 h 366"/>
              <a:gd name="T102" fmla="*/ 2147483647 w 414"/>
              <a:gd name="T103" fmla="*/ 2147483647 h 366"/>
              <a:gd name="T104" fmla="*/ 2147483647 w 414"/>
              <a:gd name="T105" fmla="*/ 2147483647 h 36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14"/>
              <a:gd name="T160" fmla="*/ 0 h 366"/>
              <a:gd name="T161" fmla="*/ 414 w 414"/>
              <a:gd name="T162" fmla="*/ 366 h 36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14" h="366">
                <a:moveTo>
                  <a:pt x="402" y="270"/>
                </a:moveTo>
                <a:lnTo>
                  <a:pt x="396" y="270"/>
                </a:lnTo>
                <a:lnTo>
                  <a:pt x="396" y="276"/>
                </a:lnTo>
                <a:lnTo>
                  <a:pt x="384" y="276"/>
                </a:lnTo>
                <a:lnTo>
                  <a:pt x="378" y="270"/>
                </a:lnTo>
                <a:lnTo>
                  <a:pt x="378" y="246"/>
                </a:lnTo>
                <a:lnTo>
                  <a:pt x="384" y="240"/>
                </a:lnTo>
                <a:lnTo>
                  <a:pt x="384" y="222"/>
                </a:lnTo>
                <a:lnTo>
                  <a:pt x="372" y="210"/>
                </a:lnTo>
                <a:lnTo>
                  <a:pt x="372" y="204"/>
                </a:lnTo>
                <a:lnTo>
                  <a:pt x="360" y="186"/>
                </a:lnTo>
                <a:lnTo>
                  <a:pt x="360" y="162"/>
                </a:lnTo>
                <a:lnTo>
                  <a:pt x="348" y="138"/>
                </a:lnTo>
                <a:lnTo>
                  <a:pt x="318" y="132"/>
                </a:lnTo>
                <a:lnTo>
                  <a:pt x="318" y="108"/>
                </a:lnTo>
                <a:lnTo>
                  <a:pt x="312" y="102"/>
                </a:lnTo>
                <a:lnTo>
                  <a:pt x="294" y="102"/>
                </a:lnTo>
                <a:lnTo>
                  <a:pt x="294" y="72"/>
                </a:lnTo>
                <a:lnTo>
                  <a:pt x="288" y="60"/>
                </a:lnTo>
                <a:lnTo>
                  <a:pt x="288" y="54"/>
                </a:lnTo>
                <a:lnTo>
                  <a:pt x="282" y="48"/>
                </a:lnTo>
                <a:lnTo>
                  <a:pt x="264" y="48"/>
                </a:lnTo>
                <a:lnTo>
                  <a:pt x="252" y="54"/>
                </a:lnTo>
                <a:lnTo>
                  <a:pt x="246" y="42"/>
                </a:lnTo>
                <a:lnTo>
                  <a:pt x="234" y="30"/>
                </a:lnTo>
                <a:lnTo>
                  <a:pt x="228" y="18"/>
                </a:lnTo>
                <a:lnTo>
                  <a:pt x="222" y="18"/>
                </a:lnTo>
                <a:lnTo>
                  <a:pt x="210" y="12"/>
                </a:lnTo>
                <a:lnTo>
                  <a:pt x="186" y="12"/>
                </a:lnTo>
                <a:lnTo>
                  <a:pt x="162" y="0"/>
                </a:lnTo>
                <a:lnTo>
                  <a:pt x="162" y="18"/>
                </a:lnTo>
                <a:lnTo>
                  <a:pt x="132" y="12"/>
                </a:lnTo>
                <a:lnTo>
                  <a:pt x="120" y="18"/>
                </a:lnTo>
                <a:lnTo>
                  <a:pt x="114" y="18"/>
                </a:lnTo>
                <a:lnTo>
                  <a:pt x="108" y="12"/>
                </a:lnTo>
                <a:lnTo>
                  <a:pt x="102" y="12"/>
                </a:lnTo>
                <a:lnTo>
                  <a:pt x="90" y="18"/>
                </a:lnTo>
                <a:lnTo>
                  <a:pt x="84" y="24"/>
                </a:lnTo>
                <a:lnTo>
                  <a:pt x="66" y="60"/>
                </a:lnTo>
                <a:lnTo>
                  <a:pt x="60" y="66"/>
                </a:lnTo>
                <a:lnTo>
                  <a:pt x="60" y="90"/>
                </a:lnTo>
                <a:lnTo>
                  <a:pt x="48" y="96"/>
                </a:lnTo>
                <a:lnTo>
                  <a:pt x="30" y="132"/>
                </a:lnTo>
                <a:lnTo>
                  <a:pt x="0" y="162"/>
                </a:lnTo>
                <a:lnTo>
                  <a:pt x="6" y="168"/>
                </a:lnTo>
                <a:lnTo>
                  <a:pt x="12" y="168"/>
                </a:lnTo>
                <a:lnTo>
                  <a:pt x="18" y="174"/>
                </a:lnTo>
                <a:lnTo>
                  <a:pt x="24" y="186"/>
                </a:lnTo>
                <a:lnTo>
                  <a:pt x="24" y="204"/>
                </a:lnTo>
                <a:lnTo>
                  <a:pt x="42" y="222"/>
                </a:lnTo>
                <a:lnTo>
                  <a:pt x="42" y="246"/>
                </a:lnTo>
                <a:lnTo>
                  <a:pt x="48" y="252"/>
                </a:lnTo>
                <a:lnTo>
                  <a:pt x="126" y="252"/>
                </a:lnTo>
                <a:lnTo>
                  <a:pt x="126" y="240"/>
                </a:lnTo>
                <a:lnTo>
                  <a:pt x="180" y="240"/>
                </a:lnTo>
                <a:lnTo>
                  <a:pt x="180" y="252"/>
                </a:lnTo>
                <a:lnTo>
                  <a:pt x="192" y="246"/>
                </a:lnTo>
                <a:lnTo>
                  <a:pt x="198" y="252"/>
                </a:lnTo>
                <a:lnTo>
                  <a:pt x="204" y="264"/>
                </a:lnTo>
                <a:lnTo>
                  <a:pt x="216" y="264"/>
                </a:lnTo>
                <a:lnTo>
                  <a:pt x="222" y="258"/>
                </a:lnTo>
                <a:lnTo>
                  <a:pt x="246" y="258"/>
                </a:lnTo>
                <a:lnTo>
                  <a:pt x="252" y="264"/>
                </a:lnTo>
                <a:lnTo>
                  <a:pt x="252" y="270"/>
                </a:lnTo>
                <a:lnTo>
                  <a:pt x="246" y="276"/>
                </a:lnTo>
                <a:lnTo>
                  <a:pt x="234" y="282"/>
                </a:lnTo>
                <a:lnTo>
                  <a:pt x="228" y="288"/>
                </a:lnTo>
                <a:lnTo>
                  <a:pt x="204" y="288"/>
                </a:lnTo>
                <a:lnTo>
                  <a:pt x="186" y="282"/>
                </a:lnTo>
                <a:lnTo>
                  <a:pt x="180" y="270"/>
                </a:lnTo>
                <a:lnTo>
                  <a:pt x="168" y="264"/>
                </a:lnTo>
                <a:lnTo>
                  <a:pt x="162" y="258"/>
                </a:lnTo>
                <a:lnTo>
                  <a:pt x="156" y="264"/>
                </a:lnTo>
                <a:lnTo>
                  <a:pt x="150" y="276"/>
                </a:lnTo>
                <a:lnTo>
                  <a:pt x="126" y="276"/>
                </a:lnTo>
                <a:lnTo>
                  <a:pt x="120" y="282"/>
                </a:lnTo>
                <a:lnTo>
                  <a:pt x="108" y="282"/>
                </a:lnTo>
                <a:lnTo>
                  <a:pt x="108" y="294"/>
                </a:lnTo>
                <a:lnTo>
                  <a:pt x="36" y="294"/>
                </a:lnTo>
                <a:lnTo>
                  <a:pt x="36" y="318"/>
                </a:lnTo>
                <a:lnTo>
                  <a:pt x="30" y="324"/>
                </a:lnTo>
                <a:lnTo>
                  <a:pt x="30" y="336"/>
                </a:lnTo>
                <a:lnTo>
                  <a:pt x="36" y="342"/>
                </a:lnTo>
                <a:lnTo>
                  <a:pt x="42" y="354"/>
                </a:lnTo>
                <a:lnTo>
                  <a:pt x="48" y="360"/>
                </a:lnTo>
                <a:lnTo>
                  <a:pt x="60" y="366"/>
                </a:lnTo>
                <a:lnTo>
                  <a:pt x="66" y="366"/>
                </a:lnTo>
                <a:lnTo>
                  <a:pt x="72" y="360"/>
                </a:lnTo>
                <a:lnTo>
                  <a:pt x="78" y="360"/>
                </a:lnTo>
                <a:lnTo>
                  <a:pt x="90" y="348"/>
                </a:lnTo>
                <a:lnTo>
                  <a:pt x="126" y="348"/>
                </a:lnTo>
                <a:lnTo>
                  <a:pt x="156" y="324"/>
                </a:lnTo>
                <a:lnTo>
                  <a:pt x="294" y="330"/>
                </a:lnTo>
                <a:lnTo>
                  <a:pt x="294" y="336"/>
                </a:lnTo>
                <a:lnTo>
                  <a:pt x="300" y="348"/>
                </a:lnTo>
                <a:lnTo>
                  <a:pt x="318" y="348"/>
                </a:lnTo>
                <a:lnTo>
                  <a:pt x="324" y="342"/>
                </a:lnTo>
                <a:lnTo>
                  <a:pt x="330" y="348"/>
                </a:lnTo>
                <a:lnTo>
                  <a:pt x="336" y="360"/>
                </a:lnTo>
                <a:lnTo>
                  <a:pt x="342" y="366"/>
                </a:lnTo>
                <a:lnTo>
                  <a:pt x="354" y="366"/>
                </a:lnTo>
                <a:lnTo>
                  <a:pt x="366" y="360"/>
                </a:lnTo>
                <a:lnTo>
                  <a:pt x="372" y="354"/>
                </a:lnTo>
                <a:lnTo>
                  <a:pt x="414" y="354"/>
                </a:lnTo>
                <a:lnTo>
                  <a:pt x="414" y="288"/>
                </a:lnTo>
                <a:lnTo>
                  <a:pt x="408" y="276"/>
                </a:lnTo>
                <a:lnTo>
                  <a:pt x="402" y="27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2" name="Switzerland"/>
          <p:cNvSpPr>
            <a:spLocks/>
          </p:cNvSpPr>
          <p:nvPr/>
        </p:nvSpPr>
        <p:spPr bwMode="gray">
          <a:xfrm>
            <a:off x="4201383" y="2712118"/>
            <a:ext cx="115888" cy="63500"/>
          </a:xfrm>
          <a:custGeom>
            <a:avLst/>
            <a:gdLst>
              <a:gd name="T0" fmla="*/ 2147483647 w 288"/>
              <a:gd name="T1" fmla="*/ 2147483647 h 162"/>
              <a:gd name="T2" fmla="*/ 2147483647 w 288"/>
              <a:gd name="T3" fmla="*/ 2147483647 h 162"/>
              <a:gd name="T4" fmla="*/ 2147483647 w 288"/>
              <a:gd name="T5" fmla="*/ 2147483647 h 162"/>
              <a:gd name="T6" fmla="*/ 2147483647 w 288"/>
              <a:gd name="T7" fmla="*/ 2147483647 h 162"/>
              <a:gd name="T8" fmla="*/ 2147483647 w 288"/>
              <a:gd name="T9" fmla="*/ 2147483647 h 162"/>
              <a:gd name="T10" fmla="*/ 2147483647 w 288"/>
              <a:gd name="T11" fmla="*/ 2147483647 h 162"/>
              <a:gd name="T12" fmla="*/ 2147483647 w 288"/>
              <a:gd name="T13" fmla="*/ 2147483647 h 162"/>
              <a:gd name="T14" fmla="*/ 0 w 288"/>
              <a:gd name="T15" fmla="*/ 2147483647 h 162"/>
              <a:gd name="T16" fmla="*/ 2147483647 w 288"/>
              <a:gd name="T17" fmla="*/ 2147483647 h 162"/>
              <a:gd name="T18" fmla="*/ 2147483647 w 288"/>
              <a:gd name="T19" fmla="*/ 2147483647 h 162"/>
              <a:gd name="T20" fmla="*/ 2147483647 w 288"/>
              <a:gd name="T21" fmla="*/ 2147483647 h 162"/>
              <a:gd name="T22" fmla="*/ 2147483647 w 288"/>
              <a:gd name="T23" fmla="*/ 2147483647 h 162"/>
              <a:gd name="T24" fmla="*/ 2147483647 w 288"/>
              <a:gd name="T25" fmla="*/ 2147483647 h 162"/>
              <a:gd name="T26" fmla="*/ 2147483647 w 288"/>
              <a:gd name="T27" fmla="*/ 2147483647 h 162"/>
              <a:gd name="T28" fmla="*/ 2147483647 w 288"/>
              <a:gd name="T29" fmla="*/ 2147483647 h 162"/>
              <a:gd name="T30" fmla="*/ 2147483647 w 288"/>
              <a:gd name="T31" fmla="*/ 2147483647 h 162"/>
              <a:gd name="T32" fmla="*/ 2147483647 w 288"/>
              <a:gd name="T33" fmla="*/ 2147483647 h 162"/>
              <a:gd name="T34" fmla="*/ 2147483647 w 288"/>
              <a:gd name="T35" fmla="*/ 2147483647 h 162"/>
              <a:gd name="T36" fmla="*/ 2147483647 w 288"/>
              <a:gd name="T37" fmla="*/ 2147483647 h 162"/>
              <a:gd name="T38" fmla="*/ 2147483647 w 288"/>
              <a:gd name="T39" fmla="*/ 2147483647 h 162"/>
              <a:gd name="T40" fmla="*/ 2147483647 w 288"/>
              <a:gd name="T41" fmla="*/ 2147483647 h 162"/>
              <a:gd name="T42" fmla="*/ 2147483647 w 288"/>
              <a:gd name="T43" fmla="*/ 2147483647 h 162"/>
              <a:gd name="T44" fmla="*/ 2147483647 w 288"/>
              <a:gd name="T45" fmla="*/ 2147483647 h 162"/>
              <a:gd name="T46" fmla="*/ 2147483647 w 288"/>
              <a:gd name="T47" fmla="*/ 2147483647 h 162"/>
              <a:gd name="T48" fmla="*/ 2147483647 w 288"/>
              <a:gd name="T49" fmla="*/ 2147483647 h 162"/>
              <a:gd name="T50" fmla="*/ 2147483647 w 288"/>
              <a:gd name="T51" fmla="*/ 2147483647 h 162"/>
              <a:gd name="T52" fmla="*/ 2147483647 w 288"/>
              <a:gd name="T53" fmla="*/ 2147483647 h 162"/>
              <a:gd name="T54" fmla="*/ 2147483647 w 288"/>
              <a:gd name="T55" fmla="*/ 2147483647 h 162"/>
              <a:gd name="T56" fmla="*/ 2147483647 w 288"/>
              <a:gd name="T57" fmla="*/ 2147483647 h 162"/>
              <a:gd name="T58" fmla="*/ 2147483647 w 288"/>
              <a:gd name="T59" fmla="*/ 2147483647 h 162"/>
              <a:gd name="T60" fmla="*/ 2147483647 w 288"/>
              <a:gd name="T61" fmla="*/ 2147483647 h 162"/>
              <a:gd name="T62" fmla="*/ 2147483647 w 288"/>
              <a:gd name="T63" fmla="*/ 2147483647 h 162"/>
              <a:gd name="T64" fmla="*/ 2147483647 w 288"/>
              <a:gd name="T65" fmla="*/ 2147483647 h 162"/>
              <a:gd name="T66" fmla="*/ 2147483647 w 288"/>
              <a:gd name="T67" fmla="*/ 0 h 162"/>
              <a:gd name="T68" fmla="*/ 2147483647 w 288"/>
              <a:gd name="T69" fmla="*/ 2147483647 h 162"/>
              <a:gd name="T70" fmla="*/ 2147483647 w 288"/>
              <a:gd name="T71" fmla="*/ 2147483647 h 162"/>
              <a:gd name="T72" fmla="*/ 2147483647 w 288"/>
              <a:gd name="T73" fmla="*/ 2147483647 h 1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88"/>
              <a:gd name="T112" fmla="*/ 0 h 162"/>
              <a:gd name="T113" fmla="*/ 288 w 288"/>
              <a:gd name="T114" fmla="*/ 162 h 1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88" h="162">
                <a:moveTo>
                  <a:pt x="132" y="24"/>
                </a:moveTo>
                <a:lnTo>
                  <a:pt x="96" y="24"/>
                </a:lnTo>
                <a:lnTo>
                  <a:pt x="90" y="42"/>
                </a:lnTo>
                <a:lnTo>
                  <a:pt x="72" y="30"/>
                </a:lnTo>
                <a:lnTo>
                  <a:pt x="66" y="42"/>
                </a:lnTo>
                <a:lnTo>
                  <a:pt x="60" y="48"/>
                </a:lnTo>
                <a:lnTo>
                  <a:pt x="54" y="60"/>
                </a:lnTo>
                <a:lnTo>
                  <a:pt x="48" y="66"/>
                </a:lnTo>
                <a:lnTo>
                  <a:pt x="30" y="66"/>
                </a:lnTo>
                <a:lnTo>
                  <a:pt x="30" y="78"/>
                </a:lnTo>
                <a:lnTo>
                  <a:pt x="18" y="90"/>
                </a:lnTo>
                <a:lnTo>
                  <a:pt x="12" y="102"/>
                </a:lnTo>
                <a:lnTo>
                  <a:pt x="0" y="108"/>
                </a:lnTo>
                <a:lnTo>
                  <a:pt x="6" y="120"/>
                </a:lnTo>
                <a:lnTo>
                  <a:pt x="0" y="126"/>
                </a:lnTo>
                <a:lnTo>
                  <a:pt x="0" y="132"/>
                </a:lnTo>
                <a:lnTo>
                  <a:pt x="6" y="132"/>
                </a:lnTo>
                <a:lnTo>
                  <a:pt x="30" y="108"/>
                </a:lnTo>
                <a:lnTo>
                  <a:pt x="48" y="108"/>
                </a:lnTo>
                <a:lnTo>
                  <a:pt x="54" y="114"/>
                </a:lnTo>
                <a:lnTo>
                  <a:pt x="48" y="138"/>
                </a:lnTo>
                <a:lnTo>
                  <a:pt x="60" y="150"/>
                </a:lnTo>
                <a:lnTo>
                  <a:pt x="60" y="156"/>
                </a:lnTo>
                <a:lnTo>
                  <a:pt x="72" y="156"/>
                </a:lnTo>
                <a:lnTo>
                  <a:pt x="84" y="144"/>
                </a:lnTo>
                <a:lnTo>
                  <a:pt x="96" y="144"/>
                </a:lnTo>
                <a:lnTo>
                  <a:pt x="108" y="156"/>
                </a:lnTo>
                <a:lnTo>
                  <a:pt x="114" y="156"/>
                </a:lnTo>
                <a:lnTo>
                  <a:pt x="132" y="138"/>
                </a:lnTo>
                <a:lnTo>
                  <a:pt x="132" y="120"/>
                </a:lnTo>
                <a:lnTo>
                  <a:pt x="138" y="114"/>
                </a:lnTo>
                <a:lnTo>
                  <a:pt x="150" y="114"/>
                </a:lnTo>
                <a:lnTo>
                  <a:pt x="156" y="120"/>
                </a:lnTo>
                <a:lnTo>
                  <a:pt x="156" y="126"/>
                </a:lnTo>
                <a:lnTo>
                  <a:pt x="162" y="132"/>
                </a:lnTo>
                <a:lnTo>
                  <a:pt x="162" y="138"/>
                </a:lnTo>
                <a:lnTo>
                  <a:pt x="168" y="138"/>
                </a:lnTo>
                <a:lnTo>
                  <a:pt x="192" y="162"/>
                </a:lnTo>
                <a:lnTo>
                  <a:pt x="192" y="144"/>
                </a:lnTo>
                <a:lnTo>
                  <a:pt x="204" y="132"/>
                </a:lnTo>
                <a:lnTo>
                  <a:pt x="210" y="108"/>
                </a:lnTo>
                <a:lnTo>
                  <a:pt x="222" y="126"/>
                </a:lnTo>
                <a:lnTo>
                  <a:pt x="240" y="120"/>
                </a:lnTo>
                <a:lnTo>
                  <a:pt x="258" y="132"/>
                </a:lnTo>
                <a:lnTo>
                  <a:pt x="264" y="120"/>
                </a:lnTo>
                <a:lnTo>
                  <a:pt x="252" y="108"/>
                </a:lnTo>
                <a:lnTo>
                  <a:pt x="252" y="102"/>
                </a:lnTo>
                <a:lnTo>
                  <a:pt x="276" y="102"/>
                </a:lnTo>
                <a:lnTo>
                  <a:pt x="282" y="84"/>
                </a:lnTo>
                <a:lnTo>
                  <a:pt x="288" y="84"/>
                </a:lnTo>
                <a:lnTo>
                  <a:pt x="288" y="78"/>
                </a:lnTo>
                <a:lnTo>
                  <a:pt x="276" y="66"/>
                </a:lnTo>
                <a:lnTo>
                  <a:pt x="270" y="66"/>
                </a:lnTo>
                <a:lnTo>
                  <a:pt x="252" y="84"/>
                </a:lnTo>
                <a:lnTo>
                  <a:pt x="246" y="84"/>
                </a:lnTo>
                <a:lnTo>
                  <a:pt x="246" y="66"/>
                </a:lnTo>
                <a:lnTo>
                  <a:pt x="210" y="66"/>
                </a:lnTo>
                <a:lnTo>
                  <a:pt x="210" y="60"/>
                </a:lnTo>
                <a:lnTo>
                  <a:pt x="216" y="48"/>
                </a:lnTo>
                <a:lnTo>
                  <a:pt x="222" y="42"/>
                </a:lnTo>
                <a:lnTo>
                  <a:pt x="228" y="42"/>
                </a:lnTo>
                <a:lnTo>
                  <a:pt x="228" y="30"/>
                </a:lnTo>
                <a:lnTo>
                  <a:pt x="216" y="30"/>
                </a:lnTo>
                <a:lnTo>
                  <a:pt x="210" y="18"/>
                </a:lnTo>
                <a:lnTo>
                  <a:pt x="192" y="12"/>
                </a:lnTo>
                <a:lnTo>
                  <a:pt x="180" y="12"/>
                </a:lnTo>
                <a:lnTo>
                  <a:pt x="174" y="6"/>
                </a:lnTo>
                <a:lnTo>
                  <a:pt x="162" y="0"/>
                </a:lnTo>
                <a:lnTo>
                  <a:pt x="156" y="0"/>
                </a:lnTo>
                <a:lnTo>
                  <a:pt x="150" y="6"/>
                </a:lnTo>
                <a:lnTo>
                  <a:pt x="150" y="18"/>
                </a:lnTo>
                <a:lnTo>
                  <a:pt x="156" y="24"/>
                </a:lnTo>
                <a:lnTo>
                  <a:pt x="150" y="18"/>
                </a:lnTo>
                <a:lnTo>
                  <a:pt x="132" y="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3" name="Sweden"/>
          <p:cNvSpPr>
            <a:spLocks noEditPoints="1"/>
          </p:cNvSpPr>
          <p:nvPr/>
        </p:nvSpPr>
        <p:spPr bwMode="gray">
          <a:xfrm>
            <a:off x="4333146" y="2078705"/>
            <a:ext cx="279400" cy="398463"/>
          </a:xfrm>
          <a:custGeom>
            <a:avLst/>
            <a:gdLst>
              <a:gd name="T0" fmla="*/ 2147483647 w 690"/>
              <a:gd name="T1" fmla="*/ 2147483647 h 990"/>
              <a:gd name="T2" fmla="*/ 2147483647 w 690"/>
              <a:gd name="T3" fmla="*/ 2147483647 h 990"/>
              <a:gd name="T4" fmla="*/ 2147483647 w 690"/>
              <a:gd name="T5" fmla="*/ 2147483647 h 990"/>
              <a:gd name="T6" fmla="*/ 2147483647 w 690"/>
              <a:gd name="T7" fmla="*/ 2147483647 h 990"/>
              <a:gd name="T8" fmla="*/ 2147483647 w 690"/>
              <a:gd name="T9" fmla="*/ 2147483647 h 990"/>
              <a:gd name="T10" fmla="*/ 2147483647 w 690"/>
              <a:gd name="T11" fmla="*/ 2147483647 h 990"/>
              <a:gd name="T12" fmla="*/ 2147483647 w 690"/>
              <a:gd name="T13" fmla="*/ 2147483647 h 990"/>
              <a:gd name="T14" fmla="*/ 2147483647 w 690"/>
              <a:gd name="T15" fmla="*/ 2147483647 h 990"/>
              <a:gd name="T16" fmla="*/ 2147483647 w 690"/>
              <a:gd name="T17" fmla="*/ 2147483647 h 990"/>
              <a:gd name="T18" fmla="*/ 2147483647 w 690"/>
              <a:gd name="T19" fmla="*/ 2147483647 h 990"/>
              <a:gd name="T20" fmla="*/ 2147483647 w 690"/>
              <a:gd name="T21" fmla="*/ 2147483647 h 990"/>
              <a:gd name="T22" fmla="*/ 2147483647 w 690"/>
              <a:gd name="T23" fmla="*/ 2147483647 h 990"/>
              <a:gd name="T24" fmla="*/ 2147483647 w 690"/>
              <a:gd name="T25" fmla="*/ 2147483647 h 990"/>
              <a:gd name="T26" fmla="*/ 2147483647 w 690"/>
              <a:gd name="T27" fmla="*/ 2147483647 h 990"/>
              <a:gd name="T28" fmla="*/ 2147483647 w 690"/>
              <a:gd name="T29" fmla="*/ 2147483647 h 990"/>
              <a:gd name="T30" fmla="*/ 2147483647 w 690"/>
              <a:gd name="T31" fmla="*/ 2147483647 h 990"/>
              <a:gd name="T32" fmla="*/ 2147483647 w 690"/>
              <a:gd name="T33" fmla="*/ 2147483647 h 990"/>
              <a:gd name="T34" fmla="*/ 2147483647 w 690"/>
              <a:gd name="T35" fmla="*/ 2147483647 h 990"/>
              <a:gd name="T36" fmla="*/ 2147483647 w 690"/>
              <a:gd name="T37" fmla="*/ 2147483647 h 990"/>
              <a:gd name="T38" fmla="*/ 2147483647 w 690"/>
              <a:gd name="T39" fmla="*/ 2147483647 h 990"/>
              <a:gd name="T40" fmla="*/ 2147483647 w 690"/>
              <a:gd name="T41" fmla="*/ 2147483647 h 990"/>
              <a:gd name="T42" fmla="*/ 2147483647 w 690"/>
              <a:gd name="T43" fmla="*/ 2147483647 h 990"/>
              <a:gd name="T44" fmla="*/ 2147483647 w 690"/>
              <a:gd name="T45" fmla="*/ 2147483647 h 990"/>
              <a:gd name="T46" fmla="*/ 0 w 690"/>
              <a:gd name="T47" fmla="*/ 2147483647 h 990"/>
              <a:gd name="T48" fmla="*/ 2147483647 w 690"/>
              <a:gd name="T49" fmla="*/ 2147483647 h 990"/>
              <a:gd name="T50" fmla="*/ 2147483647 w 690"/>
              <a:gd name="T51" fmla="*/ 2147483647 h 990"/>
              <a:gd name="T52" fmla="*/ 2147483647 w 690"/>
              <a:gd name="T53" fmla="*/ 2147483647 h 990"/>
              <a:gd name="T54" fmla="*/ 2147483647 w 690"/>
              <a:gd name="T55" fmla="*/ 2147483647 h 990"/>
              <a:gd name="T56" fmla="*/ 2147483647 w 690"/>
              <a:gd name="T57" fmla="*/ 2147483647 h 990"/>
              <a:gd name="T58" fmla="*/ 2147483647 w 690"/>
              <a:gd name="T59" fmla="*/ 2147483647 h 990"/>
              <a:gd name="T60" fmla="*/ 2147483647 w 690"/>
              <a:gd name="T61" fmla="*/ 2147483647 h 990"/>
              <a:gd name="T62" fmla="*/ 2147483647 w 690"/>
              <a:gd name="T63" fmla="*/ 2147483647 h 990"/>
              <a:gd name="T64" fmla="*/ 2147483647 w 690"/>
              <a:gd name="T65" fmla="*/ 2147483647 h 990"/>
              <a:gd name="T66" fmla="*/ 2147483647 w 690"/>
              <a:gd name="T67" fmla="*/ 2147483647 h 990"/>
              <a:gd name="T68" fmla="*/ 2147483647 w 690"/>
              <a:gd name="T69" fmla="*/ 2147483647 h 990"/>
              <a:gd name="T70" fmla="*/ 2147483647 w 690"/>
              <a:gd name="T71" fmla="*/ 2147483647 h 990"/>
              <a:gd name="T72" fmla="*/ 2147483647 w 690"/>
              <a:gd name="T73" fmla="*/ 2147483647 h 990"/>
              <a:gd name="T74" fmla="*/ 2147483647 w 690"/>
              <a:gd name="T75" fmla="*/ 2147483647 h 990"/>
              <a:gd name="T76" fmla="*/ 2147483647 w 690"/>
              <a:gd name="T77" fmla="*/ 2147483647 h 990"/>
              <a:gd name="T78" fmla="*/ 2147483647 w 690"/>
              <a:gd name="T79" fmla="*/ 2147483647 h 990"/>
              <a:gd name="T80" fmla="*/ 2147483647 w 690"/>
              <a:gd name="T81" fmla="*/ 2147483647 h 990"/>
              <a:gd name="T82" fmla="*/ 2147483647 w 690"/>
              <a:gd name="T83" fmla="*/ 2147483647 h 990"/>
              <a:gd name="T84" fmla="*/ 2147483647 w 690"/>
              <a:gd name="T85" fmla="*/ 2147483647 h 990"/>
              <a:gd name="T86" fmla="*/ 2147483647 w 690"/>
              <a:gd name="T87" fmla="*/ 2147483647 h 990"/>
              <a:gd name="T88" fmla="*/ 2147483647 w 690"/>
              <a:gd name="T89" fmla="*/ 2147483647 h 990"/>
              <a:gd name="T90" fmla="*/ 2147483647 w 690"/>
              <a:gd name="T91" fmla="*/ 2147483647 h 990"/>
              <a:gd name="T92" fmla="*/ 2147483647 w 690"/>
              <a:gd name="T93" fmla="*/ 2147483647 h 990"/>
              <a:gd name="T94" fmla="*/ 2147483647 w 690"/>
              <a:gd name="T95" fmla="*/ 2147483647 h 990"/>
              <a:gd name="T96" fmla="*/ 2147483647 w 690"/>
              <a:gd name="T97" fmla="*/ 2147483647 h 990"/>
              <a:gd name="T98" fmla="*/ 2147483647 w 690"/>
              <a:gd name="T99" fmla="*/ 2147483647 h 990"/>
              <a:gd name="T100" fmla="*/ 2147483647 w 690"/>
              <a:gd name="T101" fmla="*/ 2147483647 h 99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90"/>
              <a:gd name="T154" fmla="*/ 0 h 990"/>
              <a:gd name="T155" fmla="*/ 690 w 690"/>
              <a:gd name="T156" fmla="*/ 990 h 99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90" h="990">
                <a:moveTo>
                  <a:pt x="678" y="204"/>
                </a:moveTo>
                <a:lnTo>
                  <a:pt x="672" y="198"/>
                </a:lnTo>
                <a:lnTo>
                  <a:pt x="660" y="192"/>
                </a:lnTo>
                <a:lnTo>
                  <a:pt x="648" y="180"/>
                </a:lnTo>
                <a:lnTo>
                  <a:pt x="648" y="174"/>
                </a:lnTo>
                <a:lnTo>
                  <a:pt x="654" y="162"/>
                </a:lnTo>
                <a:lnTo>
                  <a:pt x="660" y="156"/>
                </a:lnTo>
                <a:lnTo>
                  <a:pt x="666" y="144"/>
                </a:lnTo>
                <a:lnTo>
                  <a:pt x="642" y="132"/>
                </a:lnTo>
                <a:lnTo>
                  <a:pt x="648" y="108"/>
                </a:lnTo>
                <a:lnTo>
                  <a:pt x="636" y="102"/>
                </a:lnTo>
                <a:lnTo>
                  <a:pt x="636" y="96"/>
                </a:lnTo>
                <a:lnTo>
                  <a:pt x="642" y="90"/>
                </a:lnTo>
                <a:lnTo>
                  <a:pt x="642" y="66"/>
                </a:lnTo>
                <a:lnTo>
                  <a:pt x="636" y="66"/>
                </a:lnTo>
                <a:lnTo>
                  <a:pt x="630" y="60"/>
                </a:lnTo>
                <a:lnTo>
                  <a:pt x="618" y="60"/>
                </a:lnTo>
                <a:lnTo>
                  <a:pt x="588" y="42"/>
                </a:lnTo>
                <a:lnTo>
                  <a:pt x="552" y="42"/>
                </a:lnTo>
                <a:lnTo>
                  <a:pt x="540" y="30"/>
                </a:lnTo>
                <a:lnTo>
                  <a:pt x="534" y="30"/>
                </a:lnTo>
                <a:lnTo>
                  <a:pt x="528" y="24"/>
                </a:lnTo>
                <a:lnTo>
                  <a:pt x="516" y="24"/>
                </a:lnTo>
                <a:lnTo>
                  <a:pt x="504" y="18"/>
                </a:lnTo>
                <a:lnTo>
                  <a:pt x="498" y="12"/>
                </a:lnTo>
                <a:lnTo>
                  <a:pt x="486" y="6"/>
                </a:lnTo>
                <a:lnTo>
                  <a:pt x="456" y="0"/>
                </a:lnTo>
                <a:lnTo>
                  <a:pt x="456" y="24"/>
                </a:lnTo>
                <a:lnTo>
                  <a:pt x="444" y="24"/>
                </a:lnTo>
                <a:lnTo>
                  <a:pt x="444" y="30"/>
                </a:lnTo>
                <a:lnTo>
                  <a:pt x="456" y="42"/>
                </a:lnTo>
                <a:lnTo>
                  <a:pt x="462" y="42"/>
                </a:lnTo>
                <a:lnTo>
                  <a:pt x="456" y="48"/>
                </a:lnTo>
                <a:lnTo>
                  <a:pt x="444" y="48"/>
                </a:lnTo>
                <a:lnTo>
                  <a:pt x="438" y="42"/>
                </a:lnTo>
                <a:lnTo>
                  <a:pt x="414" y="42"/>
                </a:lnTo>
                <a:lnTo>
                  <a:pt x="390" y="36"/>
                </a:lnTo>
                <a:lnTo>
                  <a:pt x="366" y="42"/>
                </a:lnTo>
                <a:lnTo>
                  <a:pt x="366" y="30"/>
                </a:lnTo>
                <a:lnTo>
                  <a:pt x="360" y="24"/>
                </a:lnTo>
                <a:lnTo>
                  <a:pt x="348" y="36"/>
                </a:lnTo>
                <a:lnTo>
                  <a:pt x="348" y="66"/>
                </a:lnTo>
                <a:lnTo>
                  <a:pt x="342" y="72"/>
                </a:lnTo>
                <a:lnTo>
                  <a:pt x="324" y="72"/>
                </a:lnTo>
                <a:lnTo>
                  <a:pt x="282" y="78"/>
                </a:lnTo>
                <a:lnTo>
                  <a:pt x="264" y="96"/>
                </a:lnTo>
                <a:lnTo>
                  <a:pt x="252" y="102"/>
                </a:lnTo>
                <a:lnTo>
                  <a:pt x="246" y="102"/>
                </a:lnTo>
                <a:lnTo>
                  <a:pt x="246" y="114"/>
                </a:lnTo>
                <a:lnTo>
                  <a:pt x="258" y="120"/>
                </a:lnTo>
                <a:lnTo>
                  <a:pt x="264" y="126"/>
                </a:lnTo>
                <a:lnTo>
                  <a:pt x="258" y="144"/>
                </a:lnTo>
                <a:lnTo>
                  <a:pt x="252" y="144"/>
                </a:lnTo>
                <a:lnTo>
                  <a:pt x="240" y="150"/>
                </a:lnTo>
                <a:lnTo>
                  <a:pt x="234" y="156"/>
                </a:lnTo>
                <a:lnTo>
                  <a:pt x="234" y="162"/>
                </a:lnTo>
                <a:lnTo>
                  <a:pt x="228" y="168"/>
                </a:lnTo>
                <a:lnTo>
                  <a:pt x="210" y="168"/>
                </a:lnTo>
                <a:lnTo>
                  <a:pt x="216" y="174"/>
                </a:lnTo>
                <a:lnTo>
                  <a:pt x="216" y="180"/>
                </a:lnTo>
                <a:lnTo>
                  <a:pt x="222" y="186"/>
                </a:lnTo>
                <a:lnTo>
                  <a:pt x="222" y="192"/>
                </a:lnTo>
                <a:lnTo>
                  <a:pt x="216" y="192"/>
                </a:lnTo>
                <a:lnTo>
                  <a:pt x="210" y="198"/>
                </a:lnTo>
                <a:lnTo>
                  <a:pt x="204" y="198"/>
                </a:lnTo>
                <a:lnTo>
                  <a:pt x="192" y="204"/>
                </a:lnTo>
                <a:lnTo>
                  <a:pt x="174" y="192"/>
                </a:lnTo>
                <a:lnTo>
                  <a:pt x="174" y="228"/>
                </a:lnTo>
                <a:lnTo>
                  <a:pt x="168" y="270"/>
                </a:lnTo>
                <a:lnTo>
                  <a:pt x="138" y="300"/>
                </a:lnTo>
                <a:lnTo>
                  <a:pt x="132" y="300"/>
                </a:lnTo>
                <a:lnTo>
                  <a:pt x="120" y="306"/>
                </a:lnTo>
                <a:lnTo>
                  <a:pt x="132" y="312"/>
                </a:lnTo>
                <a:lnTo>
                  <a:pt x="150" y="330"/>
                </a:lnTo>
                <a:lnTo>
                  <a:pt x="150" y="336"/>
                </a:lnTo>
                <a:lnTo>
                  <a:pt x="144" y="342"/>
                </a:lnTo>
                <a:lnTo>
                  <a:pt x="102" y="342"/>
                </a:lnTo>
                <a:lnTo>
                  <a:pt x="90" y="348"/>
                </a:lnTo>
                <a:lnTo>
                  <a:pt x="84" y="354"/>
                </a:lnTo>
                <a:lnTo>
                  <a:pt x="72" y="360"/>
                </a:lnTo>
                <a:lnTo>
                  <a:pt x="30" y="402"/>
                </a:lnTo>
                <a:lnTo>
                  <a:pt x="36" y="408"/>
                </a:lnTo>
                <a:lnTo>
                  <a:pt x="42" y="408"/>
                </a:lnTo>
                <a:lnTo>
                  <a:pt x="48" y="414"/>
                </a:lnTo>
                <a:lnTo>
                  <a:pt x="48" y="420"/>
                </a:lnTo>
                <a:lnTo>
                  <a:pt x="42" y="426"/>
                </a:lnTo>
                <a:lnTo>
                  <a:pt x="36" y="426"/>
                </a:lnTo>
                <a:lnTo>
                  <a:pt x="30" y="432"/>
                </a:lnTo>
                <a:lnTo>
                  <a:pt x="30" y="444"/>
                </a:lnTo>
                <a:lnTo>
                  <a:pt x="54" y="468"/>
                </a:lnTo>
                <a:lnTo>
                  <a:pt x="54" y="480"/>
                </a:lnTo>
                <a:lnTo>
                  <a:pt x="48" y="492"/>
                </a:lnTo>
                <a:lnTo>
                  <a:pt x="48" y="510"/>
                </a:lnTo>
                <a:lnTo>
                  <a:pt x="60" y="522"/>
                </a:lnTo>
                <a:lnTo>
                  <a:pt x="66" y="522"/>
                </a:lnTo>
                <a:lnTo>
                  <a:pt x="84" y="540"/>
                </a:lnTo>
                <a:lnTo>
                  <a:pt x="84" y="552"/>
                </a:lnTo>
                <a:lnTo>
                  <a:pt x="72" y="564"/>
                </a:lnTo>
                <a:lnTo>
                  <a:pt x="48" y="570"/>
                </a:lnTo>
                <a:lnTo>
                  <a:pt x="54" y="576"/>
                </a:lnTo>
                <a:lnTo>
                  <a:pt x="60" y="588"/>
                </a:lnTo>
                <a:lnTo>
                  <a:pt x="60" y="594"/>
                </a:lnTo>
                <a:lnTo>
                  <a:pt x="66" y="600"/>
                </a:lnTo>
                <a:lnTo>
                  <a:pt x="66" y="606"/>
                </a:lnTo>
                <a:lnTo>
                  <a:pt x="72" y="618"/>
                </a:lnTo>
                <a:lnTo>
                  <a:pt x="66" y="618"/>
                </a:lnTo>
                <a:lnTo>
                  <a:pt x="66" y="642"/>
                </a:lnTo>
                <a:lnTo>
                  <a:pt x="60" y="648"/>
                </a:lnTo>
                <a:lnTo>
                  <a:pt x="24" y="648"/>
                </a:lnTo>
                <a:lnTo>
                  <a:pt x="30" y="660"/>
                </a:lnTo>
                <a:lnTo>
                  <a:pt x="30" y="666"/>
                </a:lnTo>
                <a:lnTo>
                  <a:pt x="24" y="666"/>
                </a:lnTo>
                <a:lnTo>
                  <a:pt x="18" y="672"/>
                </a:lnTo>
                <a:lnTo>
                  <a:pt x="18" y="678"/>
                </a:lnTo>
                <a:lnTo>
                  <a:pt x="30" y="690"/>
                </a:lnTo>
                <a:lnTo>
                  <a:pt x="30" y="708"/>
                </a:lnTo>
                <a:lnTo>
                  <a:pt x="24" y="714"/>
                </a:lnTo>
                <a:lnTo>
                  <a:pt x="18" y="726"/>
                </a:lnTo>
                <a:lnTo>
                  <a:pt x="0" y="708"/>
                </a:lnTo>
                <a:lnTo>
                  <a:pt x="0" y="768"/>
                </a:lnTo>
                <a:lnTo>
                  <a:pt x="6" y="762"/>
                </a:lnTo>
                <a:lnTo>
                  <a:pt x="24" y="762"/>
                </a:lnTo>
                <a:lnTo>
                  <a:pt x="36" y="774"/>
                </a:lnTo>
                <a:lnTo>
                  <a:pt x="36" y="780"/>
                </a:lnTo>
                <a:lnTo>
                  <a:pt x="30" y="780"/>
                </a:lnTo>
                <a:lnTo>
                  <a:pt x="30" y="774"/>
                </a:lnTo>
                <a:lnTo>
                  <a:pt x="24" y="774"/>
                </a:lnTo>
                <a:lnTo>
                  <a:pt x="24" y="834"/>
                </a:lnTo>
                <a:lnTo>
                  <a:pt x="30" y="840"/>
                </a:lnTo>
                <a:lnTo>
                  <a:pt x="36" y="840"/>
                </a:lnTo>
                <a:lnTo>
                  <a:pt x="48" y="846"/>
                </a:lnTo>
                <a:lnTo>
                  <a:pt x="54" y="858"/>
                </a:lnTo>
                <a:lnTo>
                  <a:pt x="60" y="864"/>
                </a:lnTo>
                <a:lnTo>
                  <a:pt x="66" y="876"/>
                </a:lnTo>
                <a:lnTo>
                  <a:pt x="90" y="900"/>
                </a:lnTo>
                <a:lnTo>
                  <a:pt x="96" y="900"/>
                </a:lnTo>
                <a:lnTo>
                  <a:pt x="96" y="912"/>
                </a:lnTo>
                <a:lnTo>
                  <a:pt x="78" y="912"/>
                </a:lnTo>
                <a:lnTo>
                  <a:pt x="78" y="942"/>
                </a:lnTo>
                <a:lnTo>
                  <a:pt x="90" y="954"/>
                </a:lnTo>
                <a:lnTo>
                  <a:pt x="102" y="960"/>
                </a:lnTo>
                <a:lnTo>
                  <a:pt x="96" y="966"/>
                </a:lnTo>
                <a:lnTo>
                  <a:pt x="96" y="984"/>
                </a:lnTo>
                <a:lnTo>
                  <a:pt x="102" y="984"/>
                </a:lnTo>
                <a:lnTo>
                  <a:pt x="108" y="990"/>
                </a:lnTo>
                <a:lnTo>
                  <a:pt x="174" y="990"/>
                </a:lnTo>
                <a:lnTo>
                  <a:pt x="180" y="984"/>
                </a:lnTo>
                <a:lnTo>
                  <a:pt x="180" y="948"/>
                </a:lnTo>
                <a:lnTo>
                  <a:pt x="198" y="942"/>
                </a:lnTo>
                <a:lnTo>
                  <a:pt x="198" y="924"/>
                </a:lnTo>
                <a:lnTo>
                  <a:pt x="264" y="930"/>
                </a:lnTo>
                <a:lnTo>
                  <a:pt x="276" y="936"/>
                </a:lnTo>
                <a:lnTo>
                  <a:pt x="300" y="876"/>
                </a:lnTo>
                <a:lnTo>
                  <a:pt x="300" y="864"/>
                </a:lnTo>
                <a:lnTo>
                  <a:pt x="306" y="852"/>
                </a:lnTo>
                <a:lnTo>
                  <a:pt x="306" y="816"/>
                </a:lnTo>
                <a:lnTo>
                  <a:pt x="300" y="810"/>
                </a:lnTo>
                <a:lnTo>
                  <a:pt x="294" y="798"/>
                </a:lnTo>
                <a:lnTo>
                  <a:pt x="312" y="798"/>
                </a:lnTo>
                <a:lnTo>
                  <a:pt x="324" y="786"/>
                </a:lnTo>
                <a:lnTo>
                  <a:pt x="324" y="780"/>
                </a:lnTo>
                <a:lnTo>
                  <a:pt x="306" y="762"/>
                </a:lnTo>
                <a:lnTo>
                  <a:pt x="294" y="762"/>
                </a:lnTo>
                <a:lnTo>
                  <a:pt x="312" y="756"/>
                </a:lnTo>
                <a:lnTo>
                  <a:pt x="300" y="750"/>
                </a:lnTo>
                <a:lnTo>
                  <a:pt x="324" y="750"/>
                </a:lnTo>
                <a:lnTo>
                  <a:pt x="336" y="744"/>
                </a:lnTo>
                <a:lnTo>
                  <a:pt x="348" y="744"/>
                </a:lnTo>
                <a:lnTo>
                  <a:pt x="354" y="738"/>
                </a:lnTo>
                <a:lnTo>
                  <a:pt x="360" y="726"/>
                </a:lnTo>
                <a:lnTo>
                  <a:pt x="360" y="714"/>
                </a:lnTo>
                <a:lnTo>
                  <a:pt x="366" y="708"/>
                </a:lnTo>
                <a:lnTo>
                  <a:pt x="384" y="726"/>
                </a:lnTo>
                <a:lnTo>
                  <a:pt x="390" y="726"/>
                </a:lnTo>
                <a:lnTo>
                  <a:pt x="396" y="720"/>
                </a:lnTo>
                <a:lnTo>
                  <a:pt x="408" y="696"/>
                </a:lnTo>
                <a:lnTo>
                  <a:pt x="402" y="690"/>
                </a:lnTo>
                <a:lnTo>
                  <a:pt x="402" y="684"/>
                </a:lnTo>
                <a:lnTo>
                  <a:pt x="414" y="684"/>
                </a:lnTo>
                <a:lnTo>
                  <a:pt x="420" y="678"/>
                </a:lnTo>
                <a:lnTo>
                  <a:pt x="432" y="672"/>
                </a:lnTo>
                <a:lnTo>
                  <a:pt x="432" y="660"/>
                </a:lnTo>
                <a:lnTo>
                  <a:pt x="420" y="636"/>
                </a:lnTo>
                <a:lnTo>
                  <a:pt x="408" y="630"/>
                </a:lnTo>
                <a:lnTo>
                  <a:pt x="408" y="618"/>
                </a:lnTo>
                <a:lnTo>
                  <a:pt x="372" y="600"/>
                </a:lnTo>
                <a:lnTo>
                  <a:pt x="360" y="606"/>
                </a:lnTo>
                <a:lnTo>
                  <a:pt x="354" y="606"/>
                </a:lnTo>
                <a:lnTo>
                  <a:pt x="342" y="600"/>
                </a:lnTo>
                <a:lnTo>
                  <a:pt x="330" y="576"/>
                </a:lnTo>
                <a:lnTo>
                  <a:pt x="330" y="558"/>
                </a:lnTo>
                <a:lnTo>
                  <a:pt x="324" y="546"/>
                </a:lnTo>
                <a:lnTo>
                  <a:pt x="324" y="528"/>
                </a:lnTo>
                <a:lnTo>
                  <a:pt x="336" y="516"/>
                </a:lnTo>
                <a:lnTo>
                  <a:pt x="342" y="504"/>
                </a:lnTo>
                <a:lnTo>
                  <a:pt x="342" y="486"/>
                </a:lnTo>
                <a:lnTo>
                  <a:pt x="336" y="474"/>
                </a:lnTo>
                <a:lnTo>
                  <a:pt x="330" y="468"/>
                </a:lnTo>
                <a:lnTo>
                  <a:pt x="330" y="462"/>
                </a:lnTo>
                <a:lnTo>
                  <a:pt x="348" y="462"/>
                </a:lnTo>
                <a:lnTo>
                  <a:pt x="354" y="456"/>
                </a:lnTo>
                <a:lnTo>
                  <a:pt x="354" y="438"/>
                </a:lnTo>
                <a:lnTo>
                  <a:pt x="348" y="426"/>
                </a:lnTo>
                <a:lnTo>
                  <a:pt x="354" y="432"/>
                </a:lnTo>
                <a:lnTo>
                  <a:pt x="378" y="432"/>
                </a:lnTo>
                <a:lnTo>
                  <a:pt x="384" y="426"/>
                </a:lnTo>
                <a:lnTo>
                  <a:pt x="396" y="420"/>
                </a:lnTo>
                <a:lnTo>
                  <a:pt x="408" y="408"/>
                </a:lnTo>
                <a:lnTo>
                  <a:pt x="438" y="414"/>
                </a:lnTo>
                <a:lnTo>
                  <a:pt x="450" y="390"/>
                </a:lnTo>
                <a:lnTo>
                  <a:pt x="480" y="390"/>
                </a:lnTo>
                <a:lnTo>
                  <a:pt x="498" y="384"/>
                </a:lnTo>
                <a:lnTo>
                  <a:pt x="510" y="378"/>
                </a:lnTo>
                <a:lnTo>
                  <a:pt x="522" y="354"/>
                </a:lnTo>
                <a:lnTo>
                  <a:pt x="540" y="336"/>
                </a:lnTo>
                <a:lnTo>
                  <a:pt x="546" y="324"/>
                </a:lnTo>
                <a:lnTo>
                  <a:pt x="528" y="300"/>
                </a:lnTo>
                <a:lnTo>
                  <a:pt x="558" y="264"/>
                </a:lnTo>
                <a:lnTo>
                  <a:pt x="540" y="246"/>
                </a:lnTo>
                <a:lnTo>
                  <a:pt x="576" y="234"/>
                </a:lnTo>
                <a:lnTo>
                  <a:pt x="594" y="216"/>
                </a:lnTo>
                <a:lnTo>
                  <a:pt x="672" y="222"/>
                </a:lnTo>
                <a:lnTo>
                  <a:pt x="684" y="240"/>
                </a:lnTo>
                <a:lnTo>
                  <a:pt x="690" y="240"/>
                </a:lnTo>
                <a:lnTo>
                  <a:pt x="678" y="204"/>
                </a:lnTo>
                <a:close/>
                <a:moveTo>
                  <a:pt x="390" y="828"/>
                </a:moveTo>
                <a:lnTo>
                  <a:pt x="390" y="840"/>
                </a:lnTo>
                <a:lnTo>
                  <a:pt x="396" y="852"/>
                </a:lnTo>
                <a:lnTo>
                  <a:pt x="396" y="864"/>
                </a:lnTo>
                <a:lnTo>
                  <a:pt x="402" y="870"/>
                </a:lnTo>
                <a:lnTo>
                  <a:pt x="402" y="876"/>
                </a:lnTo>
                <a:lnTo>
                  <a:pt x="414" y="852"/>
                </a:lnTo>
                <a:lnTo>
                  <a:pt x="426" y="852"/>
                </a:lnTo>
                <a:lnTo>
                  <a:pt x="432" y="846"/>
                </a:lnTo>
                <a:lnTo>
                  <a:pt x="438" y="834"/>
                </a:lnTo>
                <a:lnTo>
                  <a:pt x="438" y="822"/>
                </a:lnTo>
                <a:lnTo>
                  <a:pt x="432" y="816"/>
                </a:lnTo>
                <a:lnTo>
                  <a:pt x="450" y="798"/>
                </a:lnTo>
                <a:lnTo>
                  <a:pt x="444" y="798"/>
                </a:lnTo>
                <a:lnTo>
                  <a:pt x="438" y="804"/>
                </a:lnTo>
                <a:lnTo>
                  <a:pt x="420" y="804"/>
                </a:lnTo>
                <a:lnTo>
                  <a:pt x="408" y="810"/>
                </a:lnTo>
                <a:lnTo>
                  <a:pt x="390" y="828"/>
                </a:lnTo>
                <a:close/>
                <a:moveTo>
                  <a:pt x="300" y="900"/>
                </a:moveTo>
                <a:lnTo>
                  <a:pt x="300" y="912"/>
                </a:lnTo>
                <a:lnTo>
                  <a:pt x="294" y="924"/>
                </a:lnTo>
                <a:lnTo>
                  <a:pt x="300" y="918"/>
                </a:lnTo>
                <a:lnTo>
                  <a:pt x="312" y="912"/>
                </a:lnTo>
                <a:lnTo>
                  <a:pt x="318" y="900"/>
                </a:lnTo>
                <a:lnTo>
                  <a:pt x="318" y="894"/>
                </a:lnTo>
                <a:lnTo>
                  <a:pt x="324" y="888"/>
                </a:lnTo>
                <a:lnTo>
                  <a:pt x="324" y="882"/>
                </a:lnTo>
                <a:lnTo>
                  <a:pt x="342" y="858"/>
                </a:lnTo>
                <a:lnTo>
                  <a:pt x="336" y="840"/>
                </a:lnTo>
                <a:lnTo>
                  <a:pt x="330" y="852"/>
                </a:lnTo>
                <a:lnTo>
                  <a:pt x="312" y="870"/>
                </a:lnTo>
                <a:lnTo>
                  <a:pt x="300" y="894"/>
                </a:lnTo>
                <a:lnTo>
                  <a:pt x="300" y="90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4" name="Saudi Arabia"/>
          <p:cNvSpPr>
            <a:spLocks/>
          </p:cNvSpPr>
          <p:nvPr/>
        </p:nvSpPr>
        <p:spPr bwMode="gray">
          <a:xfrm>
            <a:off x="4987196" y="3216943"/>
            <a:ext cx="596900" cy="512762"/>
          </a:xfrm>
          <a:custGeom>
            <a:avLst/>
            <a:gdLst>
              <a:gd name="T0" fmla="*/ 2147483647 w 1488"/>
              <a:gd name="T1" fmla="*/ 2147483647 h 1278"/>
              <a:gd name="T2" fmla="*/ 2147483647 w 1488"/>
              <a:gd name="T3" fmla="*/ 2147483647 h 1278"/>
              <a:gd name="T4" fmla="*/ 2147483647 w 1488"/>
              <a:gd name="T5" fmla="*/ 2147483647 h 1278"/>
              <a:gd name="T6" fmla="*/ 2147483647 w 1488"/>
              <a:gd name="T7" fmla="*/ 2147483647 h 1278"/>
              <a:gd name="T8" fmla="*/ 2147483647 w 1488"/>
              <a:gd name="T9" fmla="*/ 2147483647 h 1278"/>
              <a:gd name="T10" fmla="*/ 2147483647 w 1488"/>
              <a:gd name="T11" fmla="*/ 2147483647 h 1278"/>
              <a:gd name="T12" fmla="*/ 2147483647 w 1488"/>
              <a:gd name="T13" fmla="*/ 2147483647 h 1278"/>
              <a:gd name="T14" fmla="*/ 2147483647 w 1488"/>
              <a:gd name="T15" fmla="*/ 2147483647 h 1278"/>
              <a:gd name="T16" fmla="*/ 2147483647 w 1488"/>
              <a:gd name="T17" fmla="*/ 2147483647 h 1278"/>
              <a:gd name="T18" fmla="*/ 2147483647 w 1488"/>
              <a:gd name="T19" fmla="*/ 2147483647 h 1278"/>
              <a:gd name="T20" fmla="*/ 2147483647 w 1488"/>
              <a:gd name="T21" fmla="*/ 2147483647 h 1278"/>
              <a:gd name="T22" fmla="*/ 2147483647 w 1488"/>
              <a:gd name="T23" fmla="*/ 2147483647 h 1278"/>
              <a:gd name="T24" fmla="*/ 2147483647 w 1488"/>
              <a:gd name="T25" fmla="*/ 2147483647 h 1278"/>
              <a:gd name="T26" fmla="*/ 2147483647 w 1488"/>
              <a:gd name="T27" fmla="*/ 2147483647 h 1278"/>
              <a:gd name="T28" fmla="*/ 2147483647 w 1488"/>
              <a:gd name="T29" fmla="*/ 2147483647 h 1278"/>
              <a:gd name="T30" fmla="*/ 2147483647 w 1488"/>
              <a:gd name="T31" fmla="*/ 2147483647 h 1278"/>
              <a:gd name="T32" fmla="*/ 2147483647 w 1488"/>
              <a:gd name="T33" fmla="*/ 2147483647 h 1278"/>
              <a:gd name="T34" fmla="*/ 2147483647 w 1488"/>
              <a:gd name="T35" fmla="*/ 2147483647 h 1278"/>
              <a:gd name="T36" fmla="*/ 2147483647 w 1488"/>
              <a:gd name="T37" fmla="*/ 2147483647 h 1278"/>
              <a:gd name="T38" fmla="*/ 2147483647 w 1488"/>
              <a:gd name="T39" fmla="*/ 0 h 1278"/>
              <a:gd name="T40" fmla="*/ 2147483647 w 1488"/>
              <a:gd name="T41" fmla="*/ 2147483647 h 1278"/>
              <a:gd name="T42" fmla="*/ 2147483647 w 1488"/>
              <a:gd name="T43" fmla="*/ 2147483647 h 1278"/>
              <a:gd name="T44" fmla="*/ 2147483647 w 1488"/>
              <a:gd name="T45" fmla="*/ 2147483647 h 1278"/>
              <a:gd name="T46" fmla="*/ 2147483647 w 1488"/>
              <a:gd name="T47" fmla="*/ 2147483647 h 1278"/>
              <a:gd name="T48" fmla="*/ 2147483647 w 1488"/>
              <a:gd name="T49" fmla="*/ 2147483647 h 1278"/>
              <a:gd name="T50" fmla="*/ 2147483647 w 1488"/>
              <a:gd name="T51" fmla="*/ 2147483647 h 1278"/>
              <a:gd name="T52" fmla="*/ 2147483647 w 1488"/>
              <a:gd name="T53" fmla="*/ 2147483647 h 1278"/>
              <a:gd name="T54" fmla="*/ 2147483647 w 1488"/>
              <a:gd name="T55" fmla="*/ 2147483647 h 1278"/>
              <a:gd name="T56" fmla="*/ 2147483647 w 1488"/>
              <a:gd name="T57" fmla="*/ 2147483647 h 1278"/>
              <a:gd name="T58" fmla="*/ 2147483647 w 1488"/>
              <a:gd name="T59" fmla="*/ 2147483647 h 1278"/>
              <a:gd name="T60" fmla="*/ 2147483647 w 1488"/>
              <a:gd name="T61" fmla="*/ 2147483647 h 1278"/>
              <a:gd name="T62" fmla="*/ 0 w 1488"/>
              <a:gd name="T63" fmla="*/ 2147483647 h 1278"/>
              <a:gd name="T64" fmla="*/ 2147483647 w 1488"/>
              <a:gd name="T65" fmla="*/ 2147483647 h 1278"/>
              <a:gd name="T66" fmla="*/ 2147483647 w 1488"/>
              <a:gd name="T67" fmla="*/ 2147483647 h 1278"/>
              <a:gd name="T68" fmla="*/ 2147483647 w 1488"/>
              <a:gd name="T69" fmla="*/ 2147483647 h 1278"/>
              <a:gd name="T70" fmla="*/ 2147483647 w 1488"/>
              <a:gd name="T71" fmla="*/ 2147483647 h 1278"/>
              <a:gd name="T72" fmla="*/ 2147483647 w 1488"/>
              <a:gd name="T73" fmla="*/ 2147483647 h 1278"/>
              <a:gd name="T74" fmla="*/ 2147483647 w 1488"/>
              <a:gd name="T75" fmla="*/ 2147483647 h 1278"/>
              <a:gd name="T76" fmla="*/ 2147483647 w 1488"/>
              <a:gd name="T77" fmla="*/ 2147483647 h 1278"/>
              <a:gd name="T78" fmla="*/ 2147483647 w 1488"/>
              <a:gd name="T79" fmla="*/ 2147483647 h 1278"/>
              <a:gd name="T80" fmla="*/ 2147483647 w 1488"/>
              <a:gd name="T81" fmla="*/ 2147483647 h 1278"/>
              <a:gd name="T82" fmla="*/ 2147483647 w 1488"/>
              <a:gd name="T83" fmla="*/ 2147483647 h 1278"/>
              <a:gd name="T84" fmla="*/ 2147483647 w 1488"/>
              <a:gd name="T85" fmla="*/ 2147483647 h 1278"/>
              <a:gd name="T86" fmla="*/ 2147483647 w 1488"/>
              <a:gd name="T87" fmla="*/ 2147483647 h 1278"/>
              <a:gd name="T88" fmla="*/ 2147483647 w 1488"/>
              <a:gd name="T89" fmla="*/ 2147483647 h 1278"/>
              <a:gd name="T90" fmla="*/ 2147483647 w 1488"/>
              <a:gd name="T91" fmla="*/ 2147483647 h 1278"/>
              <a:gd name="T92" fmla="*/ 2147483647 w 1488"/>
              <a:gd name="T93" fmla="*/ 2147483647 h 1278"/>
              <a:gd name="T94" fmla="*/ 2147483647 w 1488"/>
              <a:gd name="T95" fmla="*/ 2147483647 h 1278"/>
              <a:gd name="T96" fmla="*/ 2147483647 w 1488"/>
              <a:gd name="T97" fmla="*/ 2147483647 h 1278"/>
              <a:gd name="T98" fmla="*/ 2147483647 w 1488"/>
              <a:gd name="T99" fmla="*/ 2147483647 h 1278"/>
              <a:gd name="T100" fmla="*/ 2147483647 w 1488"/>
              <a:gd name="T101" fmla="*/ 2147483647 h 1278"/>
              <a:gd name="T102" fmla="*/ 2147483647 w 1488"/>
              <a:gd name="T103" fmla="*/ 2147483647 h 1278"/>
              <a:gd name="T104" fmla="*/ 2147483647 w 1488"/>
              <a:gd name="T105" fmla="*/ 2147483647 h 1278"/>
              <a:gd name="T106" fmla="*/ 2147483647 w 1488"/>
              <a:gd name="T107" fmla="*/ 2147483647 h 1278"/>
              <a:gd name="T108" fmla="*/ 2147483647 w 1488"/>
              <a:gd name="T109" fmla="*/ 2147483647 h 1278"/>
              <a:gd name="T110" fmla="*/ 2147483647 w 1488"/>
              <a:gd name="T111" fmla="*/ 2147483647 h 1278"/>
              <a:gd name="T112" fmla="*/ 2147483647 w 1488"/>
              <a:gd name="T113" fmla="*/ 2147483647 h 1278"/>
              <a:gd name="T114" fmla="*/ 2147483647 w 1488"/>
              <a:gd name="T115" fmla="*/ 2147483647 h 1278"/>
              <a:gd name="T116" fmla="*/ 2147483647 w 1488"/>
              <a:gd name="T117" fmla="*/ 2147483647 h 12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488"/>
              <a:gd name="T178" fmla="*/ 0 h 1278"/>
              <a:gd name="T179" fmla="*/ 1488 w 1488"/>
              <a:gd name="T180" fmla="*/ 1278 h 12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488" h="1278">
                <a:moveTo>
                  <a:pt x="1464" y="792"/>
                </a:moveTo>
                <a:lnTo>
                  <a:pt x="1464" y="780"/>
                </a:lnTo>
                <a:lnTo>
                  <a:pt x="1458" y="774"/>
                </a:lnTo>
                <a:lnTo>
                  <a:pt x="1416" y="768"/>
                </a:lnTo>
                <a:lnTo>
                  <a:pt x="1320" y="756"/>
                </a:lnTo>
                <a:lnTo>
                  <a:pt x="1284" y="750"/>
                </a:lnTo>
                <a:lnTo>
                  <a:pt x="1266" y="750"/>
                </a:lnTo>
                <a:lnTo>
                  <a:pt x="1260" y="738"/>
                </a:lnTo>
                <a:lnTo>
                  <a:pt x="1248" y="732"/>
                </a:lnTo>
                <a:lnTo>
                  <a:pt x="1242" y="720"/>
                </a:lnTo>
                <a:lnTo>
                  <a:pt x="1218" y="696"/>
                </a:lnTo>
                <a:lnTo>
                  <a:pt x="1206" y="672"/>
                </a:lnTo>
                <a:lnTo>
                  <a:pt x="1188" y="654"/>
                </a:lnTo>
                <a:lnTo>
                  <a:pt x="1188" y="642"/>
                </a:lnTo>
                <a:lnTo>
                  <a:pt x="1182" y="636"/>
                </a:lnTo>
                <a:lnTo>
                  <a:pt x="1182" y="618"/>
                </a:lnTo>
                <a:lnTo>
                  <a:pt x="1176" y="624"/>
                </a:lnTo>
                <a:lnTo>
                  <a:pt x="1164" y="612"/>
                </a:lnTo>
                <a:lnTo>
                  <a:pt x="1146" y="612"/>
                </a:lnTo>
                <a:lnTo>
                  <a:pt x="1140" y="600"/>
                </a:lnTo>
                <a:lnTo>
                  <a:pt x="1134" y="594"/>
                </a:lnTo>
                <a:lnTo>
                  <a:pt x="1128" y="582"/>
                </a:lnTo>
                <a:lnTo>
                  <a:pt x="1122" y="564"/>
                </a:lnTo>
                <a:lnTo>
                  <a:pt x="1116" y="552"/>
                </a:lnTo>
                <a:lnTo>
                  <a:pt x="1116" y="540"/>
                </a:lnTo>
                <a:lnTo>
                  <a:pt x="1110" y="534"/>
                </a:lnTo>
                <a:lnTo>
                  <a:pt x="1098" y="528"/>
                </a:lnTo>
                <a:lnTo>
                  <a:pt x="1086" y="516"/>
                </a:lnTo>
                <a:lnTo>
                  <a:pt x="1074" y="510"/>
                </a:lnTo>
                <a:lnTo>
                  <a:pt x="1068" y="498"/>
                </a:lnTo>
                <a:lnTo>
                  <a:pt x="1068" y="462"/>
                </a:lnTo>
                <a:lnTo>
                  <a:pt x="1062" y="450"/>
                </a:lnTo>
                <a:lnTo>
                  <a:pt x="1062" y="438"/>
                </a:lnTo>
                <a:lnTo>
                  <a:pt x="1050" y="426"/>
                </a:lnTo>
                <a:lnTo>
                  <a:pt x="1002" y="402"/>
                </a:lnTo>
                <a:lnTo>
                  <a:pt x="996" y="396"/>
                </a:lnTo>
                <a:lnTo>
                  <a:pt x="990" y="384"/>
                </a:lnTo>
                <a:lnTo>
                  <a:pt x="990" y="360"/>
                </a:lnTo>
                <a:lnTo>
                  <a:pt x="972" y="342"/>
                </a:lnTo>
                <a:lnTo>
                  <a:pt x="966" y="330"/>
                </a:lnTo>
                <a:lnTo>
                  <a:pt x="960" y="324"/>
                </a:lnTo>
                <a:lnTo>
                  <a:pt x="960" y="300"/>
                </a:lnTo>
                <a:lnTo>
                  <a:pt x="954" y="300"/>
                </a:lnTo>
                <a:lnTo>
                  <a:pt x="948" y="294"/>
                </a:lnTo>
                <a:lnTo>
                  <a:pt x="882" y="294"/>
                </a:lnTo>
                <a:lnTo>
                  <a:pt x="876" y="288"/>
                </a:lnTo>
                <a:lnTo>
                  <a:pt x="876" y="252"/>
                </a:lnTo>
                <a:lnTo>
                  <a:pt x="852" y="246"/>
                </a:lnTo>
                <a:lnTo>
                  <a:pt x="804" y="246"/>
                </a:lnTo>
                <a:lnTo>
                  <a:pt x="750" y="240"/>
                </a:lnTo>
                <a:lnTo>
                  <a:pt x="684" y="240"/>
                </a:lnTo>
                <a:lnTo>
                  <a:pt x="492" y="96"/>
                </a:lnTo>
                <a:lnTo>
                  <a:pt x="480" y="90"/>
                </a:lnTo>
                <a:lnTo>
                  <a:pt x="474" y="84"/>
                </a:lnTo>
                <a:lnTo>
                  <a:pt x="426" y="60"/>
                </a:lnTo>
                <a:lnTo>
                  <a:pt x="414" y="48"/>
                </a:lnTo>
                <a:lnTo>
                  <a:pt x="402" y="42"/>
                </a:lnTo>
                <a:lnTo>
                  <a:pt x="372" y="12"/>
                </a:lnTo>
                <a:lnTo>
                  <a:pt x="306" y="12"/>
                </a:lnTo>
                <a:lnTo>
                  <a:pt x="294" y="0"/>
                </a:lnTo>
                <a:lnTo>
                  <a:pt x="288" y="6"/>
                </a:lnTo>
                <a:lnTo>
                  <a:pt x="276" y="12"/>
                </a:lnTo>
                <a:lnTo>
                  <a:pt x="270" y="12"/>
                </a:lnTo>
                <a:lnTo>
                  <a:pt x="264" y="18"/>
                </a:lnTo>
                <a:lnTo>
                  <a:pt x="252" y="24"/>
                </a:lnTo>
                <a:lnTo>
                  <a:pt x="210" y="24"/>
                </a:lnTo>
                <a:lnTo>
                  <a:pt x="198" y="48"/>
                </a:lnTo>
                <a:lnTo>
                  <a:pt x="132" y="48"/>
                </a:lnTo>
                <a:lnTo>
                  <a:pt x="120" y="54"/>
                </a:lnTo>
                <a:lnTo>
                  <a:pt x="108" y="54"/>
                </a:lnTo>
                <a:lnTo>
                  <a:pt x="108" y="60"/>
                </a:lnTo>
                <a:lnTo>
                  <a:pt x="132" y="60"/>
                </a:lnTo>
                <a:lnTo>
                  <a:pt x="144" y="66"/>
                </a:lnTo>
                <a:lnTo>
                  <a:pt x="156" y="66"/>
                </a:lnTo>
                <a:lnTo>
                  <a:pt x="180" y="90"/>
                </a:lnTo>
                <a:lnTo>
                  <a:pt x="192" y="114"/>
                </a:lnTo>
                <a:lnTo>
                  <a:pt x="198" y="120"/>
                </a:lnTo>
                <a:lnTo>
                  <a:pt x="198" y="132"/>
                </a:lnTo>
                <a:lnTo>
                  <a:pt x="192" y="138"/>
                </a:lnTo>
                <a:lnTo>
                  <a:pt x="192" y="150"/>
                </a:lnTo>
                <a:lnTo>
                  <a:pt x="186" y="156"/>
                </a:lnTo>
                <a:lnTo>
                  <a:pt x="180" y="168"/>
                </a:lnTo>
                <a:lnTo>
                  <a:pt x="174" y="174"/>
                </a:lnTo>
                <a:lnTo>
                  <a:pt x="162" y="180"/>
                </a:lnTo>
                <a:lnTo>
                  <a:pt x="150" y="180"/>
                </a:lnTo>
                <a:lnTo>
                  <a:pt x="138" y="186"/>
                </a:lnTo>
                <a:lnTo>
                  <a:pt x="132" y="186"/>
                </a:lnTo>
                <a:lnTo>
                  <a:pt x="120" y="198"/>
                </a:lnTo>
                <a:lnTo>
                  <a:pt x="120" y="210"/>
                </a:lnTo>
                <a:lnTo>
                  <a:pt x="108" y="234"/>
                </a:lnTo>
                <a:lnTo>
                  <a:pt x="96" y="246"/>
                </a:lnTo>
                <a:lnTo>
                  <a:pt x="60" y="246"/>
                </a:lnTo>
                <a:lnTo>
                  <a:pt x="36" y="234"/>
                </a:lnTo>
                <a:lnTo>
                  <a:pt x="6" y="234"/>
                </a:lnTo>
                <a:lnTo>
                  <a:pt x="6" y="264"/>
                </a:lnTo>
                <a:lnTo>
                  <a:pt x="0" y="306"/>
                </a:lnTo>
                <a:lnTo>
                  <a:pt x="0" y="348"/>
                </a:lnTo>
                <a:lnTo>
                  <a:pt x="6" y="372"/>
                </a:lnTo>
                <a:lnTo>
                  <a:pt x="24" y="378"/>
                </a:lnTo>
                <a:lnTo>
                  <a:pt x="36" y="390"/>
                </a:lnTo>
                <a:lnTo>
                  <a:pt x="54" y="390"/>
                </a:lnTo>
                <a:lnTo>
                  <a:pt x="72" y="408"/>
                </a:lnTo>
                <a:lnTo>
                  <a:pt x="90" y="438"/>
                </a:lnTo>
                <a:lnTo>
                  <a:pt x="102" y="474"/>
                </a:lnTo>
                <a:lnTo>
                  <a:pt x="120" y="504"/>
                </a:lnTo>
                <a:lnTo>
                  <a:pt x="132" y="516"/>
                </a:lnTo>
                <a:lnTo>
                  <a:pt x="150" y="528"/>
                </a:lnTo>
                <a:lnTo>
                  <a:pt x="162" y="540"/>
                </a:lnTo>
                <a:lnTo>
                  <a:pt x="174" y="558"/>
                </a:lnTo>
                <a:lnTo>
                  <a:pt x="180" y="570"/>
                </a:lnTo>
                <a:lnTo>
                  <a:pt x="186" y="594"/>
                </a:lnTo>
                <a:lnTo>
                  <a:pt x="192" y="612"/>
                </a:lnTo>
                <a:lnTo>
                  <a:pt x="198" y="636"/>
                </a:lnTo>
                <a:lnTo>
                  <a:pt x="210" y="648"/>
                </a:lnTo>
                <a:lnTo>
                  <a:pt x="234" y="660"/>
                </a:lnTo>
                <a:lnTo>
                  <a:pt x="264" y="660"/>
                </a:lnTo>
                <a:lnTo>
                  <a:pt x="282" y="666"/>
                </a:lnTo>
                <a:lnTo>
                  <a:pt x="294" y="678"/>
                </a:lnTo>
                <a:lnTo>
                  <a:pt x="312" y="708"/>
                </a:lnTo>
                <a:lnTo>
                  <a:pt x="330" y="756"/>
                </a:lnTo>
                <a:lnTo>
                  <a:pt x="336" y="804"/>
                </a:lnTo>
                <a:lnTo>
                  <a:pt x="342" y="840"/>
                </a:lnTo>
                <a:lnTo>
                  <a:pt x="348" y="870"/>
                </a:lnTo>
                <a:lnTo>
                  <a:pt x="366" y="906"/>
                </a:lnTo>
                <a:lnTo>
                  <a:pt x="384" y="924"/>
                </a:lnTo>
                <a:lnTo>
                  <a:pt x="390" y="936"/>
                </a:lnTo>
                <a:lnTo>
                  <a:pt x="414" y="936"/>
                </a:lnTo>
                <a:lnTo>
                  <a:pt x="438" y="948"/>
                </a:lnTo>
                <a:lnTo>
                  <a:pt x="456" y="972"/>
                </a:lnTo>
                <a:lnTo>
                  <a:pt x="480" y="1008"/>
                </a:lnTo>
                <a:lnTo>
                  <a:pt x="504" y="1056"/>
                </a:lnTo>
                <a:lnTo>
                  <a:pt x="552" y="1128"/>
                </a:lnTo>
                <a:lnTo>
                  <a:pt x="582" y="1170"/>
                </a:lnTo>
                <a:lnTo>
                  <a:pt x="606" y="1206"/>
                </a:lnTo>
                <a:lnTo>
                  <a:pt x="618" y="1236"/>
                </a:lnTo>
                <a:lnTo>
                  <a:pt x="618" y="1266"/>
                </a:lnTo>
                <a:lnTo>
                  <a:pt x="612" y="1278"/>
                </a:lnTo>
                <a:lnTo>
                  <a:pt x="624" y="1266"/>
                </a:lnTo>
                <a:lnTo>
                  <a:pt x="630" y="1254"/>
                </a:lnTo>
                <a:lnTo>
                  <a:pt x="636" y="1248"/>
                </a:lnTo>
                <a:lnTo>
                  <a:pt x="636" y="1200"/>
                </a:lnTo>
                <a:lnTo>
                  <a:pt x="642" y="1188"/>
                </a:lnTo>
                <a:lnTo>
                  <a:pt x="648" y="1182"/>
                </a:lnTo>
                <a:lnTo>
                  <a:pt x="654" y="1182"/>
                </a:lnTo>
                <a:lnTo>
                  <a:pt x="672" y="1200"/>
                </a:lnTo>
                <a:lnTo>
                  <a:pt x="696" y="1194"/>
                </a:lnTo>
                <a:lnTo>
                  <a:pt x="702" y="1188"/>
                </a:lnTo>
                <a:lnTo>
                  <a:pt x="792" y="1188"/>
                </a:lnTo>
                <a:lnTo>
                  <a:pt x="804" y="1194"/>
                </a:lnTo>
                <a:lnTo>
                  <a:pt x="810" y="1200"/>
                </a:lnTo>
                <a:lnTo>
                  <a:pt x="888" y="1200"/>
                </a:lnTo>
                <a:lnTo>
                  <a:pt x="894" y="1206"/>
                </a:lnTo>
                <a:lnTo>
                  <a:pt x="900" y="1218"/>
                </a:lnTo>
                <a:lnTo>
                  <a:pt x="912" y="1224"/>
                </a:lnTo>
                <a:lnTo>
                  <a:pt x="924" y="1224"/>
                </a:lnTo>
                <a:lnTo>
                  <a:pt x="930" y="1212"/>
                </a:lnTo>
                <a:lnTo>
                  <a:pt x="936" y="1206"/>
                </a:lnTo>
                <a:lnTo>
                  <a:pt x="936" y="1188"/>
                </a:lnTo>
                <a:lnTo>
                  <a:pt x="942" y="1176"/>
                </a:lnTo>
                <a:lnTo>
                  <a:pt x="948" y="1170"/>
                </a:lnTo>
                <a:lnTo>
                  <a:pt x="954" y="1158"/>
                </a:lnTo>
                <a:lnTo>
                  <a:pt x="966" y="1146"/>
                </a:lnTo>
                <a:lnTo>
                  <a:pt x="972" y="1134"/>
                </a:lnTo>
                <a:lnTo>
                  <a:pt x="990" y="1116"/>
                </a:lnTo>
                <a:lnTo>
                  <a:pt x="1020" y="1098"/>
                </a:lnTo>
                <a:lnTo>
                  <a:pt x="1050" y="1092"/>
                </a:lnTo>
                <a:lnTo>
                  <a:pt x="1068" y="1086"/>
                </a:lnTo>
                <a:lnTo>
                  <a:pt x="1092" y="1086"/>
                </a:lnTo>
                <a:lnTo>
                  <a:pt x="1140" y="1080"/>
                </a:lnTo>
                <a:lnTo>
                  <a:pt x="1188" y="1068"/>
                </a:lnTo>
                <a:lnTo>
                  <a:pt x="1230" y="1062"/>
                </a:lnTo>
                <a:lnTo>
                  <a:pt x="1248" y="1062"/>
                </a:lnTo>
                <a:lnTo>
                  <a:pt x="1452" y="990"/>
                </a:lnTo>
                <a:lnTo>
                  <a:pt x="1488" y="816"/>
                </a:lnTo>
                <a:lnTo>
                  <a:pt x="1482" y="810"/>
                </a:lnTo>
                <a:lnTo>
                  <a:pt x="1470" y="804"/>
                </a:lnTo>
                <a:lnTo>
                  <a:pt x="1464" y="798"/>
                </a:lnTo>
                <a:lnTo>
                  <a:pt x="1464" y="79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5" name="Romania"/>
          <p:cNvSpPr>
            <a:spLocks/>
          </p:cNvSpPr>
          <p:nvPr/>
        </p:nvSpPr>
        <p:spPr bwMode="gray">
          <a:xfrm>
            <a:off x="4563333" y="2699418"/>
            <a:ext cx="247650" cy="147637"/>
          </a:xfrm>
          <a:custGeom>
            <a:avLst/>
            <a:gdLst>
              <a:gd name="T0" fmla="*/ 2147483647 w 612"/>
              <a:gd name="T1" fmla="*/ 2147483647 h 366"/>
              <a:gd name="T2" fmla="*/ 2147483647 w 612"/>
              <a:gd name="T3" fmla="*/ 2147483647 h 366"/>
              <a:gd name="T4" fmla="*/ 2147483647 w 612"/>
              <a:gd name="T5" fmla="*/ 2147483647 h 366"/>
              <a:gd name="T6" fmla="*/ 2147483647 w 612"/>
              <a:gd name="T7" fmla="*/ 2147483647 h 366"/>
              <a:gd name="T8" fmla="*/ 2147483647 w 612"/>
              <a:gd name="T9" fmla="*/ 2147483647 h 366"/>
              <a:gd name="T10" fmla="*/ 2147483647 w 612"/>
              <a:gd name="T11" fmla="*/ 2147483647 h 366"/>
              <a:gd name="T12" fmla="*/ 2147483647 w 612"/>
              <a:gd name="T13" fmla="*/ 2147483647 h 366"/>
              <a:gd name="T14" fmla="*/ 2147483647 w 612"/>
              <a:gd name="T15" fmla="*/ 2147483647 h 366"/>
              <a:gd name="T16" fmla="*/ 2147483647 w 612"/>
              <a:gd name="T17" fmla="*/ 2147483647 h 366"/>
              <a:gd name="T18" fmla="*/ 2147483647 w 612"/>
              <a:gd name="T19" fmla="*/ 2147483647 h 366"/>
              <a:gd name="T20" fmla="*/ 2147483647 w 612"/>
              <a:gd name="T21" fmla="*/ 2147483647 h 366"/>
              <a:gd name="T22" fmla="*/ 2147483647 w 612"/>
              <a:gd name="T23" fmla="*/ 2147483647 h 366"/>
              <a:gd name="T24" fmla="*/ 2147483647 w 612"/>
              <a:gd name="T25" fmla="*/ 2147483647 h 366"/>
              <a:gd name="T26" fmla="*/ 2147483647 w 612"/>
              <a:gd name="T27" fmla="*/ 0 h 366"/>
              <a:gd name="T28" fmla="*/ 2147483647 w 612"/>
              <a:gd name="T29" fmla="*/ 2147483647 h 366"/>
              <a:gd name="T30" fmla="*/ 2147483647 w 612"/>
              <a:gd name="T31" fmla="*/ 2147483647 h 366"/>
              <a:gd name="T32" fmla="*/ 2147483647 w 612"/>
              <a:gd name="T33" fmla="*/ 2147483647 h 366"/>
              <a:gd name="T34" fmla="*/ 2147483647 w 612"/>
              <a:gd name="T35" fmla="*/ 2147483647 h 366"/>
              <a:gd name="T36" fmla="*/ 2147483647 w 612"/>
              <a:gd name="T37" fmla="*/ 2147483647 h 366"/>
              <a:gd name="T38" fmla="*/ 2147483647 w 612"/>
              <a:gd name="T39" fmla="*/ 2147483647 h 366"/>
              <a:gd name="T40" fmla="*/ 2147483647 w 612"/>
              <a:gd name="T41" fmla="*/ 2147483647 h 366"/>
              <a:gd name="T42" fmla="*/ 2147483647 w 612"/>
              <a:gd name="T43" fmla="*/ 2147483647 h 366"/>
              <a:gd name="T44" fmla="*/ 2147483647 w 612"/>
              <a:gd name="T45" fmla="*/ 2147483647 h 366"/>
              <a:gd name="T46" fmla="*/ 2147483647 w 612"/>
              <a:gd name="T47" fmla="*/ 2147483647 h 366"/>
              <a:gd name="T48" fmla="*/ 0 w 612"/>
              <a:gd name="T49" fmla="*/ 2147483647 h 366"/>
              <a:gd name="T50" fmla="*/ 2147483647 w 612"/>
              <a:gd name="T51" fmla="*/ 2147483647 h 366"/>
              <a:gd name="T52" fmla="*/ 2147483647 w 612"/>
              <a:gd name="T53" fmla="*/ 2147483647 h 366"/>
              <a:gd name="T54" fmla="*/ 2147483647 w 612"/>
              <a:gd name="T55" fmla="*/ 2147483647 h 366"/>
              <a:gd name="T56" fmla="*/ 2147483647 w 612"/>
              <a:gd name="T57" fmla="*/ 2147483647 h 366"/>
              <a:gd name="T58" fmla="*/ 2147483647 w 612"/>
              <a:gd name="T59" fmla="*/ 2147483647 h 366"/>
              <a:gd name="T60" fmla="*/ 2147483647 w 612"/>
              <a:gd name="T61" fmla="*/ 2147483647 h 366"/>
              <a:gd name="T62" fmla="*/ 2147483647 w 612"/>
              <a:gd name="T63" fmla="*/ 2147483647 h 366"/>
              <a:gd name="T64" fmla="*/ 2147483647 w 612"/>
              <a:gd name="T65" fmla="*/ 2147483647 h 366"/>
              <a:gd name="T66" fmla="*/ 2147483647 w 612"/>
              <a:gd name="T67" fmla="*/ 2147483647 h 366"/>
              <a:gd name="T68" fmla="*/ 2147483647 w 612"/>
              <a:gd name="T69" fmla="*/ 2147483647 h 366"/>
              <a:gd name="T70" fmla="*/ 2147483647 w 612"/>
              <a:gd name="T71" fmla="*/ 2147483647 h 366"/>
              <a:gd name="T72" fmla="*/ 2147483647 w 612"/>
              <a:gd name="T73" fmla="*/ 2147483647 h 366"/>
              <a:gd name="T74" fmla="*/ 2147483647 w 612"/>
              <a:gd name="T75" fmla="*/ 2147483647 h 366"/>
              <a:gd name="T76" fmla="*/ 2147483647 w 612"/>
              <a:gd name="T77" fmla="*/ 2147483647 h 366"/>
              <a:gd name="T78" fmla="*/ 2147483647 w 612"/>
              <a:gd name="T79" fmla="*/ 2147483647 h 366"/>
              <a:gd name="T80" fmla="*/ 2147483647 w 612"/>
              <a:gd name="T81" fmla="*/ 2147483647 h 366"/>
              <a:gd name="T82" fmla="*/ 2147483647 w 612"/>
              <a:gd name="T83" fmla="*/ 2147483647 h 366"/>
              <a:gd name="T84" fmla="*/ 2147483647 w 612"/>
              <a:gd name="T85" fmla="*/ 2147483647 h 36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612"/>
              <a:gd name="T130" fmla="*/ 0 h 366"/>
              <a:gd name="T131" fmla="*/ 612 w 612"/>
              <a:gd name="T132" fmla="*/ 366 h 36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612" h="366">
                <a:moveTo>
                  <a:pt x="516" y="354"/>
                </a:moveTo>
                <a:lnTo>
                  <a:pt x="522" y="360"/>
                </a:lnTo>
                <a:lnTo>
                  <a:pt x="540" y="360"/>
                </a:lnTo>
                <a:lnTo>
                  <a:pt x="540" y="318"/>
                </a:lnTo>
                <a:lnTo>
                  <a:pt x="546" y="312"/>
                </a:lnTo>
                <a:lnTo>
                  <a:pt x="558" y="294"/>
                </a:lnTo>
                <a:lnTo>
                  <a:pt x="564" y="282"/>
                </a:lnTo>
                <a:lnTo>
                  <a:pt x="570" y="276"/>
                </a:lnTo>
                <a:lnTo>
                  <a:pt x="606" y="276"/>
                </a:lnTo>
                <a:lnTo>
                  <a:pt x="612" y="270"/>
                </a:lnTo>
                <a:lnTo>
                  <a:pt x="612" y="258"/>
                </a:lnTo>
                <a:lnTo>
                  <a:pt x="600" y="222"/>
                </a:lnTo>
                <a:lnTo>
                  <a:pt x="600" y="216"/>
                </a:lnTo>
                <a:lnTo>
                  <a:pt x="594" y="216"/>
                </a:lnTo>
                <a:lnTo>
                  <a:pt x="588" y="222"/>
                </a:lnTo>
                <a:lnTo>
                  <a:pt x="570" y="222"/>
                </a:lnTo>
                <a:lnTo>
                  <a:pt x="564" y="228"/>
                </a:lnTo>
                <a:lnTo>
                  <a:pt x="558" y="228"/>
                </a:lnTo>
                <a:lnTo>
                  <a:pt x="552" y="234"/>
                </a:lnTo>
                <a:lnTo>
                  <a:pt x="522" y="234"/>
                </a:lnTo>
                <a:lnTo>
                  <a:pt x="510" y="222"/>
                </a:lnTo>
                <a:lnTo>
                  <a:pt x="510" y="198"/>
                </a:lnTo>
                <a:lnTo>
                  <a:pt x="504" y="192"/>
                </a:lnTo>
                <a:lnTo>
                  <a:pt x="498" y="180"/>
                </a:lnTo>
                <a:lnTo>
                  <a:pt x="498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44"/>
                </a:lnTo>
                <a:lnTo>
                  <a:pt x="504" y="144"/>
                </a:lnTo>
                <a:lnTo>
                  <a:pt x="504" y="102"/>
                </a:lnTo>
                <a:lnTo>
                  <a:pt x="498" y="96"/>
                </a:lnTo>
                <a:lnTo>
                  <a:pt x="480" y="96"/>
                </a:lnTo>
                <a:lnTo>
                  <a:pt x="474" y="78"/>
                </a:lnTo>
                <a:lnTo>
                  <a:pt x="462" y="78"/>
                </a:lnTo>
                <a:lnTo>
                  <a:pt x="456" y="54"/>
                </a:lnTo>
                <a:lnTo>
                  <a:pt x="432" y="42"/>
                </a:lnTo>
                <a:lnTo>
                  <a:pt x="432" y="30"/>
                </a:lnTo>
                <a:lnTo>
                  <a:pt x="426" y="24"/>
                </a:lnTo>
                <a:lnTo>
                  <a:pt x="420" y="12"/>
                </a:lnTo>
                <a:lnTo>
                  <a:pt x="414" y="6"/>
                </a:lnTo>
                <a:lnTo>
                  <a:pt x="396" y="0"/>
                </a:lnTo>
                <a:lnTo>
                  <a:pt x="384" y="0"/>
                </a:lnTo>
                <a:lnTo>
                  <a:pt x="378" y="6"/>
                </a:lnTo>
                <a:lnTo>
                  <a:pt x="378" y="12"/>
                </a:lnTo>
                <a:lnTo>
                  <a:pt x="366" y="24"/>
                </a:lnTo>
                <a:lnTo>
                  <a:pt x="348" y="24"/>
                </a:lnTo>
                <a:lnTo>
                  <a:pt x="342" y="18"/>
                </a:lnTo>
                <a:lnTo>
                  <a:pt x="336" y="30"/>
                </a:lnTo>
                <a:lnTo>
                  <a:pt x="312" y="24"/>
                </a:lnTo>
                <a:lnTo>
                  <a:pt x="312" y="30"/>
                </a:lnTo>
                <a:lnTo>
                  <a:pt x="300" y="42"/>
                </a:lnTo>
                <a:lnTo>
                  <a:pt x="288" y="42"/>
                </a:lnTo>
                <a:lnTo>
                  <a:pt x="264" y="18"/>
                </a:lnTo>
                <a:lnTo>
                  <a:pt x="258" y="18"/>
                </a:lnTo>
                <a:lnTo>
                  <a:pt x="246" y="24"/>
                </a:lnTo>
                <a:lnTo>
                  <a:pt x="240" y="24"/>
                </a:lnTo>
                <a:lnTo>
                  <a:pt x="228" y="30"/>
                </a:lnTo>
                <a:lnTo>
                  <a:pt x="222" y="24"/>
                </a:lnTo>
                <a:lnTo>
                  <a:pt x="198" y="24"/>
                </a:lnTo>
                <a:lnTo>
                  <a:pt x="192" y="18"/>
                </a:lnTo>
                <a:lnTo>
                  <a:pt x="168" y="18"/>
                </a:lnTo>
                <a:lnTo>
                  <a:pt x="150" y="36"/>
                </a:lnTo>
                <a:lnTo>
                  <a:pt x="120" y="36"/>
                </a:lnTo>
                <a:lnTo>
                  <a:pt x="108" y="48"/>
                </a:lnTo>
                <a:lnTo>
                  <a:pt x="108" y="90"/>
                </a:lnTo>
                <a:lnTo>
                  <a:pt x="90" y="108"/>
                </a:lnTo>
                <a:lnTo>
                  <a:pt x="78" y="114"/>
                </a:lnTo>
                <a:lnTo>
                  <a:pt x="72" y="120"/>
                </a:lnTo>
                <a:lnTo>
                  <a:pt x="72" y="138"/>
                </a:lnTo>
                <a:lnTo>
                  <a:pt x="66" y="144"/>
                </a:lnTo>
                <a:lnTo>
                  <a:pt x="54" y="150"/>
                </a:lnTo>
                <a:lnTo>
                  <a:pt x="48" y="156"/>
                </a:lnTo>
                <a:lnTo>
                  <a:pt x="30" y="150"/>
                </a:lnTo>
                <a:lnTo>
                  <a:pt x="30" y="168"/>
                </a:lnTo>
                <a:lnTo>
                  <a:pt x="0" y="174"/>
                </a:lnTo>
                <a:lnTo>
                  <a:pt x="6" y="174"/>
                </a:lnTo>
                <a:lnTo>
                  <a:pt x="30" y="192"/>
                </a:lnTo>
                <a:lnTo>
                  <a:pt x="36" y="192"/>
                </a:lnTo>
                <a:lnTo>
                  <a:pt x="48" y="228"/>
                </a:lnTo>
                <a:lnTo>
                  <a:pt x="54" y="234"/>
                </a:lnTo>
                <a:lnTo>
                  <a:pt x="60" y="234"/>
                </a:lnTo>
                <a:lnTo>
                  <a:pt x="66" y="228"/>
                </a:lnTo>
                <a:lnTo>
                  <a:pt x="72" y="228"/>
                </a:lnTo>
                <a:lnTo>
                  <a:pt x="84" y="234"/>
                </a:lnTo>
                <a:lnTo>
                  <a:pt x="84" y="252"/>
                </a:lnTo>
                <a:lnTo>
                  <a:pt x="78" y="258"/>
                </a:lnTo>
                <a:lnTo>
                  <a:pt x="90" y="276"/>
                </a:lnTo>
                <a:lnTo>
                  <a:pt x="114" y="282"/>
                </a:lnTo>
                <a:lnTo>
                  <a:pt x="120" y="288"/>
                </a:lnTo>
                <a:lnTo>
                  <a:pt x="144" y="282"/>
                </a:lnTo>
                <a:lnTo>
                  <a:pt x="168" y="288"/>
                </a:lnTo>
                <a:lnTo>
                  <a:pt x="162" y="294"/>
                </a:lnTo>
                <a:lnTo>
                  <a:pt x="156" y="306"/>
                </a:lnTo>
                <a:lnTo>
                  <a:pt x="162" y="312"/>
                </a:lnTo>
                <a:lnTo>
                  <a:pt x="162" y="324"/>
                </a:lnTo>
                <a:lnTo>
                  <a:pt x="186" y="324"/>
                </a:lnTo>
                <a:lnTo>
                  <a:pt x="192" y="330"/>
                </a:lnTo>
                <a:lnTo>
                  <a:pt x="186" y="336"/>
                </a:lnTo>
                <a:lnTo>
                  <a:pt x="186" y="342"/>
                </a:lnTo>
                <a:lnTo>
                  <a:pt x="180" y="348"/>
                </a:lnTo>
                <a:lnTo>
                  <a:pt x="186" y="354"/>
                </a:lnTo>
                <a:lnTo>
                  <a:pt x="204" y="354"/>
                </a:lnTo>
                <a:lnTo>
                  <a:pt x="216" y="342"/>
                </a:lnTo>
                <a:lnTo>
                  <a:pt x="240" y="354"/>
                </a:lnTo>
                <a:lnTo>
                  <a:pt x="252" y="354"/>
                </a:lnTo>
                <a:lnTo>
                  <a:pt x="258" y="360"/>
                </a:lnTo>
                <a:lnTo>
                  <a:pt x="282" y="360"/>
                </a:lnTo>
                <a:lnTo>
                  <a:pt x="288" y="354"/>
                </a:lnTo>
                <a:lnTo>
                  <a:pt x="288" y="348"/>
                </a:lnTo>
                <a:lnTo>
                  <a:pt x="306" y="354"/>
                </a:lnTo>
                <a:lnTo>
                  <a:pt x="330" y="354"/>
                </a:lnTo>
                <a:lnTo>
                  <a:pt x="336" y="360"/>
                </a:lnTo>
                <a:lnTo>
                  <a:pt x="348" y="366"/>
                </a:lnTo>
                <a:lnTo>
                  <a:pt x="366" y="366"/>
                </a:lnTo>
                <a:lnTo>
                  <a:pt x="372" y="360"/>
                </a:lnTo>
                <a:lnTo>
                  <a:pt x="372" y="348"/>
                </a:lnTo>
                <a:lnTo>
                  <a:pt x="378" y="342"/>
                </a:lnTo>
                <a:lnTo>
                  <a:pt x="384" y="342"/>
                </a:lnTo>
                <a:lnTo>
                  <a:pt x="396" y="336"/>
                </a:lnTo>
                <a:lnTo>
                  <a:pt x="402" y="336"/>
                </a:lnTo>
                <a:lnTo>
                  <a:pt x="402" y="330"/>
                </a:lnTo>
                <a:lnTo>
                  <a:pt x="432" y="336"/>
                </a:lnTo>
                <a:lnTo>
                  <a:pt x="432" y="324"/>
                </a:lnTo>
                <a:lnTo>
                  <a:pt x="438" y="324"/>
                </a:lnTo>
                <a:lnTo>
                  <a:pt x="450" y="330"/>
                </a:lnTo>
                <a:lnTo>
                  <a:pt x="462" y="330"/>
                </a:lnTo>
                <a:lnTo>
                  <a:pt x="474" y="336"/>
                </a:lnTo>
                <a:lnTo>
                  <a:pt x="498" y="336"/>
                </a:lnTo>
                <a:lnTo>
                  <a:pt x="516" y="35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6" name="Ruanda"/>
          <p:cNvSpPr>
            <a:spLocks/>
          </p:cNvSpPr>
          <p:nvPr/>
        </p:nvSpPr>
        <p:spPr bwMode="gray">
          <a:xfrm>
            <a:off x="4841146" y="4293268"/>
            <a:ext cx="60325" cy="58737"/>
          </a:xfrm>
          <a:custGeom>
            <a:avLst/>
            <a:gdLst>
              <a:gd name="T0" fmla="*/ 2147483647 w 150"/>
              <a:gd name="T1" fmla="*/ 2147483647 h 150"/>
              <a:gd name="T2" fmla="*/ 2147483647 w 150"/>
              <a:gd name="T3" fmla="*/ 2147483647 h 150"/>
              <a:gd name="T4" fmla="*/ 2147483647 w 150"/>
              <a:gd name="T5" fmla="*/ 2147483647 h 150"/>
              <a:gd name="T6" fmla="*/ 2147483647 w 150"/>
              <a:gd name="T7" fmla="*/ 2147483647 h 150"/>
              <a:gd name="T8" fmla="*/ 2147483647 w 150"/>
              <a:gd name="T9" fmla="*/ 2147483647 h 150"/>
              <a:gd name="T10" fmla="*/ 2147483647 w 150"/>
              <a:gd name="T11" fmla="*/ 2147483647 h 150"/>
              <a:gd name="T12" fmla="*/ 2147483647 w 150"/>
              <a:gd name="T13" fmla="*/ 2147483647 h 150"/>
              <a:gd name="T14" fmla="*/ 2147483647 w 150"/>
              <a:gd name="T15" fmla="*/ 2147483647 h 150"/>
              <a:gd name="T16" fmla="*/ 2147483647 w 150"/>
              <a:gd name="T17" fmla="*/ 2147483647 h 150"/>
              <a:gd name="T18" fmla="*/ 2147483647 w 150"/>
              <a:gd name="T19" fmla="*/ 2147483647 h 150"/>
              <a:gd name="T20" fmla="*/ 2147483647 w 150"/>
              <a:gd name="T21" fmla="*/ 2147483647 h 150"/>
              <a:gd name="T22" fmla="*/ 2147483647 w 150"/>
              <a:gd name="T23" fmla="*/ 2147483647 h 150"/>
              <a:gd name="T24" fmla="*/ 2147483647 w 150"/>
              <a:gd name="T25" fmla="*/ 2147483647 h 150"/>
              <a:gd name="T26" fmla="*/ 2147483647 w 150"/>
              <a:gd name="T27" fmla="*/ 0 h 150"/>
              <a:gd name="T28" fmla="*/ 2147483647 w 150"/>
              <a:gd name="T29" fmla="*/ 2147483647 h 150"/>
              <a:gd name="T30" fmla="*/ 2147483647 w 150"/>
              <a:gd name="T31" fmla="*/ 2147483647 h 150"/>
              <a:gd name="T32" fmla="*/ 2147483647 w 150"/>
              <a:gd name="T33" fmla="*/ 2147483647 h 150"/>
              <a:gd name="T34" fmla="*/ 2147483647 w 150"/>
              <a:gd name="T35" fmla="*/ 2147483647 h 150"/>
              <a:gd name="T36" fmla="*/ 2147483647 w 150"/>
              <a:gd name="T37" fmla="*/ 2147483647 h 150"/>
              <a:gd name="T38" fmla="*/ 2147483647 w 150"/>
              <a:gd name="T39" fmla="*/ 2147483647 h 150"/>
              <a:gd name="T40" fmla="*/ 2147483647 w 150"/>
              <a:gd name="T41" fmla="*/ 2147483647 h 150"/>
              <a:gd name="T42" fmla="*/ 2147483647 w 150"/>
              <a:gd name="T43" fmla="*/ 2147483647 h 150"/>
              <a:gd name="T44" fmla="*/ 2147483647 w 150"/>
              <a:gd name="T45" fmla="*/ 2147483647 h 150"/>
              <a:gd name="T46" fmla="*/ 2147483647 w 150"/>
              <a:gd name="T47" fmla="*/ 2147483647 h 150"/>
              <a:gd name="T48" fmla="*/ 2147483647 w 150"/>
              <a:gd name="T49" fmla="*/ 2147483647 h 150"/>
              <a:gd name="T50" fmla="*/ 2147483647 w 150"/>
              <a:gd name="T51" fmla="*/ 2147483647 h 150"/>
              <a:gd name="T52" fmla="*/ 2147483647 w 150"/>
              <a:gd name="T53" fmla="*/ 2147483647 h 150"/>
              <a:gd name="T54" fmla="*/ 2147483647 w 150"/>
              <a:gd name="T55" fmla="*/ 2147483647 h 150"/>
              <a:gd name="T56" fmla="*/ 2147483647 w 150"/>
              <a:gd name="T57" fmla="*/ 2147483647 h 150"/>
              <a:gd name="T58" fmla="*/ 2147483647 w 150"/>
              <a:gd name="T59" fmla="*/ 2147483647 h 150"/>
              <a:gd name="T60" fmla="*/ 0 w 150"/>
              <a:gd name="T61" fmla="*/ 2147483647 h 150"/>
              <a:gd name="T62" fmla="*/ 0 w 150"/>
              <a:gd name="T63" fmla="*/ 2147483647 h 150"/>
              <a:gd name="T64" fmla="*/ 2147483647 w 150"/>
              <a:gd name="T65" fmla="*/ 2147483647 h 150"/>
              <a:gd name="T66" fmla="*/ 2147483647 w 150"/>
              <a:gd name="T67" fmla="*/ 2147483647 h 150"/>
              <a:gd name="T68" fmla="*/ 2147483647 w 150"/>
              <a:gd name="T69" fmla="*/ 2147483647 h 150"/>
              <a:gd name="T70" fmla="*/ 2147483647 w 150"/>
              <a:gd name="T71" fmla="*/ 2147483647 h 150"/>
              <a:gd name="T72" fmla="*/ 2147483647 w 150"/>
              <a:gd name="T73" fmla="*/ 2147483647 h 15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50"/>
              <a:gd name="T112" fmla="*/ 0 h 150"/>
              <a:gd name="T113" fmla="*/ 150 w 150"/>
              <a:gd name="T114" fmla="*/ 150 h 150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50" h="150">
                <a:moveTo>
                  <a:pt x="48" y="150"/>
                </a:moveTo>
                <a:lnTo>
                  <a:pt x="54" y="150"/>
                </a:lnTo>
                <a:lnTo>
                  <a:pt x="60" y="144"/>
                </a:lnTo>
                <a:lnTo>
                  <a:pt x="72" y="138"/>
                </a:lnTo>
                <a:lnTo>
                  <a:pt x="78" y="114"/>
                </a:lnTo>
                <a:lnTo>
                  <a:pt x="138" y="114"/>
                </a:lnTo>
                <a:lnTo>
                  <a:pt x="150" y="102"/>
                </a:lnTo>
                <a:lnTo>
                  <a:pt x="150" y="72"/>
                </a:lnTo>
                <a:lnTo>
                  <a:pt x="144" y="66"/>
                </a:lnTo>
                <a:lnTo>
                  <a:pt x="144" y="48"/>
                </a:lnTo>
                <a:lnTo>
                  <a:pt x="138" y="42"/>
                </a:lnTo>
                <a:lnTo>
                  <a:pt x="132" y="30"/>
                </a:lnTo>
                <a:lnTo>
                  <a:pt x="126" y="24"/>
                </a:lnTo>
                <a:lnTo>
                  <a:pt x="132" y="0"/>
                </a:lnTo>
                <a:lnTo>
                  <a:pt x="108" y="6"/>
                </a:lnTo>
                <a:lnTo>
                  <a:pt x="108" y="12"/>
                </a:lnTo>
                <a:lnTo>
                  <a:pt x="102" y="18"/>
                </a:lnTo>
                <a:lnTo>
                  <a:pt x="90" y="42"/>
                </a:lnTo>
                <a:lnTo>
                  <a:pt x="84" y="42"/>
                </a:lnTo>
                <a:lnTo>
                  <a:pt x="72" y="30"/>
                </a:lnTo>
                <a:lnTo>
                  <a:pt x="54" y="30"/>
                </a:lnTo>
                <a:lnTo>
                  <a:pt x="48" y="36"/>
                </a:lnTo>
                <a:lnTo>
                  <a:pt x="24" y="48"/>
                </a:lnTo>
                <a:lnTo>
                  <a:pt x="18" y="54"/>
                </a:lnTo>
                <a:lnTo>
                  <a:pt x="18" y="60"/>
                </a:lnTo>
                <a:lnTo>
                  <a:pt x="24" y="72"/>
                </a:lnTo>
                <a:lnTo>
                  <a:pt x="30" y="78"/>
                </a:lnTo>
                <a:lnTo>
                  <a:pt x="30" y="90"/>
                </a:lnTo>
                <a:lnTo>
                  <a:pt x="18" y="102"/>
                </a:lnTo>
                <a:lnTo>
                  <a:pt x="6" y="108"/>
                </a:lnTo>
                <a:lnTo>
                  <a:pt x="0" y="120"/>
                </a:lnTo>
                <a:lnTo>
                  <a:pt x="0" y="126"/>
                </a:lnTo>
                <a:lnTo>
                  <a:pt x="6" y="132"/>
                </a:lnTo>
                <a:lnTo>
                  <a:pt x="30" y="132"/>
                </a:lnTo>
                <a:lnTo>
                  <a:pt x="36" y="144"/>
                </a:lnTo>
                <a:lnTo>
                  <a:pt x="42" y="150"/>
                </a:lnTo>
                <a:lnTo>
                  <a:pt x="48" y="150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7" name="Russia (Urup,Simushir)"/>
          <p:cNvSpPr>
            <a:spLocks noEditPoints="1"/>
          </p:cNvSpPr>
          <p:nvPr/>
        </p:nvSpPr>
        <p:spPr bwMode="gray">
          <a:xfrm>
            <a:off x="7806596" y="2359693"/>
            <a:ext cx="122237" cy="482600"/>
          </a:xfrm>
          <a:custGeom>
            <a:avLst/>
            <a:gdLst>
              <a:gd name="T0" fmla="*/ 0 w 300"/>
              <a:gd name="T1" fmla="*/ 2147483647 h 1194"/>
              <a:gd name="T2" fmla="*/ 2147483647 w 300"/>
              <a:gd name="T3" fmla="*/ 2147483647 h 1194"/>
              <a:gd name="T4" fmla="*/ 2147483647 w 300"/>
              <a:gd name="T5" fmla="*/ 2147483647 h 1194"/>
              <a:gd name="T6" fmla="*/ 2147483647 w 300"/>
              <a:gd name="T7" fmla="*/ 2147483647 h 1194"/>
              <a:gd name="T8" fmla="*/ 0 w 300"/>
              <a:gd name="T9" fmla="*/ 2147483647 h 1194"/>
              <a:gd name="T10" fmla="*/ 2147483647 w 300"/>
              <a:gd name="T11" fmla="*/ 2147483647 h 1194"/>
              <a:gd name="T12" fmla="*/ 2147483647 w 300"/>
              <a:gd name="T13" fmla="*/ 2147483647 h 1194"/>
              <a:gd name="T14" fmla="*/ 2147483647 w 300"/>
              <a:gd name="T15" fmla="*/ 2147483647 h 1194"/>
              <a:gd name="T16" fmla="*/ 2147483647 w 300"/>
              <a:gd name="T17" fmla="*/ 2147483647 h 1194"/>
              <a:gd name="T18" fmla="*/ 2147483647 w 300"/>
              <a:gd name="T19" fmla="*/ 2147483647 h 1194"/>
              <a:gd name="T20" fmla="*/ 2147483647 w 300"/>
              <a:gd name="T21" fmla="*/ 2147483647 h 1194"/>
              <a:gd name="T22" fmla="*/ 2147483647 w 300"/>
              <a:gd name="T23" fmla="*/ 2147483647 h 1194"/>
              <a:gd name="T24" fmla="*/ 2147483647 w 300"/>
              <a:gd name="T25" fmla="*/ 2147483647 h 1194"/>
              <a:gd name="T26" fmla="*/ 2147483647 w 300"/>
              <a:gd name="T27" fmla="*/ 2147483647 h 1194"/>
              <a:gd name="T28" fmla="*/ 2147483647 w 300"/>
              <a:gd name="T29" fmla="*/ 2147483647 h 1194"/>
              <a:gd name="T30" fmla="*/ 2147483647 w 300"/>
              <a:gd name="T31" fmla="*/ 2147483647 h 1194"/>
              <a:gd name="T32" fmla="*/ 2147483647 w 300"/>
              <a:gd name="T33" fmla="*/ 2147483647 h 1194"/>
              <a:gd name="T34" fmla="*/ 2147483647 w 300"/>
              <a:gd name="T35" fmla="*/ 2147483647 h 1194"/>
              <a:gd name="T36" fmla="*/ 2147483647 w 300"/>
              <a:gd name="T37" fmla="*/ 2147483647 h 1194"/>
              <a:gd name="T38" fmla="*/ 2147483647 w 300"/>
              <a:gd name="T39" fmla="*/ 2147483647 h 1194"/>
              <a:gd name="T40" fmla="*/ 2147483647 w 300"/>
              <a:gd name="T41" fmla="*/ 2147483647 h 1194"/>
              <a:gd name="T42" fmla="*/ 2147483647 w 300"/>
              <a:gd name="T43" fmla="*/ 2147483647 h 1194"/>
              <a:gd name="T44" fmla="*/ 2147483647 w 300"/>
              <a:gd name="T45" fmla="*/ 2147483647 h 1194"/>
              <a:gd name="T46" fmla="*/ 2147483647 w 300"/>
              <a:gd name="T47" fmla="*/ 2147483647 h 1194"/>
              <a:gd name="T48" fmla="*/ 2147483647 w 300"/>
              <a:gd name="T49" fmla="*/ 2147483647 h 1194"/>
              <a:gd name="T50" fmla="*/ 2147483647 w 300"/>
              <a:gd name="T51" fmla="*/ 2147483647 h 1194"/>
              <a:gd name="T52" fmla="*/ 2147483647 w 300"/>
              <a:gd name="T53" fmla="*/ 2147483647 h 1194"/>
              <a:gd name="T54" fmla="*/ 2147483647 w 300"/>
              <a:gd name="T55" fmla="*/ 2147483647 h 1194"/>
              <a:gd name="T56" fmla="*/ 2147483647 w 300"/>
              <a:gd name="T57" fmla="*/ 2147483647 h 1194"/>
              <a:gd name="T58" fmla="*/ 2147483647 w 300"/>
              <a:gd name="T59" fmla="*/ 2147483647 h 1194"/>
              <a:gd name="T60" fmla="*/ 2147483647 w 300"/>
              <a:gd name="T61" fmla="*/ 2147483647 h 1194"/>
              <a:gd name="T62" fmla="*/ 2147483647 w 300"/>
              <a:gd name="T63" fmla="*/ 2147483647 h 1194"/>
              <a:gd name="T64" fmla="*/ 2147483647 w 300"/>
              <a:gd name="T65" fmla="*/ 2147483647 h 1194"/>
              <a:gd name="T66" fmla="*/ 2147483647 w 300"/>
              <a:gd name="T67" fmla="*/ 2147483647 h 1194"/>
              <a:gd name="T68" fmla="*/ 2147483647 w 300"/>
              <a:gd name="T69" fmla="*/ 2147483647 h 1194"/>
              <a:gd name="T70" fmla="*/ 2147483647 w 300"/>
              <a:gd name="T71" fmla="*/ 2147483647 h 1194"/>
              <a:gd name="T72" fmla="*/ 2147483647 w 300"/>
              <a:gd name="T73" fmla="*/ 2147483647 h 1194"/>
              <a:gd name="T74" fmla="*/ 2147483647 w 300"/>
              <a:gd name="T75" fmla="*/ 2147483647 h 1194"/>
              <a:gd name="T76" fmla="*/ 2147483647 w 300"/>
              <a:gd name="T77" fmla="*/ 2147483647 h 1194"/>
              <a:gd name="T78" fmla="*/ 2147483647 w 300"/>
              <a:gd name="T79" fmla="*/ 2147483647 h 1194"/>
              <a:gd name="T80" fmla="*/ 2147483647 w 300"/>
              <a:gd name="T81" fmla="*/ 2147483647 h 1194"/>
              <a:gd name="T82" fmla="*/ 2147483647 w 300"/>
              <a:gd name="T83" fmla="*/ 2147483647 h 1194"/>
              <a:gd name="T84" fmla="*/ 2147483647 w 300"/>
              <a:gd name="T85" fmla="*/ 2147483647 h 1194"/>
              <a:gd name="T86" fmla="*/ 2147483647 w 300"/>
              <a:gd name="T87" fmla="*/ 2147483647 h 1194"/>
              <a:gd name="T88" fmla="*/ 2147483647 w 300"/>
              <a:gd name="T89" fmla="*/ 2147483647 h 1194"/>
              <a:gd name="T90" fmla="*/ 2147483647 w 300"/>
              <a:gd name="T91" fmla="*/ 2147483647 h 1194"/>
              <a:gd name="T92" fmla="*/ 2147483647 w 300"/>
              <a:gd name="T93" fmla="*/ 2147483647 h 1194"/>
              <a:gd name="T94" fmla="*/ 2147483647 w 300"/>
              <a:gd name="T95" fmla="*/ 2147483647 h 1194"/>
              <a:gd name="T96" fmla="*/ 2147483647 w 300"/>
              <a:gd name="T97" fmla="*/ 2147483647 h 1194"/>
              <a:gd name="T98" fmla="*/ 2147483647 w 300"/>
              <a:gd name="T99" fmla="*/ 0 h 1194"/>
              <a:gd name="T100" fmla="*/ 2147483647 w 300"/>
              <a:gd name="T101" fmla="*/ 2147483647 h 11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00"/>
              <a:gd name="T154" fmla="*/ 0 h 1194"/>
              <a:gd name="T155" fmla="*/ 300 w 300"/>
              <a:gd name="T156" fmla="*/ 1194 h 11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00" h="1194">
                <a:moveTo>
                  <a:pt x="0" y="1194"/>
                </a:moveTo>
                <a:lnTo>
                  <a:pt x="12" y="1188"/>
                </a:lnTo>
                <a:lnTo>
                  <a:pt x="36" y="1146"/>
                </a:lnTo>
                <a:lnTo>
                  <a:pt x="18" y="1134"/>
                </a:lnTo>
                <a:lnTo>
                  <a:pt x="0" y="1194"/>
                </a:lnTo>
                <a:close/>
                <a:moveTo>
                  <a:pt x="114" y="1068"/>
                </a:moveTo>
                <a:lnTo>
                  <a:pt x="72" y="1062"/>
                </a:lnTo>
                <a:lnTo>
                  <a:pt x="54" y="1134"/>
                </a:lnTo>
                <a:lnTo>
                  <a:pt x="66" y="1134"/>
                </a:lnTo>
                <a:lnTo>
                  <a:pt x="84" y="1104"/>
                </a:lnTo>
                <a:lnTo>
                  <a:pt x="132" y="1074"/>
                </a:lnTo>
                <a:lnTo>
                  <a:pt x="120" y="1050"/>
                </a:lnTo>
                <a:lnTo>
                  <a:pt x="114" y="1068"/>
                </a:lnTo>
                <a:close/>
                <a:moveTo>
                  <a:pt x="192" y="1008"/>
                </a:moveTo>
                <a:lnTo>
                  <a:pt x="186" y="1008"/>
                </a:lnTo>
                <a:lnTo>
                  <a:pt x="180" y="1020"/>
                </a:lnTo>
                <a:lnTo>
                  <a:pt x="174" y="1026"/>
                </a:lnTo>
                <a:lnTo>
                  <a:pt x="168" y="1038"/>
                </a:lnTo>
                <a:lnTo>
                  <a:pt x="168" y="1044"/>
                </a:lnTo>
                <a:lnTo>
                  <a:pt x="174" y="1050"/>
                </a:lnTo>
                <a:lnTo>
                  <a:pt x="180" y="1050"/>
                </a:lnTo>
                <a:lnTo>
                  <a:pt x="198" y="1032"/>
                </a:lnTo>
                <a:lnTo>
                  <a:pt x="198" y="1014"/>
                </a:lnTo>
                <a:lnTo>
                  <a:pt x="192" y="1008"/>
                </a:lnTo>
                <a:close/>
                <a:moveTo>
                  <a:pt x="282" y="636"/>
                </a:moveTo>
                <a:lnTo>
                  <a:pt x="264" y="654"/>
                </a:lnTo>
                <a:lnTo>
                  <a:pt x="276" y="678"/>
                </a:lnTo>
                <a:lnTo>
                  <a:pt x="258" y="678"/>
                </a:lnTo>
                <a:lnTo>
                  <a:pt x="258" y="702"/>
                </a:lnTo>
                <a:lnTo>
                  <a:pt x="282" y="702"/>
                </a:lnTo>
                <a:lnTo>
                  <a:pt x="294" y="684"/>
                </a:lnTo>
                <a:lnTo>
                  <a:pt x="282" y="654"/>
                </a:lnTo>
                <a:lnTo>
                  <a:pt x="300" y="654"/>
                </a:lnTo>
                <a:lnTo>
                  <a:pt x="282" y="636"/>
                </a:lnTo>
                <a:close/>
                <a:moveTo>
                  <a:pt x="276" y="768"/>
                </a:moveTo>
                <a:lnTo>
                  <a:pt x="294" y="750"/>
                </a:lnTo>
                <a:lnTo>
                  <a:pt x="270" y="732"/>
                </a:lnTo>
                <a:lnTo>
                  <a:pt x="276" y="768"/>
                </a:lnTo>
                <a:close/>
                <a:moveTo>
                  <a:pt x="258" y="954"/>
                </a:moveTo>
                <a:lnTo>
                  <a:pt x="258" y="924"/>
                </a:lnTo>
                <a:lnTo>
                  <a:pt x="240" y="948"/>
                </a:lnTo>
                <a:lnTo>
                  <a:pt x="258" y="954"/>
                </a:lnTo>
                <a:close/>
                <a:moveTo>
                  <a:pt x="252" y="858"/>
                </a:moveTo>
                <a:lnTo>
                  <a:pt x="270" y="858"/>
                </a:lnTo>
                <a:lnTo>
                  <a:pt x="252" y="840"/>
                </a:lnTo>
                <a:lnTo>
                  <a:pt x="252" y="858"/>
                </a:lnTo>
                <a:close/>
                <a:moveTo>
                  <a:pt x="126" y="24"/>
                </a:moveTo>
                <a:lnTo>
                  <a:pt x="144" y="60"/>
                </a:lnTo>
                <a:lnTo>
                  <a:pt x="174" y="24"/>
                </a:lnTo>
                <a:lnTo>
                  <a:pt x="162" y="0"/>
                </a:lnTo>
                <a:lnTo>
                  <a:pt x="126" y="24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8" name="Russia"/>
          <p:cNvSpPr>
            <a:spLocks noEditPoints="1"/>
          </p:cNvSpPr>
          <p:nvPr/>
        </p:nvSpPr>
        <p:spPr bwMode="gray">
          <a:xfrm>
            <a:off x="4539521" y="1764380"/>
            <a:ext cx="3641725" cy="1158875"/>
          </a:xfrm>
          <a:custGeom>
            <a:avLst/>
            <a:gdLst>
              <a:gd name="T0" fmla="*/ 2147483647 w 9048"/>
              <a:gd name="T1" fmla="*/ 2147483647 h 2880"/>
              <a:gd name="T2" fmla="*/ 2147483647 w 9048"/>
              <a:gd name="T3" fmla="*/ 2147483647 h 2880"/>
              <a:gd name="T4" fmla="*/ 2147483647 w 9048"/>
              <a:gd name="T5" fmla="*/ 2147483647 h 2880"/>
              <a:gd name="T6" fmla="*/ 2147483647 w 9048"/>
              <a:gd name="T7" fmla="*/ 2147483647 h 2880"/>
              <a:gd name="T8" fmla="*/ 2147483647 w 9048"/>
              <a:gd name="T9" fmla="*/ 2147483647 h 2880"/>
              <a:gd name="T10" fmla="*/ 2147483647 w 9048"/>
              <a:gd name="T11" fmla="*/ 2147483647 h 2880"/>
              <a:gd name="T12" fmla="*/ 2147483647 w 9048"/>
              <a:gd name="T13" fmla="*/ 2147483647 h 2880"/>
              <a:gd name="T14" fmla="*/ 2147483647 w 9048"/>
              <a:gd name="T15" fmla="*/ 2147483647 h 2880"/>
              <a:gd name="T16" fmla="*/ 2147483647 w 9048"/>
              <a:gd name="T17" fmla="*/ 2147483647 h 2880"/>
              <a:gd name="T18" fmla="*/ 2147483647 w 9048"/>
              <a:gd name="T19" fmla="*/ 2147483647 h 2880"/>
              <a:gd name="T20" fmla="*/ 2147483647 w 9048"/>
              <a:gd name="T21" fmla="*/ 2147483647 h 2880"/>
              <a:gd name="T22" fmla="*/ 2147483647 w 9048"/>
              <a:gd name="T23" fmla="*/ 2147483647 h 2880"/>
              <a:gd name="T24" fmla="*/ 2147483647 w 9048"/>
              <a:gd name="T25" fmla="*/ 2147483647 h 2880"/>
              <a:gd name="T26" fmla="*/ 2147483647 w 9048"/>
              <a:gd name="T27" fmla="*/ 2147483647 h 2880"/>
              <a:gd name="T28" fmla="*/ 2147483647 w 9048"/>
              <a:gd name="T29" fmla="*/ 2147483647 h 2880"/>
              <a:gd name="T30" fmla="*/ 2147483647 w 9048"/>
              <a:gd name="T31" fmla="*/ 2147483647 h 2880"/>
              <a:gd name="T32" fmla="*/ 2147483647 w 9048"/>
              <a:gd name="T33" fmla="*/ 2147483647 h 2880"/>
              <a:gd name="T34" fmla="*/ 2147483647 w 9048"/>
              <a:gd name="T35" fmla="*/ 2147483647 h 2880"/>
              <a:gd name="T36" fmla="*/ 2147483647 w 9048"/>
              <a:gd name="T37" fmla="*/ 2147483647 h 2880"/>
              <a:gd name="T38" fmla="*/ 2147483647 w 9048"/>
              <a:gd name="T39" fmla="*/ 2147483647 h 2880"/>
              <a:gd name="T40" fmla="*/ 2147483647 w 9048"/>
              <a:gd name="T41" fmla="*/ 2147483647 h 2880"/>
              <a:gd name="T42" fmla="*/ 2147483647 w 9048"/>
              <a:gd name="T43" fmla="*/ 2147483647 h 2880"/>
              <a:gd name="T44" fmla="*/ 2147483647 w 9048"/>
              <a:gd name="T45" fmla="*/ 2147483647 h 2880"/>
              <a:gd name="T46" fmla="*/ 2147483647 w 9048"/>
              <a:gd name="T47" fmla="*/ 2147483647 h 2880"/>
              <a:gd name="T48" fmla="*/ 2147483647 w 9048"/>
              <a:gd name="T49" fmla="*/ 2147483647 h 2880"/>
              <a:gd name="T50" fmla="*/ 2147483647 w 9048"/>
              <a:gd name="T51" fmla="*/ 2147483647 h 2880"/>
              <a:gd name="T52" fmla="*/ 2147483647 w 9048"/>
              <a:gd name="T53" fmla="*/ 2147483647 h 2880"/>
              <a:gd name="T54" fmla="*/ 2147483647 w 9048"/>
              <a:gd name="T55" fmla="*/ 2147483647 h 2880"/>
              <a:gd name="T56" fmla="*/ 2147483647 w 9048"/>
              <a:gd name="T57" fmla="*/ 2147483647 h 2880"/>
              <a:gd name="T58" fmla="*/ 2147483647 w 9048"/>
              <a:gd name="T59" fmla="*/ 2147483647 h 2880"/>
              <a:gd name="T60" fmla="*/ 2147483647 w 9048"/>
              <a:gd name="T61" fmla="*/ 2147483647 h 2880"/>
              <a:gd name="T62" fmla="*/ 2147483647 w 9048"/>
              <a:gd name="T63" fmla="*/ 2147483647 h 2880"/>
              <a:gd name="T64" fmla="*/ 2147483647 w 9048"/>
              <a:gd name="T65" fmla="*/ 2147483647 h 2880"/>
              <a:gd name="T66" fmla="*/ 2147483647 w 9048"/>
              <a:gd name="T67" fmla="*/ 2147483647 h 2880"/>
              <a:gd name="T68" fmla="*/ 2147483647 w 9048"/>
              <a:gd name="T69" fmla="*/ 2147483647 h 2880"/>
              <a:gd name="T70" fmla="*/ 2147483647 w 9048"/>
              <a:gd name="T71" fmla="*/ 2147483647 h 2880"/>
              <a:gd name="T72" fmla="*/ 2147483647 w 9048"/>
              <a:gd name="T73" fmla="*/ 2147483647 h 2880"/>
              <a:gd name="T74" fmla="*/ 2147483647 w 9048"/>
              <a:gd name="T75" fmla="*/ 2147483647 h 2880"/>
              <a:gd name="T76" fmla="*/ 2147483647 w 9048"/>
              <a:gd name="T77" fmla="*/ 2147483647 h 2880"/>
              <a:gd name="T78" fmla="*/ 2147483647 w 9048"/>
              <a:gd name="T79" fmla="*/ 2147483647 h 2880"/>
              <a:gd name="T80" fmla="*/ 2147483647 w 9048"/>
              <a:gd name="T81" fmla="*/ 2147483647 h 2880"/>
              <a:gd name="T82" fmla="*/ 2147483647 w 9048"/>
              <a:gd name="T83" fmla="*/ 2147483647 h 2880"/>
              <a:gd name="T84" fmla="*/ 2147483647 w 9048"/>
              <a:gd name="T85" fmla="*/ 2147483647 h 2880"/>
              <a:gd name="T86" fmla="*/ 2147483647 w 9048"/>
              <a:gd name="T87" fmla="*/ 2147483647 h 2880"/>
              <a:gd name="T88" fmla="*/ 2147483647 w 9048"/>
              <a:gd name="T89" fmla="*/ 2147483647 h 2880"/>
              <a:gd name="T90" fmla="*/ 2147483647 w 9048"/>
              <a:gd name="T91" fmla="*/ 2147483647 h 2880"/>
              <a:gd name="T92" fmla="*/ 2147483647 w 9048"/>
              <a:gd name="T93" fmla="*/ 2147483647 h 2880"/>
              <a:gd name="T94" fmla="*/ 2147483647 w 9048"/>
              <a:gd name="T95" fmla="*/ 2147483647 h 2880"/>
              <a:gd name="T96" fmla="*/ 2147483647 w 9048"/>
              <a:gd name="T97" fmla="*/ 2147483647 h 2880"/>
              <a:gd name="T98" fmla="*/ 2147483647 w 9048"/>
              <a:gd name="T99" fmla="*/ 2147483647 h 2880"/>
              <a:gd name="T100" fmla="*/ 2147483647 w 9048"/>
              <a:gd name="T101" fmla="*/ 2147483647 h 2880"/>
              <a:gd name="T102" fmla="*/ 2147483647 w 9048"/>
              <a:gd name="T103" fmla="*/ 2147483647 h 2880"/>
              <a:gd name="T104" fmla="*/ 2147483647 w 9048"/>
              <a:gd name="T105" fmla="*/ 2147483647 h 2880"/>
              <a:gd name="T106" fmla="*/ 2147483647 w 9048"/>
              <a:gd name="T107" fmla="*/ 2147483647 h 2880"/>
              <a:gd name="T108" fmla="*/ 2147483647 w 9048"/>
              <a:gd name="T109" fmla="*/ 2147483647 h 2880"/>
              <a:gd name="T110" fmla="*/ 2147483647 w 9048"/>
              <a:gd name="T111" fmla="*/ 2147483647 h 2880"/>
              <a:gd name="T112" fmla="*/ 2147483647 w 9048"/>
              <a:gd name="T113" fmla="*/ 2147483647 h 2880"/>
              <a:gd name="T114" fmla="*/ 2147483647 w 9048"/>
              <a:gd name="T115" fmla="*/ 2147483647 h 2880"/>
              <a:gd name="T116" fmla="*/ 2147483647 w 9048"/>
              <a:gd name="T117" fmla="*/ 2147483647 h 2880"/>
              <a:gd name="T118" fmla="*/ 2147483647 w 9048"/>
              <a:gd name="T119" fmla="*/ 2147483647 h 2880"/>
              <a:gd name="T120" fmla="*/ 2147483647 w 9048"/>
              <a:gd name="T121" fmla="*/ 2147483647 h 2880"/>
              <a:gd name="T122" fmla="*/ 2147483647 w 9048"/>
              <a:gd name="T123" fmla="*/ 2147483647 h 2880"/>
              <a:gd name="T124" fmla="*/ 2147483647 w 9048"/>
              <a:gd name="T125" fmla="*/ 2147483647 h 288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9048"/>
              <a:gd name="T190" fmla="*/ 0 h 2880"/>
              <a:gd name="T191" fmla="*/ 9048 w 9048"/>
              <a:gd name="T192" fmla="*/ 2880 h 288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9048" h="2880">
                <a:moveTo>
                  <a:pt x="2790" y="546"/>
                </a:moveTo>
                <a:lnTo>
                  <a:pt x="2760" y="540"/>
                </a:lnTo>
                <a:lnTo>
                  <a:pt x="2736" y="558"/>
                </a:lnTo>
                <a:lnTo>
                  <a:pt x="2778" y="570"/>
                </a:lnTo>
                <a:lnTo>
                  <a:pt x="2790" y="546"/>
                </a:lnTo>
                <a:close/>
                <a:moveTo>
                  <a:pt x="2832" y="522"/>
                </a:moveTo>
                <a:lnTo>
                  <a:pt x="2820" y="516"/>
                </a:lnTo>
                <a:lnTo>
                  <a:pt x="2814" y="510"/>
                </a:lnTo>
                <a:lnTo>
                  <a:pt x="2808" y="510"/>
                </a:lnTo>
                <a:lnTo>
                  <a:pt x="2808" y="528"/>
                </a:lnTo>
                <a:lnTo>
                  <a:pt x="2820" y="534"/>
                </a:lnTo>
                <a:lnTo>
                  <a:pt x="2832" y="534"/>
                </a:lnTo>
                <a:lnTo>
                  <a:pt x="2844" y="540"/>
                </a:lnTo>
                <a:lnTo>
                  <a:pt x="2850" y="540"/>
                </a:lnTo>
                <a:lnTo>
                  <a:pt x="2850" y="534"/>
                </a:lnTo>
                <a:lnTo>
                  <a:pt x="2844" y="528"/>
                </a:lnTo>
                <a:lnTo>
                  <a:pt x="2832" y="522"/>
                </a:lnTo>
                <a:close/>
                <a:moveTo>
                  <a:pt x="1704" y="18"/>
                </a:moveTo>
                <a:lnTo>
                  <a:pt x="1710" y="18"/>
                </a:lnTo>
                <a:lnTo>
                  <a:pt x="1716" y="12"/>
                </a:lnTo>
                <a:lnTo>
                  <a:pt x="1728" y="6"/>
                </a:lnTo>
                <a:lnTo>
                  <a:pt x="1734" y="0"/>
                </a:lnTo>
                <a:lnTo>
                  <a:pt x="1644" y="0"/>
                </a:lnTo>
                <a:lnTo>
                  <a:pt x="1638" y="12"/>
                </a:lnTo>
                <a:lnTo>
                  <a:pt x="1680" y="12"/>
                </a:lnTo>
                <a:lnTo>
                  <a:pt x="1686" y="18"/>
                </a:lnTo>
                <a:lnTo>
                  <a:pt x="1704" y="18"/>
                </a:lnTo>
                <a:close/>
                <a:moveTo>
                  <a:pt x="1740" y="60"/>
                </a:moveTo>
                <a:lnTo>
                  <a:pt x="1746" y="60"/>
                </a:lnTo>
                <a:lnTo>
                  <a:pt x="1758" y="48"/>
                </a:lnTo>
                <a:lnTo>
                  <a:pt x="1764" y="48"/>
                </a:lnTo>
                <a:lnTo>
                  <a:pt x="1770" y="54"/>
                </a:lnTo>
                <a:lnTo>
                  <a:pt x="1782" y="54"/>
                </a:lnTo>
                <a:lnTo>
                  <a:pt x="1788" y="60"/>
                </a:lnTo>
                <a:lnTo>
                  <a:pt x="1800" y="60"/>
                </a:lnTo>
                <a:lnTo>
                  <a:pt x="1812" y="48"/>
                </a:lnTo>
                <a:lnTo>
                  <a:pt x="1812" y="36"/>
                </a:lnTo>
                <a:lnTo>
                  <a:pt x="1806" y="30"/>
                </a:lnTo>
                <a:lnTo>
                  <a:pt x="1794" y="24"/>
                </a:lnTo>
                <a:lnTo>
                  <a:pt x="1758" y="24"/>
                </a:lnTo>
                <a:lnTo>
                  <a:pt x="1710" y="48"/>
                </a:lnTo>
                <a:lnTo>
                  <a:pt x="1716" y="54"/>
                </a:lnTo>
                <a:lnTo>
                  <a:pt x="1728" y="60"/>
                </a:lnTo>
                <a:lnTo>
                  <a:pt x="1740" y="60"/>
                </a:lnTo>
                <a:close/>
                <a:moveTo>
                  <a:pt x="2382" y="510"/>
                </a:moveTo>
                <a:lnTo>
                  <a:pt x="2400" y="504"/>
                </a:lnTo>
                <a:lnTo>
                  <a:pt x="2412" y="498"/>
                </a:lnTo>
                <a:lnTo>
                  <a:pt x="2412" y="486"/>
                </a:lnTo>
                <a:lnTo>
                  <a:pt x="2406" y="486"/>
                </a:lnTo>
                <a:lnTo>
                  <a:pt x="2400" y="480"/>
                </a:lnTo>
                <a:lnTo>
                  <a:pt x="2346" y="480"/>
                </a:lnTo>
                <a:lnTo>
                  <a:pt x="2346" y="492"/>
                </a:lnTo>
                <a:lnTo>
                  <a:pt x="2358" y="504"/>
                </a:lnTo>
                <a:lnTo>
                  <a:pt x="2370" y="510"/>
                </a:lnTo>
                <a:lnTo>
                  <a:pt x="2382" y="510"/>
                </a:lnTo>
                <a:close/>
                <a:moveTo>
                  <a:pt x="1590" y="30"/>
                </a:moveTo>
                <a:lnTo>
                  <a:pt x="1548" y="24"/>
                </a:lnTo>
                <a:lnTo>
                  <a:pt x="1554" y="36"/>
                </a:lnTo>
                <a:lnTo>
                  <a:pt x="1590" y="30"/>
                </a:lnTo>
                <a:close/>
                <a:moveTo>
                  <a:pt x="1890" y="696"/>
                </a:moveTo>
                <a:lnTo>
                  <a:pt x="1896" y="708"/>
                </a:lnTo>
                <a:lnTo>
                  <a:pt x="1920" y="720"/>
                </a:lnTo>
                <a:lnTo>
                  <a:pt x="1950" y="738"/>
                </a:lnTo>
                <a:lnTo>
                  <a:pt x="1974" y="744"/>
                </a:lnTo>
                <a:lnTo>
                  <a:pt x="1992" y="738"/>
                </a:lnTo>
                <a:lnTo>
                  <a:pt x="1980" y="720"/>
                </a:lnTo>
                <a:lnTo>
                  <a:pt x="1950" y="702"/>
                </a:lnTo>
                <a:lnTo>
                  <a:pt x="1914" y="696"/>
                </a:lnTo>
                <a:lnTo>
                  <a:pt x="1890" y="696"/>
                </a:lnTo>
                <a:close/>
                <a:moveTo>
                  <a:pt x="3108" y="126"/>
                </a:moveTo>
                <a:lnTo>
                  <a:pt x="3120" y="108"/>
                </a:lnTo>
                <a:lnTo>
                  <a:pt x="3030" y="108"/>
                </a:lnTo>
                <a:lnTo>
                  <a:pt x="3108" y="126"/>
                </a:lnTo>
                <a:close/>
                <a:moveTo>
                  <a:pt x="1560" y="102"/>
                </a:moveTo>
                <a:lnTo>
                  <a:pt x="1632" y="102"/>
                </a:lnTo>
                <a:lnTo>
                  <a:pt x="1608" y="84"/>
                </a:lnTo>
                <a:lnTo>
                  <a:pt x="1560" y="102"/>
                </a:lnTo>
                <a:close/>
                <a:moveTo>
                  <a:pt x="1572" y="60"/>
                </a:moveTo>
                <a:lnTo>
                  <a:pt x="1584" y="66"/>
                </a:lnTo>
                <a:lnTo>
                  <a:pt x="1596" y="78"/>
                </a:lnTo>
                <a:lnTo>
                  <a:pt x="1620" y="66"/>
                </a:lnTo>
                <a:lnTo>
                  <a:pt x="1620" y="72"/>
                </a:lnTo>
                <a:lnTo>
                  <a:pt x="1644" y="72"/>
                </a:lnTo>
                <a:lnTo>
                  <a:pt x="1668" y="60"/>
                </a:lnTo>
                <a:lnTo>
                  <a:pt x="1674" y="54"/>
                </a:lnTo>
                <a:lnTo>
                  <a:pt x="1680" y="54"/>
                </a:lnTo>
                <a:lnTo>
                  <a:pt x="1626" y="48"/>
                </a:lnTo>
                <a:lnTo>
                  <a:pt x="1614" y="54"/>
                </a:lnTo>
                <a:lnTo>
                  <a:pt x="1608" y="54"/>
                </a:lnTo>
                <a:lnTo>
                  <a:pt x="1602" y="48"/>
                </a:lnTo>
                <a:lnTo>
                  <a:pt x="1584" y="48"/>
                </a:lnTo>
                <a:lnTo>
                  <a:pt x="1572" y="60"/>
                </a:lnTo>
                <a:close/>
                <a:moveTo>
                  <a:pt x="1662" y="36"/>
                </a:moveTo>
                <a:lnTo>
                  <a:pt x="1602" y="36"/>
                </a:lnTo>
                <a:lnTo>
                  <a:pt x="1650" y="48"/>
                </a:lnTo>
                <a:lnTo>
                  <a:pt x="1662" y="36"/>
                </a:lnTo>
                <a:close/>
                <a:moveTo>
                  <a:pt x="1542" y="522"/>
                </a:moveTo>
                <a:lnTo>
                  <a:pt x="1500" y="528"/>
                </a:lnTo>
                <a:lnTo>
                  <a:pt x="1512" y="552"/>
                </a:lnTo>
                <a:lnTo>
                  <a:pt x="1542" y="534"/>
                </a:lnTo>
                <a:lnTo>
                  <a:pt x="1524" y="558"/>
                </a:lnTo>
                <a:lnTo>
                  <a:pt x="1518" y="558"/>
                </a:lnTo>
                <a:lnTo>
                  <a:pt x="1512" y="564"/>
                </a:lnTo>
                <a:lnTo>
                  <a:pt x="1506" y="564"/>
                </a:lnTo>
                <a:lnTo>
                  <a:pt x="1494" y="570"/>
                </a:lnTo>
                <a:lnTo>
                  <a:pt x="1488" y="576"/>
                </a:lnTo>
                <a:lnTo>
                  <a:pt x="1488" y="582"/>
                </a:lnTo>
                <a:lnTo>
                  <a:pt x="1500" y="594"/>
                </a:lnTo>
                <a:lnTo>
                  <a:pt x="1524" y="606"/>
                </a:lnTo>
                <a:lnTo>
                  <a:pt x="1566" y="606"/>
                </a:lnTo>
                <a:lnTo>
                  <a:pt x="1590" y="612"/>
                </a:lnTo>
                <a:lnTo>
                  <a:pt x="1608" y="618"/>
                </a:lnTo>
                <a:lnTo>
                  <a:pt x="1614" y="624"/>
                </a:lnTo>
                <a:lnTo>
                  <a:pt x="1620" y="636"/>
                </a:lnTo>
                <a:lnTo>
                  <a:pt x="1620" y="648"/>
                </a:lnTo>
                <a:lnTo>
                  <a:pt x="1626" y="654"/>
                </a:lnTo>
                <a:lnTo>
                  <a:pt x="1626" y="660"/>
                </a:lnTo>
                <a:lnTo>
                  <a:pt x="1644" y="660"/>
                </a:lnTo>
                <a:lnTo>
                  <a:pt x="1662" y="666"/>
                </a:lnTo>
                <a:lnTo>
                  <a:pt x="1674" y="666"/>
                </a:lnTo>
                <a:lnTo>
                  <a:pt x="1692" y="672"/>
                </a:lnTo>
                <a:lnTo>
                  <a:pt x="1704" y="672"/>
                </a:lnTo>
                <a:lnTo>
                  <a:pt x="1818" y="666"/>
                </a:lnTo>
                <a:lnTo>
                  <a:pt x="1806" y="666"/>
                </a:lnTo>
                <a:lnTo>
                  <a:pt x="1734" y="642"/>
                </a:lnTo>
                <a:lnTo>
                  <a:pt x="1704" y="618"/>
                </a:lnTo>
                <a:lnTo>
                  <a:pt x="1692" y="600"/>
                </a:lnTo>
                <a:lnTo>
                  <a:pt x="1686" y="588"/>
                </a:lnTo>
                <a:lnTo>
                  <a:pt x="1674" y="582"/>
                </a:lnTo>
                <a:lnTo>
                  <a:pt x="1674" y="570"/>
                </a:lnTo>
                <a:lnTo>
                  <a:pt x="1668" y="564"/>
                </a:lnTo>
                <a:lnTo>
                  <a:pt x="1692" y="516"/>
                </a:lnTo>
                <a:lnTo>
                  <a:pt x="1686" y="510"/>
                </a:lnTo>
                <a:lnTo>
                  <a:pt x="1686" y="504"/>
                </a:lnTo>
                <a:lnTo>
                  <a:pt x="1674" y="504"/>
                </a:lnTo>
                <a:lnTo>
                  <a:pt x="1710" y="498"/>
                </a:lnTo>
                <a:lnTo>
                  <a:pt x="1698" y="480"/>
                </a:lnTo>
                <a:lnTo>
                  <a:pt x="1734" y="480"/>
                </a:lnTo>
                <a:lnTo>
                  <a:pt x="1710" y="468"/>
                </a:lnTo>
                <a:lnTo>
                  <a:pt x="1734" y="474"/>
                </a:lnTo>
                <a:lnTo>
                  <a:pt x="1740" y="462"/>
                </a:lnTo>
                <a:lnTo>
                  <a:pt x="1722" y="450"/>
                </a:lnTo>
                <a:lnTo>
                  <a:pt x="1764" y="450"/>
                </a:lnTo>
                <a:lnTo>
                  <a:pt x="1770" y="444"/>
                </a:lnTo>
                <a:lnTo>
                  <a:pt x="1752" y="426"/>
                </a:lnTo>
                <a:lnTo>
                  <a:pt x="1782" y="432"/>
                </a:lnTo>
                <a:lnTo>
                  <a:pt x="1782" y="402"/>
                </a:lnTo>
                <a:lnTo>
                  <a:pt x="1788" y="408"/>
                </a:lnTo>
                <a:lnTo>
                  <a:pt x="1800" y="414"/>
                </a:lnTo>
                <a:lnTo>
                  <a:pt x="1812" y="414"/>
                </a:lnTo>
                <a:lnTo>
                  <a:pt x="1830" y="408"/>
                </a:lnTo>
                <a:lnTo>
                  <a:pt x="1842" y="402"/>
                </a:lnTo>
                <a:lnTo>
                  <a:pt x="1860" y="390"/>
                </a:lnTo>
                <a:lnTo>
                  <a:pt x="1878" y="372"/>
                </a:lnTo>
                <a:lnTo>
                  <a:pt x="1896" y="372"/>
                </a:lnTo>
                <a:lnTo>
                  <a:pt x="1938" y="366"/>
                </a:lnTo>
                <a:lnTo>
                  <a:pt x="1992" y="354"/>
                </a:lnTo>
                <a:lnTo>
                  <a:pt x="2046" y="348"/>
                </a:lnTo>
                <a:lnTo>
                  <a:pt x="2094" y="336"/>
                </a:lnTo>
                <a:lnTo>
                  <a:pt x="2124" y="330"/>
                </a:lnTo>
                <a:lnTo>
                  <a:pt x="2136" y="324"/>
                </a:lnTo>
                <a:lnTo>
                  <a:pt x="2154" y="318"/>
                </a:lnTo>
                <a:lnTo>
                  <a:pt x="2160" y="312"/>
                </a:lnTo>
                <a:lnTo>
                  <a:pt x="2166" y="300"/>
                </a:lnTo>
                <a:lnTo>
                  <a:pt x="2166" y="294"/>
                </a:lnTo>
                <a:lnTo>
                  <a:pt x="2154" y="282"/>
                </a:lnTo>
                <a:lnTo>
                  <a:pt x="2136" y="276"/>
                </a:lnTo>
                <a:lnTo>
                  <a:pt x="2088" y="270"/>
                </a:lnTo>
                <a:lnTo>
                  <a:pt x="2046" y="276"/>
                </a:lnTo>
                <a:lnTo>
                  <a:pt x="2016" y="288"/>
                </a:lnTo>
                <a:lnTo>
                  <a:pt x="1980" y="300"/>
                </a:lnTo>
                <a:lnTo>
                  <a:pt x="1938" y="318"/>
                </a:lnTo>
                <a:lnTo>
                  <a:pt x="1860" y="318"/>
                </a:lnTo>
                <a:lnTo>
                  <a:pt x="1842" y="312"/>
                </a:lnTo>
                <a:lnTo>
                  <a:pt x="1824" y="312"/>
                </a:lnTo>
                <a:lnTo>
                  <a:pt x="1806" y="336"/>
                </a:lnTo>
                <a:lnTo>
                  <a:pt x="1782" y="318"/>
                </a:lnTo>
                <a:lnTo>
                  <a:pt x="1728" y="342"/>
                </a:lnTo>
                <a:lnTo>
                  <a:pt x="1698" y="342"/>
                </a:lnTo>
                <a:lnTo>
                  <a:pt x="1668" y="366"/>
                </a:lnTo>
                <a:lnTo>
                  <a:pt x="1692" y="372"/>
                </a:lnTo>
                <a:lnTo>
                  <a:pt x="1644" y="372"/>
                </a:lnTo>
                <a:lnTo>
                  <a:pt x="1614" y="378"/>
                </a:lnTo>
                <a:lnTo>
                  <a:pt x="1614" y="396"/>
                </a:lnTo>
                <a:lnTo>
                  <a:pt x="1638" y="378"/>
                </a:lnTo>
                <a:lnTo>
                  <a:pt x="1644" y="396"/>
                </a:lnTo>
                <a:lnTo>
                  <a:pt x="1668" y="396"/>
                </a:lnTo>
                <a:lnTo>
                  <a:pt x="1662" y="408"/>
                </a:lnTo>
                <a:lnTo>
                  <a:pt x="1620" y="408"/>
                </a:lnTo>
                <a:lnTo>
                  <a:pt x="1614" y="420"/>
                </a:lnTo>
                <a:lnTo>
                  <a:pt x="1644" y="426"/>
                </a:lnTo>
                <a:lnTo>
                  <a:pt x="1596" y="432"/>
                </a:lnTo>
                <a:lnTo>
                  <a:pt x="1632" y="438"/>
                </a:lnTo>
                <a:lnTo>
                  <a:pt x="1584" y="444"/>
                </a:lnTo>
                <a:lnTo>
                  <a:pt x="1584" y="462"/>
                </a:lnTo>
                <a:lnTo>
                  <a:pt x="1554" y="474"/>
                </a:lnTo>
                <a:lnTo>
                  <a:pt x="1560" y="486"/>
                </a:lnTo>
                <a:lnTo>
                  <a:pt x="1602" y="468"/>
                </a:lnTo>
                <a:lnTo>
                  <a:pt x="1590" y="498"/>
                </a:lnTo>
                <a:lnTo>
                  <a:pt x="1554" y="498"/>
                </a:lnTo>
                <a:lnTo>
                  <a:pt x="1542" y="504"/>
                </a:lnTo>
                <a:lnTo>
                  <a:pt x="1542" y="522"/>
                </a:lnTo>
                <a:close/>
                <a:moveTo>
                  <a:pt x="5778" y="498"/>
                </a:moveTo>
                <a:lnTo>
                  <a:pt x="5850" y="486"/>
                </a:lnTo>
                <a:lnTo>
                  <a:pt x="5958" y="504"/>
                </a:lnTo>
                <a:lnTo>
                  <a:pt x="5952" y="492"/>
                </a:lnTo>
                <a:lnTo>
                  <a:pt x="5940" y="486"/>
                </a:lnTo>
                <a:lnTo>
                  <a:pt x="5928" y="474"/>
                </a:lnTo>
                <a:lnTo>
                  <a:pt x="5904" y="462"/>
                </a:lnTo>
                <a:lnTo>
                  <a:pt x="5844" y="462"/>
                </a:lnTo>
                <a:lnTo>
                  <a:pt x="5808" y="468"/>
                </a:lnTo>
                <a:lnTo>
                  <a:pt x="5796" y="468"/>
                </a:lnTo>
                <a:lnTo>
                  <a:pt x="5778" y="498"/>
                </a:lnTo>
                <a:close/>
                <a:moveTo>
                  <a:pt x="5784" y="378"/>
                </a:moveTo>
                <a:lnTo>
                  <a:pt x="5838" y="384"/>
                </a:lnTo>
                <a:lnTo>
                  <a:pt x="5844" y="378"/>
                </a:lnTo>
                <a:lnTo>
                  <a:pt x="5850" y="366"/>
                </a:lnTo>
                <a:lnTo>
                  <a:pt x="5838" y="354"/>
                </a:lnTo>
                <a:lnTo>
                  <a:pt x="5802" y="354"/>
                </a:lnTo>
                <a:lnTo>
                  <a:pt x="5742" y="342"/>
                </a:lnTo>
                <a:lnTo>
                  <a:pt x="5724" y="342"/>
                </a:lnTo>
                <a:lnTo>
                  <a:pt x="5718" y="348"/>
                </a:lnTo>
                <a:lnTo>
                  <a:pt x="5730" y="354"/>
                </a:lnTo>
                <a:lnTo>
                  <a:pt x="5742" y="366"/>
                </a:lnTo>
                <a:lnTo>
                  <a:pt x="5754" y="372"/>
                </a:lnTo>
                <a:lnTo>
                  <a:pt x="5772" y="372"/>
                </a:lnTo>
                <a:lnTo>
                  <a:pt x="5778" y="378"/>
                </a:lnTo>
                <a:lnTo>
                  <a:pt x="5784" y="378"/>
                </a:lnTo>
                <a:close/>
                <a:moveTo>
                  <a:pt x="5724" y="432"/>
                </a:moveTo>
                <a:lnTo>
                  <a:pt x="5712" y="444"/>
                </a:lnTo>
                <a:lnTo>
                  <a:pt x="5712" y="456"/>
                </a:lnTo>
                <a:lnTo>
                  <a:pt x="5724" y="462"/>
                </a:lnTo>
                <a:lnTo>
                  <a:pt x="5772" y="462"/>
                </a:lnTo>
                <a:lnTo>
                  <a:pt x="5778" y="456"/>
                </a:lnTo>
                <a:lnTo>
                  <a:pt x="5778" y="450"/>
                </a:lnTo>
                <a:lnTo>
                  <a:pt x="5766" y="438"/>
                </a:lnTo>
                <a:lnTo>
                  <a:pt x="5742" y="426"/>
                </a:lnTo>
                <a:lnTo>
                  <a:pt x="5730" y="426"/>
                </a:lnTo>
                <a:lnTo>
                  <a:pt x="5724" y="432"/>
                </a:lnTo>
                <a:close/>
                <a:moveTo>
                  <a:pt x="3072" y="96"/>
                </a:moveTo>
                <a:lnTo>
                  <a:pt x="3192" y="96"/>
                </a:lnTo>
                <a:lnTo>
                  <a:pt x="3204" y="90"/>
                </a:lnTo>
                <a:lnTo>
                  <a:pt x="3228" y="90"/>
                </a:lnTo>
                <a:lnTo>
                  <a:pt x="3240" y="84"/>
                </a:lnTo>
                <a:lnTo>
                  <a:pt x="3240" y="72"/>
                </a:lnTo>
                <a:lnTo>
                  <a:pt x="3222" y="60"/>
                </a:lnTo>
                <a:lnTo>
                  <a:pt x="3192" y="42"/>
                </a:lnTo>
                <a:lnTo>
                  <a:pt x="3156" y="30"/>
                </a:lnTo>
                <a:lnTo>
                  <a:pt x="3132" y="24"/>
                </a:lnTo>
                <a:lnTo>
                  <a:pt x="3120" y="18"/>
                </a:lnTo>
                <a:lnTo>
                  <a:pt x="3108" y="18"/>
                </a:lnTo>
                <a:lnTo>
                  <a:pt x="3096" y="12"/>
                </a:lnTo>
                <a:lnTo>
                  <a:pt x="3060" y="12"/>
                </a:lnTo>
                <a:lnTo>
                  <a:pt x="3048" y="18"/>
                </a:lnTo>
                <a:lnTo>
                  <a:pt x="3036" y="18"/>
                </a:lnTo>
                <a:lnTo>
                  <a:pt x="3030" y="30"/>
                </a:lnTo>
                <a:lnTo>
                  <a:pt x="3030" y="42"/>
                </a:lnTo>
                <a:lnTo>
                  <a:pt x="3036" y="54"/>
                </a:lnTo>
                <a:lnTo>
                  <a:pt x="3048" y="66"/>
                </a:lnTo>
                <a:lnTo>
                  <a:pt x="3054" y="78"/>
                </a:lnTo>
                <a:lnTo>
                  <a:pt x="3072" y="96"/>
                </a:lnTo>
                <a:close/>
                <a:moveTo>
                  <a:pt x="6138" y="408"/>
                </a:moveTo>
                <a:lnTo>
                  <a:pt x="6144" y="402"/>
                </a:lnTo>
                <a:lnTo>
                  <a:pt x="6132" y="396"/>
                </a:lnTo>
                <a:lnTo>
                  <a:pt x="6102" y="390"/>
                </a:lnTo>
                <a:lnTo>
                  <a:pt x="6036" y="390"/>
                </a:lnTo>
                <a:lnTo>
                  <a:pt x="6012" y="366"/>
                </a:lnTo>
                <a:lnTo>
                  <a:pt x="6000" y="360"/>
                </a:lnTo>
                <a:lnTo>
                  <a:pt x="5970" y="360"/>
                </a:lnTo>
                <a:lnTo>
                  <a:pt x="5958" y="366"/>
                </a:lnTo>
                <a:lnTo>
                  <a:pt x="5910" y="366"/>
                </a:lnTo>
                <a:lnTo>
                  <a:pt x="5946" y="390"/>
                </a:lnTo>
                <a:lnTo>
                  <a:pt x="5964" y="396"/>
                </a:lnTo>
                <a:lnTo>
                  <a:pt x="6000" y="402"/>
                </a:lnTo>
                <a:lnTo>
                  <a:pt x="6054" y="414"/>
                </a:lnTo>
                <a:lnTo>
                  <a:pt x="6102" y="414"/>
                </a:lnTo>
                <a:lnTo>
                  <a:pt x="6138" y="408"/>
                </a:lnTo>
                <a:close/>
                <a:moveTo>
                  <a:pt x="7602" y="744"/>
                </a:moveTo>
                <a:lnTo>
                  <a:pt x="7596" y="732"/>
                </a:lnTo>
                <a:lnTo>
                  <a:pt x="7572" y="726"/>
                </a:lnTo>
                <a:lnTo>
                  <a:pt x="7512" y="714"/>
                </a:lnTo>
                <a:lnTo>
                  <a:pt x="7500" y="714"/>
                </a:lnTo>
                <a:lnTo>
                  <a:pt x="7512" y="726"/>
                </a:lnTo>
                <a:lnTo>
                  <a:pt x="7548" y="738"/>
                </a:lnTo>
                <a:lnTo>
                  <a:pt x="7584" y="744"/>
                </a:lnTo>
                <a:lnTo>
                  <a:pt x="7602" y="744"/>
                </a:lnTo>
                <a:close/>
                <a:moveTo>
                  <a:pt x="3162" y="120"/>
                </a:moveTo>
                <a:lnTo>
                  <a:pt x="3216" y="138"/>
                </a:lnTo>
                <a:lnTo>
                  <a:pt x="3246" y="144"/>
                </a:lnTo>
                <a:lnTo>
                  <a:pt x="3264" y="144"/>
                </a:lnTo>
                <a:lnTo>
                  <a:pt x="3312" y="138"/>
                </a:lnTo>
                <a:lnTo>
                  <a:pt x="3372" y="156"/>
                </a:lnTo>
                <a:lnTo>
                  <a:pt x="3432" y="156"/>
                </a:lnTo>
                <a:lnTo>
                  <a:pt x="3426" y="138"/>
                </a:lnTo>
                <a:lnTo>
                  <a:pt x="3402" y="102"/>
                </a:lnTo>
                <a:lnTo>
                  <a:pt x="3384" y="96"/>
                </a:lnTo>
                <a:lnTo>
                  <a:pt x="3372" y="90"/>
                </a:lnTo>
                <a:lnTo>
                  <a:pt x="3354" y="96"/>
                </a:lnTo>
                <a:lnTo>
                  <a:pt x="3318" y="114"/>
                </a:lnTo>
                <a:lnTo>
                  <a:pt x="3294" y="90"/>
                </a:lnTo>
                <a:lnTo>
                  <a:pt x="3282" y="90"/>
                </a:lnTo>
                <a:lnTo>
                  <a:pt x="3210" y="102"/>
                </a:lnTo>
                <a:lnTo>
                  <a:pt x="3174" y="114"/>
                </a:lnTo>
                <a:lnTo>
                  <a:pt x="3162" y="120"/>
                </a:lnTo>
                <a:close/>
                <a:moveTo>
                  <a:pt x="3582" y="198"/>
                </a:moveTo>
                <a:lnTo>
                  <a:pt x="3744" y="192"/>
                </a:lnTo>
                <a:lnTo>
                  <a:pt x="3702" y="168"/>
                </a:lnTo>
                <a:lnTo>
                  <a:pt x="3696" y="168"/>
                </a:lnTo>
                <a:lnTo>
                  <a:pt x="3690" y="162"/>
                </a:lnTo>
                <a:lnTo>
                  <a:pt x="3666" y="150"/>
                </a:lnTo>
                <a:lnTo>
                  <a:pt x="3648" y="144"/>
                </a:lnTo>
                <a:lnTo>
                  <a:pt x="3636" y="138"/>
                </a:lnTo>
                <a:lnTo>
                  <a:pt x="3618" y="138"/>
                </a:lnTo>
                <a:lnTo>
                  <a:pt x="3606" y="144"/>
                </a:lnTo>
                <a:lnTo>
                  <a:pt x="3600" y="150"/>
                </a:lnTo>
                <a:lnTo>
                  <a:pt x="3588" y="156"/>
                </a:lnTo>
                <a:lnTo>
                  <a:pt x="3588" y="150"/>
                </a:lnTo>
                <a:lnTo>
                  <a:pt x="3582" y="144"/>
                </a:lnTo>
                <a:lnTo>
                  <a:pt x="3576" y="132"/>
                </a:lnTo>
                <a:lnTo>
                  <a:pt x="3570" y="126"/>
                </a:lnTo>
                <a:lnTo>
                  <a:pt x="3546" y="114"/>
                </a:lnTo>
                <a:lnTo>
                  <a:pt x="3522" y="126"/>
                </a:lnTo>
                <a:lnTo>
                  <a:pt x="3504" y="162"/>
                </a:lnTo>
                <a:lnTo>
                  <a:pt x="3498" y="192"/>
                </a:lnTo>
                <a:lnTo>
                  <a:pt x="3492" y="210"/>
                </a:lnTo>
                <a:lnTo>
                  <a:pt x="3516" y="222"/>
                </a:lnTo>
                <a:lnTo>
                  <a:pt x="3534" y="216"/>
                </a:lnTo>
                <a:lnTo>
                  <a:pt x="3546" y="216"/>
                </a:lnTo>
                <a:lnTo>
                  <a:pt x="3582" y="198"/>
                </a:lnTo>
                <a:close/>
                <a:moveTo>
                  <a:pt x="5622" y="420"/>
                </a:moveTo>
                <a:lnTo>
                  <a:pt x="5640" y="390"/>
                </a:lnTo>
                <a:lnTo>
                  <a:pt x="5754" y="390"/>
                </a:lnTo>
                <a:lnTo>
                  <a:pt x="5688" y="360"/>
                </a:lnTo>
                <a:lnTo>
                  <a:pt x="5700" y="336"/>
                </a:lnTo>
                <a:lnTo>
                  <a:pt x="5610" y="318"/>
                </a:lnTo>
                <a:lnTo>
                  <a:pt x="5628" y="348"/>
                </a:lnTo>
                <a:lnTo>
                  <a:pt x="5616" y="342"/>
                </a:lnTo>
                <a:lnTo>
                  <a:pt x="5592" y="336"/>
                </a:lnTo>
                <a:lnTo>
                  <a:pt x="5556" y="330"/>
                </a:lnTo>
                <a:lnTo>
                  <a:pt x="5514" y="318"/>
                </a:lnTo>
                <a:lnTo>
                  <a:pt x="5454" y="318"/>
                </a:lnTo>
                <a:lnTo>
                  <a:pt x="5448" y="330"/>
                </a:lnTo>
                <a:lnTo>
                  <a:pt x="5460" y="354"/>
                </a:lnTo>
                <a:lnTo>
                  <a:pt x="5496" y="372"/>
                </a:lnTo>
                <a:lnTo>
                  <a:pt x="5538" y="390"/>
                </a:lnTo>
                <a:lnTo>
                  <a:pt x="5574" y="408"/>
                </a:lnTo>
                <a:lnTo>
                  <a:pt x="5610" y="414"/>
                </a:lnTo>
                <a:lnTo>
                  <a:pt x="5622" y="420"/>
                </a:lnTo>
                <a:close/>
                <a:moveTo>
                  <a:pt x="4320" y="432"/>
                </a:moveTo>
                <a:lnTo>
                  <a:pt x="4368" y="444"/>
                </a:lnTo>
                <a:lnTo>
                  <a:pt x="4380" y="444"/>
                </a:lnTo>
                <a:lnTo>
                  <a:pt x="4392" y="438"/>
                </a:lnTo>
                <a:lnTo>
                  <a:pt x="4398" y="438"/>
                </a:lnTo>
                <a:lnTo>
                  <a:pt x="4404" y="432"/>
                </a:lnTo>
                <a:lnTo>
                  <a:pt x="4404" y="426"/>
                </a:lnTo>
                <a:lnTo>
                  <a:pt x="4398" y="426"/>
                </a:lnTo>
                <a:lnTo>
                  <a:pt x="4362" y="414"/>
                </a:lnTo>
                <a:lnTo>
                  <a:pt x="4344" y="420"/>
                </a:lnTo>
                <a:lnTo>
                  <a:pt x="4332" y="420"/>
                </a:lnTo>
                <a:lnTo>
                  <a:pt x="4320" y="432"/>
                </a:lnTo>
                <a:close/>
                <a:moveTo>
                  <a:pt x="5424" y="354"/>
                </a:moveTo>
                <a:lnTo>
                  <a:pt x="5370" y="336"/>
                </a:lnTo>
                <a:lnTo>
                  <a:pt x="5394" y="366"/>
                </a:lnTo>
                <a:lnTo>
                  <a:pt x="5424" y="354"/>
                </a:lnTo>
                <a:close/>
                <a:moveTo>
                  <a:pt x="7986" y="666"/>
                </a:moveTo>
                <a:lnTo>
                  <a:pt x="8034" y="654"/>
                </a:lnTo>
                <a:lnTo>
                  <a:pt x="8088" y="654"/>
                </a:lnTo>
                <a:lnTo>
                  <a:pt x="8100" y="648"/>
                </a:lnTo>
                <a:lnTo>
                  <a:pt x="8106" y="642"/>
                </a:lnTo>
                <a:lnTo>
                  <a:pt x="8106" y="636"/>
                </a:lnTo>
                <a:lnTo>
                  <a:pt x="8100" y="630"/>
                </a:lnTo>
                <a:lnTo>
                  <a:pt x="8088" y="630"/>
                </a:lnTo>
                <a:lnTo>
                  <a:pt x="8052" y="618"/>
                </a:lnTo>
                <a:lnTo>
                  <a:pt x="8028" y="612"/>
                </a:lnTo>
                <a:lnTo>
                  <a:pt x="8010" y="606"/>
                </a:lnTo>
                <a:lnTo>
                  <a:pt x="7968" y="606"/>
                </a:lnTo>
                <a:lnTo>
                  <a:pt x="7944" y="618"/>
                </a:lnTo>
                <a:lnTo>
                  <a:pt x="7938" y="630"/>
                </a:lnTo>
                <a:lnTo>
                  <a:pt x="7938" y="654"/>
                </a:lnTo>
                <a:lnTo>
                  <a:pt x="7944" y="666"/>
                </a:lnTo>
                <a:lnTo>
                  <a:pt x="7950" y="666"/>
                </a:lnTo>
                <a:lnTo>
                  <a:pt x="7962" y="672"/>
                </a:lnTo>
                <a:lnTo>
                  <a:pt x="7968" y="672"/>
                </a:lnTo>
                <a:lnTo>
                  <a:pt x="7980" y="666"/>
                </a:lnTo>
                <a:lnTo>
                  <a:pt x="7986" y="666"/>
                </a:lnTo>
                <a:close/>
                <a:moveTo>
                  <a:pt x="162" y="1788"/>
                </a:moveTo>
                <a:lnTo>
                  <a:pt x="150" y="1788"/>
                </a:lnTo>
                <a:lnTo>
                  <a:pt x="138" y="1794"/>
                </a:lnTo>
                <a:lnTo>
                  <a:pt x="114" y="1794"/>
                </a:lnTo>
                <a:lnTo>
                  <a:pt x="108" y="1788"/>
                </a:lnTo>
                <a:lnTo>
                  <a:pt x="96" y="1788"/>
                </a:lnTo>
                <a:lnTo>
                  <a:pt x="96" y="1782"/>
                </a:lnTo>
                <a:lnTo>
                  <a:pt x="84" y="1782"/>
                </a:lnTo>
                <a:lnTo>
                  <a:pt x="84" y="1788"/>
                </a:lnTo>
                <a:lnTo>
                  <a:pt x="72" y="1800"/>
                </a:lnTo>
                <a:lnTo>
                  <a:pt x="12" y="1800"/>
                </a:lnTo>
                <a:lnTo>
                  <a:pt x="0" y="1812"/>
                </a:lnTo>
                <a:lnTo>
                  <a:pt x="0" y="1818"/>
                </a:lnTo>
                <a:lnTo>
                  <a:pt x="12" y="1830"/>
                </a:lnTo>
                <a:lnTo>
                  <a:pt x="6" y="1842"/>
                </a:lnTo>
                <a:lnTo>
                  <a:pt x="12" y="1848"/>
                </a:lnTo>
                <a:lnTo>
                  <a:pt x="18" y="1848"/>
                </a:lnTo>
                <a:lnTo>
                  <a:pt x="24" y="1842"/>
                </a:lnTo>
                <a:lnTo>
                  <a:pt x="48" y="1842"/>
                </a:lnTo>
                <a:lnTo>
                  <a:pt x="54" y="1848"/>
                </a:lnTo>
                <a:lnTo>
                  <a:pt x="66" y="1848"/>
                </a:lnTo>
                <a:lnTo>
                  <a:pt x="72" y="1854"/>
                </a:lnTo>
                <a:lnTo>
                  <a:pt x="162" y="1854"/>
                </a:lnTo>
                <a:lnTo>
                  <a:pt x="162" y="1848"/>
                </a:lnTo>
                <a:lnTo>
                  <a:pt x="168" y="1848"/>
                </a:lnTo>
                <a:lnTo>
                  <a:pt x="162" y="1830"/>
                </a:lnTo>
                <a:lnTo>
                  <a:pt x="174" y="1818"/>
                </a:lnTo>
                <a:lnTo>
                  <a:pt x="174" y="1800"/>
                </a:lnTo>
                <a:lnTo>
                  <a:pt x="168" y="1788"/>
                </a:lnTo>
                <a:lnTo>
                  <a:pt x="162" y="1788"/>
                </a:lnTo>
                <a:close/>
                <a:moveTo>
                  <a:pt x="1038" y="90"/>
                </a:moveTo>
                <a:lnTo>
                  <a:pt x="1062" y="72"/>
                </a:lnTo>
                <a:lnTo>
                  <a:pt x="1032" y="72"/>
                </a:lnTo>
                <a:lnTo>
                  <a:pt x="1032" y="84"/>
                </a:lnTo>
                <a:lnTo>
                  <a:pt x="1038" y="90"/>
                </a:lnTo>
                <a:close/>
                <a:moveTo>
                  <a:pt x="990" y="72"/>
                </a:moveTo>
                <a:lnTo>
                  <a:pt x="1074" y="54"/>
                </a:lnTo>
                <a:lnTo>
                  <a:pt x="1044" y="42"/>
                </a:lnTo>
                <a:lnTo>
                  <a:pt x="996" y="54"/>
                </a:lnTo>
                <a:lnTo>
                  <a:pt x="948" y="54"/>
                </a:lnTo>
                <a:lnTo>
                  <a:pt x="966" y="66"/>
                </a:lnTo>
                <a:lnTo>
                  <a:pt x="990" y="72"/>
                </a:lnTo>
                <a:close/>
                <a:moveTo>
                  <a:pt x="1122" y="90"/>
                </a:moveTo>
                <a:lnTo>
                  <a:pt x="1128" y="78"/>
                </a:lnTo>
                <a:lnTo>
                  <a:pt x="1152" y="78"/>
                </a:lnTo>
                <a:lnTo>
                  <a:pt x="1164" y="66"/>
                </a:lnTo>
                <a:lnTo>
                  <a:pt x="1218" y="66"/>
                </a:lnTo>
                <a:lnTo>
                  <a:pt x="1218" y="60"/>
                </a:lnTo>
                <a:lnTo>
                  <a:pt x="1206" y="54"/>
                </a:lnTo>
                <a:lnTo>
                  <a:pt x="1182" y="54"/>
                </a:lnTo>
                <a:lnTo>
                  <a:pt x="1182" y="48"/>
                </a:lnTo>
                <a:lnTo>
                  <a:pt x="1176" y="48"/>
                </a:lnTo>
                <a:lnTo>
                  <a:pt x="1164" y="42"/>
                </a:lnTo>
                <a:lnTo>
                  <a:pt x="1140" y="42"/>
                </a:lnTo>
                <a:lnTo>
                  <a:pt x="1134" y="48"/>
                </a:lnTo>
                <a:lnTo>
                  <a:pt x="1128" y="60"/>
                </a:lnTo>
                <a:lnTo>
                  <a:pt x="1128" y="66"/>
                </a:lnTo>
                <a:lnTo>
                  <a:pt x="1122" y="66"/>
                </a:lnTo>
                <a:lnTo>
                  <a:pt x="1116" y="72"/>
                </a:lnTo>
                <a:lnTo>
                  <a:pt x="1104" y="72"/>
                </a:lnTo>
                <a:lnTo>
                  <a:pt x="1086" y="78"/>
                </a:lnTo>
                <a:lnTo>
                  <a:pt x="1080" y="78"/>
                </a:lnTo>
                <a:lnTo>
                  <a:pt x="1074" y="84"/>
                </a:lnTo>
                <a:lnTo>
                  <a:pt x="1080" y="84"/>
                </a:lnTo>
                <a:lnTo>
                  <a:pt x="1092" y="90"/>
                </a:lnTo>
                <a:lnTo>
                  <a:pt x="1122" y="90"/>
                </a:lnTo>
                <a:close/>
                <a:moveTo>
                  <a:pt x="1176" y="78"/>
                </a:moveTo>
                <a:lnTo>
                  <a:pt x="1158" y="90"/>
                </a:lnTo>
                <a:lnTo>
                  <a:pt x="1176" y="102"/>
                </a:lnTo>
                <a:lnTo>
                  <a:pt x="1194" y="108"/>
                </a:lnTo>
                <a:lnTo>
                  <a:pt x="1248" y="102"/>
                </a:lnTo>
                <a:lnTo>
                  <a:pt x="1242" y="90"/>
                </a:lnTo>
                <a:lnTo>
                  <a:pt x="1212" y="90"/>
                </a:lnTo>
                <a:lnTo>
                  <a:pt x="1176" y="78"/>
                </a:lnTo>
                <a:close/>
                <a:moveTo>
                  <a:pt x="7812" y="2436"/>
                </a:moveTo>
                <a:lnTo>
                  <a:pt x="7782" y="2400"/>
                </a:lnTo>
                <a:lnTo>
                  <a:pt x="7776" y="2400"/>
                </a:lnTo>
                <a:lnTo>
                  <a:pt x="7770" y="2394"/>
                </a:lnTo>
                <a:lnTo>
                  <a:pt x="7752" y="2388"/>
                </a:lnTo>
                <a:lnTo>
                  <a:pt x="7728" y="2364"/>
                </a:lnTo>
                <a:lnTo>
                  <a:pt x="7722" y="2352"/>
                </a:lnTo>
                <a:lnTo>
                  <a:pt x="7704" y="2298"/>
                </a:lnTo>
                <a:lnTo>
                  <a:pt x="7698" y="2286"/>
                </a:lnTo>
                <a:lnTo>
                  <a:pt x="7698" y="2274"/>
                </a:lnTo>
                <a:lnTo>
                  <a:pt x="7674" y="2250"/>
                </a:lnTo>
                <a:lnTo>
                  <a:pt x="7680" y="2244"/>
                </a:lnTo>
                <a:lnTo>
                  <a:pt x="7698" y="2244"/>
                </a:lnTo>
                <a:lnTo>
                  <a:pt x="7770" y="2268"/>
                </a:lnTo>
                <a:lnTo>
                  <a:pt x="7800" y="2280"/>
                </a:lnTo>
                <a:lnTo>
                  <a:pt x="7812" y="2286"/>
                </a:lnTo>
                <a:lnTo>
                  <a:pt x="7740" y="2232"/>
                </a:lnTo>
                <a:lnTo>
                  <a:pt x="7734" y="2226"/>
                </a:lnTo>
                <a:lnTo>
                  <a:pt x="7722" y="2202"/>
                </a:lnTo>
                <a:lnTo>
                  <a:pt x="7710" y="2196"/>
                </a:lnTo>
                <a:lnTo>
                  <a:pt x="7704" y="2184"/>
                </a:lnTo>
                <a:lnTo>
                  <a:pt x="7698" y="2178"/>
                </a:lnTo>
                <a:lnTo>
                  <a:pt x="7674" y="2166"/>
                </a:lnTo>
                <a:lnTo>
                  <a:pt x="7668" y="2160"/>
                </a:lnTo>
                <a:lnTo>
                  <a:pt x="7656" y="2154"/>
                </a:lnTo>
                <a:lnTo>
                  <a:pt x="7578" y="2070"/>
                </a:lnTo>
                <a:lnTo>
                  <a:pt x="7554" y="2070"/>
                </a:lnTo>
                <a:lnTo>
                  <a:pt x="7542" y="2040"/>
                </a:lnTo>
                <a:lnTo>
                  <a:pt x="7524" y="2040"/>
                </a:lnTo>
                <a:lnTo>
                  <a:pt x="7512" y="2028"/>
                </a:lnTo>
                <a:lnTo>
                  <a:pt x="7500" y="2004"/>
                </a:lnTo>
                <a:lnTo>
                  <a:pt x="7500" y="1980"/>
                </a:lnTo>
                <a:lnTo>
                  <a:pt x="7470" y="1944"/>
                </a:lnTo>
                <a:lnTo>
                  <a:pt x="7446" y="1950"/>
                </a:lnTo>
                <a:lnTo>
                  <a:pt x="7434" y="1920"/>
                </a:lnTo>
                <a:lnTo>
                  <a:pt x="7392" y="1890"/>
                </a:lnTo>
                <a:lnTo>
                  <a:pt x="7380" y="1866"/>
                </a:lnTo>
                <a:lnTo>
                  <a:pt x="7368" y="1860"/>
                </a:lnTo>
                <a:lnTo>
                  <a:pt x="7362" y="1854"/>
                </a:lnTo>
                <a:lnTo>
                  <a:pt x="7344" y="1854"/>
                </a:lnTo>
                <a:lnTo>
                  <a:pt x="7344" y="1860"/>
                </a:lnTo>
                <a:lnTo>
                  <a:pt x="7392" y="1908"/>
                </a:lnTo>
                <a:lnTo>
                  <a:pt x="7392" y="1914"/>
                </a:lnTo>
                <a:lnTo>
                  <a:pt x="7386" y="1914"/>
                </a:lnTo>
                <a:lnTo>
                  <a:pt x="7380" y="1908"/>
                </a:lnTo>
                <a:lnTo>
                  <a:pt x="7368" y="1908"/>
                </a:lnTo>
                <a:lnTo>
                  <a:pt x="7362" y="1914"/>
                </a:lnTo>
                <a:lnTo>
                  <a:pt x="7362" y="1926"/>
                </a:lnTo>
                <a:lnTo>
                  <a:pt x="7374" y="1950"/>
                </a:lnTo>
                <a:lnTo>
                  <a:pt x="7386" y="1962"/>
                </a:lnTo>
                <a:lnTo>
                  <a:pt x="7392" y="1974"/>
                </a:lnTo>
                <a:lnTo>
                  <a:pt x="7404" y="1980"/>
                </a:lnTo>
                <a:lnTo>
                  <a:pt x="7404" y="1992"/>
                </a:lnTo>
                <a:lnTo>
                  <a:pt x="7416" y="2016"/>
                </a:lnTo>
                <a:lnTo>
                  <a:pt x="7422" y="2022"/>
                </a:lnTo>
                <a:lnTo>
                  <a:pt x="7440" y="2034"/>
                </a:lnTo>
                <a:lnTo>
                  <a:pt x="7470" y="2052"/>
                </a:lnTo>
                <a:lnTo>
                  <a:pt x="7500" y="2076"/>
                </a:lnTo>
                <a:lnTo>
                  <a:pt x="7518" y="2100"/>
                </a:lnTo>
                <a:lnTo>
                  <a:pt x="7524" y="2112"/>
                </a:lnTo>
                <a:lnTo>
                  <a:pt x="7536" y="2130"/>
                </a:lnTo>
                <a:lnTo>
                  <a:pt x="7536" y="2142"/>
                </a:lnTo>
                <a:lnTo>
                  <a:pt x="7548" y="2154"/>
                </a:lnTo>
                <a:lnTo>
                  <a:pt x="7554" y="2166"/>
                </a:lnTo>
                <a:lnTo>
                  <a:pt x="7572" y="2184"/>
                </a:lnTo>
                <a:lnTo>
                  <a:pt x="7590" y="2208"/>
                </a:lnTo>
                <a:lnTo>
                  <a:pt x="7608" y="2238"/>
                </a:lnTo>
                <a:lnTo>
                  <a:pt x="7620" y="2262"/>
                </a:lnTo>
                <a:lnTo>
                  <a:pt x="7626" y="2268"/>
                </a:lnTo>
                <a:lnTo>
                  <a:pt x="7626" y="2280"/>
                </a:lnTo>
                <a:lnTo>
                  <a:pt x="7632" y="2292"/>
                </a:lnTo>
                <a:lnTo>
                  <a:pt x="7644" y="2304"/>
                </a:lnTo>
                <a:lnTo>
                  <a:pt x="7656" y="2304"/>
                </a:lnTo>
                <a:lnTo>
                  <a:pt x="7668" y="2310"/>
                </a:lnTo>
                <a:lnTo>
                  <a:pt x="7674" y="2322"/>
                </a:lnTo>
                <a:lnTo>
                  <a:pt x="7686" y="2334"/>
                </a:lnTo>
                <a:lnTo>
                  <a:pt x="7698" y="2358"/>
                </a:lnTo>
                <a:lnTo>
                  <a:pt x="7698" y="2376"/>
                </a:lnTo>
                <a:lnTo>
                  <a:pt x="7740" y="2412"/>
                </a:lnTo>
                <a:lnTo>
                  <a:pt x="7752" y="2466"/>
                </a:lnTo>
                <a:lnTo>
                  <a:pt x="7794" y="2508"/>
                </a:lnTo>
                <a:lnTo>
                  <a:pt x="7794" y="2502"/>
                </a:lnTo>
                <a:lnTo>
                  <a:pt x="7788" y="2496"/>
                </a:lnTo>
                <a:lnTo>
                  <a:pt x="7788" y="2484"/>
                </a:lnTo>
                <a:lnTo>
                  <a:pt x="7782" y="2472"/>
                </a:lnTo>
                <a:lnTo>
                  <a:pt x="7782" y="2460"/>
                </a:lnTo>
                <a:lnTo>
                  <a:pt x="7776" y="2448"/>
                </a:lnTo>
                <a:lnTo>
                  <a:pt x="7782" y="2442"/>
                </a:lnTo>
                <a:lnTo>
                  <a:pt x="7788" y="2442"/>
                </a:lnTo>
                <a:lnTo>
                  <a:pt x="7800" y="2454"/>
                </a:lnTo>
                <a:lnTo>
                  <a:pt x="7830" y="2454"/>
                </a:lnTo>
                <a:lnTo>
                  <a:pt x="7866" y="2496"/>
                </a:lnTo>
                <a:lnTo>
                  <a:pt x="7866" y="2472"/>
                </a:lnTo>
                <a:lnTo>
                  <a:pt x="7836" y="2430"/>
                </a:lnTo>
                <a:lnTo>
                  <a:pt x="7812" y="2436"/>
                </a:lnTo>
                <a:close/>
                <a:moveTo>
                  <a:pt x="1344" y="84"/>
                </a:moveTo>
                <a:lnTo>
                  <a:pt x="1350" y="72"/>
                </a:lnTo>
                <a:lnTo>
                  <a:pt x="1308" y="66"/>
                </a:lnTo>
                <a:lnTo>
                  <a:pt x="1284" y="78"/>
                </a:lnTo>
                <a:lnTo>
                  <a:pt x="1290" y="90"/>
                </a:lnTo>
                <a:lnTo>
                  <a:pt x="1344" y="84"/>
                </a:lnTo>
                <a:close/>
                <a:moveTo>
                  <a:pt x="9048" y="996"/>
                </a:moveTo>
                <a:lnTo>
                  <a:pt x="9036" y="984"/>
                </a:lnTo>
                <a:lnTo>
                  <a:pt x="9024" y="978"/>
                </a:lnTo>
                <a:lnTo>
                  <a:pt x="9006" y="972"/>
                </a:lnTo>
                <a:lnTo>
                  <a:pt x="8994" y="966"/>
                </a:lnTo>
                <a:lnTo>
                  <a:pt x="8982" y="966"/>
                </a:lnTo>
                <a:lnTo>
                  <a:pt x="8940" y="948"/>
                </a:lnTo>
                <a:lnTo>
                  <a:pt x="8898" y="948"/>
                </a:lnTo>
                <a:lnTo>
                  <a:pt x="8868" y="930"/>
                </a:lnTo>
                <a:lnTo>
                  <a:pt x="8778" y="924"/>
                </a:lnTo>
                <a:lnTo>
                  <a:pt x="8736" y="906"/>
                </a:lnTo>
                <a:lnTo>
                  <a:pt x="8700" y="906"/>
                </a:lnTo>
                <a:lnTo>
                  <a:pt x="8754" y="942"/>
                </a:lnTo>
                <a:lnTo>
                  <a:pt x="8808" y="966"/>
                </a:lnTo>
                <a:lnTo>
                  <a:pt x="8796" y="966"/>
                </a:lnTo>
                <a:lnTo>
                  <a:pt x="8784" y="972"/>
                </a:lnTo>
                <a:lnTo>
                  <a:pt x="8754" y="972"/>
                </a:lnTo>
                <a:lnTo>
                  <a:pt x="8730" y="960"/>
                </a:lnTo>
                <a:lnTo>
                  <a:pt x="8676" y="906"/>
                </a:lnTo>
                <a:lnTo>
                  <a:pt x="8580" y="870"/>
                </a:lnTo>
                <a:lnTo>
                  <a:pt x="8496" y="846"/>
                </a:lnTo>
                <a:lnTo>
                  <a:pt x="8442" y="834"/>
                </a:lnTo>
                <a:lnTo>
                  <a:pt x="8370" y="822"/>
                </a:lnTo>
                <a:lnTo>
                  <a:pt x="8280" y="804"/>
                </a:lnTo>
                <a:lnTo>
                  <a:pt x="8190" y="780"/>
                </a:lnTo>
                <a:lnTo>
                  <a:pt x="8112" y="762"/>
                </a:lnTo>
                <a:lnTo>
                  <a:pt x="8052" y="750"/>
                </a:lnTo>
                <a:lnTo>
                  <a:pt x="7998" y="738"/>
                </a:lnTo>
                <a:lnTo>
                  <a:pt x="7956" y="732"/>
                </a:lnTo>
                <a:lnTo>
                  <a:pt x="7758" y="732"/>
                </a:lnTo>
                <a:lnTo>
                  <a:pt x="7746" y="714"/>
                </a:lnTo>
                <a:lnTo>
                  <a:pt x="7698" y="720"/>
                </a:lnTo>
                <a:lnTo>
                  <a:pt x="7680" y="708"/>
                </a:lnTo>
                <a:lnTo>
                  <a:pt x="7626" y="708"/>
                </a:lnTo>
                <a:lnTo>
                  <a:pt x="7650" y="726"/>
                </a:lnTo>
                <a:lnTo>
                  <a:pt x="7644" y="744"/>
                </a:lnTo>
                <a:lnTo>
                  <a:pt x="7656" y="744"/>
                </a:lnTo>
                <a:lnTo>
                  <a:pt x="7680" y="756"/>
                </a:lnTo>
                <a:lnTo>
                  <a:pt x="7716" y="762"/>
                </a:lnTo>
                <a:lnTo>
                  <a:pt x="7740" y="774"/>
                </a:lnTo>
                <a:lnTo>
                  <a:pt x="7758" y="786"/>
                </a:lnTo>
                <a:lnTo>
                  <a:pt x="7752" y="798"/>
                </a:lnTo>
                <a:lnTo>
                  <a:pt x="7728" y="804"/>
                </a:lnTo>
                <a:lnTo>
                  <a:pt x="7698" y="804"/>
                </a:lnTo>
                <a:lnTo>
                  <a:pt x="7686" y="798"/>
                </a:lnTo>
                <a:lnTo>
                  <a:pt x="7680" y="792"/>
                </a:lnTo>
                <a:lnTo>
                  <a:pt x="7656" y="774"/>
                </a:lnTo>
                <a:lnTo>
                  <a:pt x="7584" y="774"/>
                </a:lnTo>
                <a:lnTo>
                  <a:pt x="7530" y="738"/>
                </a:lnTo>
                <a:lnTo>
                  <a:pt x="7524" y="738"/>
                </a:lnTo>
                <a:lnTo>
                  <a:pt x="7518" y="744"/>
                </a:lnTo>
                <a:lnTo>
                  <a:pt x="7506" y="744"/>
                </a:lnTo>
                <a:lnTo>
                  <a:pt x="7500" y="750"/>
                </a:lnTo>
                <a:lnTo>
                  <a:pt x="7446" y="750"/>
                </a:lnTo>
                <a:lnTo>
                  <a:pt x="7440" y="738"/>
                </a:lnTo>
                <a:lnTo>
                  <a:pt x="7344" y="744"/>
                </a:lnTo>
                <a:lnTo>
                  <a:pt x="7320" y="726"/>
                </a:lnTo>
                <a:lnTo>
                  <a:pt x="7314" y="732"/>
                </a:lnTo>
                <a:lnTo>
                  <a:pt x="7212" y="732"/>
                </a:lnTo>
                <a:lnTo>
                  <a:pt x="7206" y="738"/>
                </a:lnTo>
                <a:lnTo>
                  <a:pt x="7212" y="744"/>
                </a:lnTo>
                <a:lnTo>
                  <a:pt x="7218" y="756"/>
                </a:lnTo>
                <a:lnTo>
                  <a:pt x="7254" y="792"/>
                </a:lnTo>
                <a:lnTo>
                  <a:pt x="7248" y="792"/>
                </a:lnTo>
                <a:lnTo>
                  <a:pt x="7242" y="786"/>
                </a:lnTo>
                <a:lnTo>
                  <a:pt x="7230" y="780"/>
                </a:lnTo>
                <a:lnTo>
                  <a:pt x="7218" y="768"/>
                </a:lnTo>
                <a:lnTo>
                  <a:pt x="7206" y="762"/>
                </a:lnTo>
                <a:lnTo>
                  <a:pt x="7194" y="750"/>
                </a:lnTo>
                <a:lnTo>
                  <a:pt x="7176" y="744"/>
                </a:lnTo>
                <a:lnTo>
                  <a:pt x="7104" y="732"/>
                </a:lnTo>
                <a:lnTo>
                  <a:pt x="7086" y="732"/>
                </a:lnTo>
                <a:lnTo>
                  <a:pt x="7086" y="726"/>
                </a:lnTo>
                <a:lnTo>
                  <a:pt x="7056" y="696"/>
                </a:lnTo>
                <a:lnTo>
                  <a:pt x="7032" y="684"/>
                </a:lnTo>
                <a:lnTo>
                  <a:pt x="6990" y="666"/>
                </a:lnTo>
                <a:lnTo>
                  <a:pt x="6948" y="660"/>
                </a:lnTo>
                <a:lnTo>
                  <a:pt x="6912" y="654"/>
                </a:lnTo>
                <a:lnTo>
                  <a:pt x="6882" y="654"/>
                </a:lnTo>
                <a:lnTo>
                  <a:pt x="6864" y="648"/>
                </a:lnTo>
                <a:lnTo>
                  <a:pt x="6834" y="648"/>
                </a:lnTo>
                <a:lnTo>
                  <a:pt x="6786" y="636"/>
                </a:lnTo>
                <a:lnTo>
                  <a:pt x="6774" y="642"/>
                </a:lnTo>
                <a:lnTo>
                  <a:pt x="6714" y="642"/>
                </a:lnTo>
                <a:lnTo>
                  <a:pt x="6696" y="660"/>
                </a:lnTo>
                <a:lnTo>
                  <a:pt x="6684" y="666"/>
                </a:lnTo>
                <a:lnTo>
                  <a:pt x="6648" y="666"/>
                </a:lnTo>
                <a:lnTo>
                  <a:pt x="6630" y="660"/>
                </a:lnTo>
                <a:lnTo>
                  <a:pt x="6594" y="660"/>
                </a:lnTo>
                <a:lnTo>
                  <a:pt x="6582" y="654"/>
                </a:lnTo>
                <a:lnTo>
                  <a:pt x="6576" y="648"/>
                </a:lnTo>
                <a:lnTo>
                  <a:pt x="6552" y="636"/>
                </a:lnTo>
                <a:lnTo>
                  <a:pt x="6534" y="630"/>
                </a:lnTo>
                <a:lnTo>
                  <a:pt x="6522" y="624"/>
                </a:lnTo>
                <a:lnTo>
                  <a:pt x="6498" y="624"/>
                </a:lnTo>
                <a:lnTo>
                  <a:pt x="6486" y="630"/>
                </a:lnTo>
                <a:lnTo>
                  <a:pt x="6474" y="612"/>
                </a:lnTo>
                <a:lnTo>
                  <a:pt x="6438" y="612"/>
                </a:lnTo>
                <a:lnTo>
                  <a:pt x="6372" y="606"/>
                </a:lnTo>
                <a:lnTo>
                  <a:pt x="6408" y="594"/>
                </a:lnTo>
                <a:lnTo>
                  <a:pt x="6372" y="570"/>
                </a:lnTo>
                <a:lnTo>
                  <a:pt x="6360" y="570"/>
                </a:lnTo>
                <a:lnTo>
                  <a:pt x="6324" y="564"/>
                </a:lnTo>
                <a:lnTo>
                  <a:pt x="6282" y="558"/>
                </a:lnTo>
                <a:lnTo>
                  <a:pt x="6246" y="558"/>
                </a:lnTo>
                <a:lnTo>
                  <a:pt x="6228" y="564"/>
                </a:lnTo>
                <a:lnTo>
                  <a:pt x="6228" y="594"/>
                </a:lnTo>
                <a:lnTo>
                  <a:pt x="6222" y="600"/>
                </a:lnTo>
                <a:lnTo>
                  <a:pt x="6192" y="600"/>
                </a:lnTo>
                <a:lnTo>
                  <a:pt x="6180" y="594"/>
                </a:lnTo>
                <a:lnTo>
                  <a:pt x="6168" y="594"/>
                </a:lnTo>
                <a:lnTo>
                  <a:pt x="6186" y="582"/>
                </a:lnTo>
                <a:lnTo>
                  <a:pt x="6168" y="570"/>
                </a:lnTo>
                <a:lnTo>
                  <a:pt x="6096" y="570"/>
                </a:lnTo>
                <a:lnTo>
                  <a:pt x="6114" y="558"/>
                </a:lnTo>
                <a:lnTo>
                  <a:pt x="6156" y="558"/>
                </a:lnTo>
                <a:lnTo>
                  <a:pt x="6216" y="588"/>
                </a:lnTo>
                <a:lnTo>
                  <a:pt x="6216" y="564"/>
                </a:lnTo>
                <a:lnTo>
                  <a:pt x="6162" y="540"/>
                </a:lnTo>
                <a:lnTo>
                  <a:pt x="6048" y="546"/>
                </a:lnTo>
                <a:lnTo>
                  <a:pt x="6048" y="534"/>
                </a:lnTo>
                <a:lnTo>
                  <a:pt x="5928" y="540"/>
                </a:lnTo>
                <a:lnTo>
                  <a:pt x="5880" y="522"/>
                </a:lnTo>
                <a:lnTo>
                  <a:pt x="5862" y="522"/>
                </a:lnTo>
                <a:lnTo>
                  <a:pt x="5898" y="546"/>
                </a:lnTo>
                <a:lnTo>
                  <a:pt x="5850" y="546"/>
                </a:lnTo>
                <a:lnTo>
                  <a:pt x="5838" y="552"/>
                </a:lnTo>
                <a:lnTo>
                  <a:pt x="5832" y="552"/>
                </a:lnTo>
                <a:lnTo>
                  <a:pt x="5832" y="558"/>
                </a:lnTo>
                <a:lnTo>
                  <a:pt x="5844" y="564"/>
                </a:lnTo>
                <a:lnTo>
                  <a:pt x="5850" y="570"/>
                </a:lnTo>
                <a:lnTo>
                  <a:pt x="5862" y="576"/>
                </a:lnTo>
                <a:lnTo>
                  <a:pt x="5892" y="576"/>
                </a:lnTo>
                <a:lnTo>
                  <a:pt x="5892" y="582"/>
                </a:lnTo>
                <a:lnTo>
                  <a:pt x="5952" y="618"/>
                </a:lnTo>
                <a:lnTo>
                  <a:pt x="5904" y="618"/>
                </a:lnTo>
                <a:lnTo>
                  <a:pt x="5898" y="612"/>
                </a:lnTo>
                <a:lnTo>
                  <a:pt x="5886" y="606"/>
                </a:lnTo>
                <a:lnTo>
                  <a:pt x="5874" y="606"/>
                </a:lnTo>
                <a:lnTo>
                  <a:pt x="5862" y="600"/>
                </a:lnTo>
                <a:lnTo>
                  <a:pt x="5844" y="618"/>
                </a:lnTo>
                <a:lnTo>
                  <a:pt x="5868" y="636"/>
                </a:lnTo>
                <a:lnTo>
                  <a:pt x="5814" y="630"/>
                </a:lnTo>
                <a:lnTo>
                  <a:pt x="5808" y="630"/>
                </a:lnTo>
                <a:lnTo>
                  <a:pt x="5802" y="624"/>
                </a:lnTo>
                <a:lnTo>
                  <a:pt x="5784" y="618"/>
                </a:lnTo>
                <a:lnTo>
                  <a:pt x="5766" y="618"/>
                </a:lnTo>
                <a:lnTo>
                  <a:pt x="5754" y="612"/>
                </a:lnTo>
                <a:lnTo>
                  <a:pt x="5736" y="606"/>
                </a:lnTo>
                <a:lnTo>
                  <a:pt x="5724" y="606"/>
                </a:lnTo>
                <a:lnTo>
                  <a:pt x="5712" y="612"/>
                </a:lnTo>
                <a:lnTo>
                  <a:pt x="5700" y="612"/>
                </a:lnTo>
                <a:lnTo>
                  <a:pt x="5688" y="618"/>
                </a:lnTo>
                <a:lnTo>
                  <a:pt x="5682" y="624"/>
                </a:lnTo>
                <a:lnTo>
                  <a:pt x="5676" y="624"/>
                </a:lnTo>
                <a:lnTo>
                  <a:pt x="5610" y="618"/>
                </a:lnTo>
                <a:lnTo>
                  <a:pt x="5604" y="618"/>
                </a:lnTo>
                <a:lnTo>
                  <a:pt x="5598" y="612"/>
                </a:lnTo>
                <a:lnTo>
                  <a:pt x="5562" y="594"/>
                </a:lnTo>
                <a:lnTo>
                  <a:pt x="5556" y="594"/>
                </a:lnTo>
                <a:lnTo>
                  <a:pt x="5550" y="588"/>
                </a:lnTo>
                <a:lnTo>
                  <a:pt x="5538" y="588"/>
                </a:lnTo>
                <a:lnTo>
                  <a:pt x="5538" y="606"/>
                </a:lnTo>
                <a:lnTo>
                  <a:pt x="5544" y="612"/>
                </a:lnTo>
                <a:lnTo>
                  <a:pt x="5550" y="624"/>
                </a:lnTo>
                <a:lnTo>
                  <a:pt x="5556" y="630"/>
                </a:lnTo>
                <a:lnTo>
                  <a:pt x="5562" y="642"/>
                </a:lnTo>
                <a:lnTo>
                  <a:pt x="5562" y="660"/>
                </a:lnTo>
                <a:lnTo>
                  <a:pt x="5556" y="666"/>
                </a:lnTo>
                <a:lnTo>
                  <a:pt x="5532" y="660"/>
                </a:lnTo>
                <a:lnTo>
                  <a:pt x="5424" y="624"/>
                </a:lnTo>
                <a:lnTo>
                  <a:pt x="5412" y="618"/>
                </a:lnTo>
                <a:lnTo>
                  <a:pt x="5406" y="618"/>
                </a:lnTo>
                <a:lnTo>
                  <a:pt x="5400" y="612"/>
                </a:lnTo>
                <a:lnTo>
                  <a:pt x="5394" y="600"/>
                </a:lnTo>
                <a:lnTo>
                  <a:pt x="5382" y="594"/>
                </a:lnTo>
                <a:lnTo>
                  <a:pt x="5376" y="588"/>
                </a:lnTo>
                <a:lnTo>
                  <a:pt x="5376" y="606"/>
                </a:lnTo>
                <a:lnTo>
                  <a:pt x="5322" y="588"/>
                </a:lnTo>
                <a:lnTo>
                  <a:pt x="5292" y="570"/>
                </a:lnTo>
                <a:lnTo>
                  <a:pt x="5298" y="570"/>
                </a:lnTo>
                <a:lnTo>
                  <a:pt x="5304" y="576"/>
                </a:lnTo>
                <a:lnTo>
                  <a:pt x="5328" y="576"/>
                </a:lnTo>
                <a:lnTo>
                  <a:pt x="5340" y="582"/>
                </a:lnTo>
                <a:lnTo>
                  <a:pt x="5352" y="582"/>
                </a:lnTo>
                <a:lnTo>
                  <a:pt x="5358" y="576"/>
                </a:lnTo>
                <a:lnTo>
                  <a:pt x="5358" y="570"/>
                </a:lnTo>
                <a:lnTo>
                  <a:pt x="5346" y="564"/>
                </a:lnTo>
                <a:lnTo>
                  <a:pt x="5334" y="552"/>
                </a:lnTo>
                <a:lnTo>
                  <a:pt x="5292" y="552"/>
                </a:lnTo>
                <a:lnTo>
                  <a:pt x="5304" y="540"/>
                </a:lnTo>
                <a:lnTo>
                  <a:pt x="5298" y="534"/>
                </a:lnTo>
                <a:lnTo>
                  <a:pt x="5286" y="528"/>
                </a:lnTo>
                <a:lnTo>
                  <a:pt x="5256" y="528"/>
                </a:lnTo>
                <a:lnTo>
                  <a:pt x="5268" y="510"/>
                </a:lnTo>
                <a:lnTo>
                  <a:pt x="5262" y="510"/>
                </a:lnTo>
                <a:lnTo>
                  <a:pt x="5256" y="504"/>
                </a:lnTo>
                <a:lnTo>
                  <a:pt x="5232" y="504"/>
                </a:lnTo>
                <a:lnTo>
                  <a:pt x="5220" y="498"/>
                </a:lnTo>
                <a:lnTo>
                  <a:pt x="5208" y="498"/>
                </a:lnTo>
                <a:lnTo>
                  <a:pt x="5202" y="492"/>
                </a:lnTo>
                <a:lnTo>
                  <a:pt x="5190" y="492"/>
                </a:lnTo>
                <a:lnTo>
                  <a:pt x="5184" y="486"/>
                </a:lnTo>
                <a:lnTo>
                  <a:pt x="5142" y="486"/>
                </a:lnTo>
                <a:lnTo>
                  <a:pt x="5130" y="492"/>
                </a:lnTo>
                <a:lnTo>
                  <a:pt x="5094" y="492"/>
                </a:lnTo>
                <a:lnTo>
                  <a:pt x="5076" y="486"/>
                </a:lnTo>
                <a:lnTo>
                  <a:pt x="5070" y="480"/>
                </a:lnTo>
                <a:lnTo>
                  <a:pt x="5064" y="480"/>
                </a:lnTo>
                <a:lnTo>
                  <a:pt x="5040" y="486"/>
                </a:lnTo>
                <a:lnTo>
                  <a:pt x="5040" y="474"/>
                </a:lnTo>
                <a:lnTo>
                  <a:pt x="4992" y="468"/>
                </a:lnTo>
                <a:lnTo>
                  <a:pt x="4980" y="456"/>
                </a:lnTo>
                <a:lnTo>
                  <a:pt x="4974" y="474"/>
                </a:lnTo>
                <a:lnTo>
                  <a:pt x="4956" y="480"/>
                </a:lnTo>
                <a:lnTo>
                  <a:pt x="4986" y="498"/>
                </a:lnTo>
                <a:lnTo>
                  <a:pt x="5010" y="528"/>
                </a:lnTo>
                <a:lnTo>
                  <a:pt x="4962" y="522"/>
                </a:lnTo>
                <a:lnTo>
                  <a:pt x="4956" y="516"/>
                </a:lnTo>
                <a:lnTo>
                  <a:pt x="4890" y="522"/>
                </a:lnTo>
                <a:lnTo>
                  <a:pt x="4872" y="528"/>
                </a:lnTo>
                <a:lnTo>
                  <a:pt x="4872" y="516"/>
                </a:lnTo>
                <a:lnTo>
                  <a:pt x="4824" y="522"/>
                </a:lnTo>
                <a:lnTo>
                  <a:pt x="4818" y="510"/>
                </a:lnTo>
                <a:lnTo>
                  <a:pt x="4764" y="510"/>
                </a:lnTo>
                <a:lnTo>
                  <a:pt x="4728" y="504"/>
                </a:lnTo>
                <a:lnTo>
                  <a:pt x="4746" y="480"/>
                </a:lnTo>
                <a:lnTo>
                  <a:pt x="4620" y="480"/>
                </a:lnTo>
                <a:lnTo>
                  <a:pt x="4608" y="468"/>
                </a:lnTo>
                <a:lnTo>
                  <a:pt x="4602" y="474"/>
                </a:lnTo>
                <a:lnTo>
                  <a:pt x="4590" y="468"/>
                </a:lnTo>
                <a:lnTo>
                  <a:pt x="4542" y="474"/>
                </a:lnTo>
                <a:lnTo>
                  <a:pt x="4548" y="486"/>
                </a:lnTo>
                <a:lnTo>
                  <a:pt x="4488" y="480"/>
                </a:lnTo>
                <a:lnTo>
                  <a:pt x="4476" y="486"/>
                </a:lnTo>
                <a:lnTo>
                  <a:pt x="4506" y="498"/>
                </a:lnTo>
                <a:lnTo>
                  <a:pt x="4464" y="492"/>
                </a:lnTo>
                <a:lnTo>
                  <a:pt x="4464" y="474"/>
                </a:lnTo>
                <a:lnTo>
                  <a:pt x="4434" y="456"/>
                </a:lnTo>
                <a:lnTo>
                  <a:pt x="4416" y="456"/>
                </a:lnTo>
                <a:lnTo>
                  <a:pt x="4428" y="474"/>
                </a:lnTo>
                <a:lnTo>
                  <a:pt x="4374" y="474"/>
                </a:lnTo>
                <a:lnTo>
                  <a:pt x="4368" y="468"/>
                </a:lnTo>
                <a:lnTo>
                  <a:pt x="4356" y="468"/>
                </a:lnTo>
                <a:lnTo>
                  <a:pt x="4350" y="456"/>
                </a:lnTo>
                <a:lnTo>
                  <a:pt x="4320" y="456"/>
                </a:lnTo>
                <a:lnTo>
                  <a:pt x="4296" y="444"/>
                </a:lnTo>
                <a:lnTo>
                  <a:pt x="4266" y="468"/>
                </a:lnTo>
                <a:lnTo>
                  <a:pt x="4320" y="474"/>
                </a:lnTo>
                <a:lnTo>
                  <a:pt x="4332" y="474"/>
                </a:lnTo>
                <a:lnTo>
                  <a:pt x="4326" y="480"/>
                </a:lnTo>
                <a:lnTo>
                  <a:pt x="4314" y="486"/>
                </a:lnTo>
                <a:lnTo>
                  <a:pt x="4308" y="492"/>
                </a:lnTo>
                <a:lnTo>
                  <a:pt x="4272" y="492"/>
                </a:lnTo>
                <a:lnTo>
                  <a:pt x="4266" y="498"/>
                </a:lnTo>
                <a:lnTo>
                  <a:pt x="4254" y="504"/>
                </a:lnTo>
                <a:lnTo>
                  <a:pt x="4182" y="504"/>
                </a:lnTo>
                <a:lnTo>
                  <a:pt x="4146" y="510"/>
                </a:lnTo>
                <a:lnTo>
                  <a:pt x="4134" y="534"/>
                </a:lnTo>
                <a:lnTo>
                  <a:pt x="4110" y="528"/>
                </a:lnTo>
                <a:lnTo>
                  <a:pt x="4110" y="516"/>
                </a:lnTo>
                <a:lnTo>
                  <a:pt x="4116" y="504"/>
                </a:lnTo>
                <a:lnTo>
                  <a:pt x="4122" y="498"/>
                </a:lnTo>
                <a:lnTo>
                  <a:pt x="4134" y="492"/>
                </a:lnTo>
                <a:lnTo>
                  <a:pt x="4152" y="492"/>
                </a:lnTo>
                <a:lnTo>
                  <a:pt x="4164" y="480"/>
                </a:lnTo>
                <a:lnTo>
                  <a:pt x="4206" y="474"/>
                </a:lnTo>
                <a:lnTo>
                  <a:pt x="4248" y="438"/>
                </a:lnTo>
                <a:lnTo>
                  <a:pt x="4248" y="426"/>
                </a:lnTo>
                <a:lnTo>
                  <a:pt x="4254" y="420"/>
                </a:lnTo>
                <a:lnTo>
                  <a:pt x="4266" y="414"/>
                </a:lnTo>
                <a:lnTo>
                  <a:pt x="4278" y="414"/>
                </a:lnTo>
                <a:lnTo>
                  <a:pt x="4290" y="408"/>
                </a:lnTo>
                <a:lnTo>
                  <a:pt x="4302" y="408"/>
                </a:lnTo>
                <a:lnTo>
                  <a:pt x="4320" y="402"/>
                </a:lnTo>
                <a:lnTo>
                  <a:pt x="4332" y="402"/>
                </a:lnTo>
                <a:lnTo>
                  <a:pt x="4344" y="396"/>
                </a:lnTo>
                <a:lnTo>
                  <a:pt x="4350" y="390"/>
                </a:lnTo>
                <a:lnTo>
                  <a:pt x="4356" y="378"/>
                </a:lnTo>
                <a:lnTo>
                  <a:pt x="4350" y="366"/>
                </a:lnTo>
                <a:lnTo>
                  <a:pt x="4344" y="360"/>
                </a:lnTo>
                <a:lnTo>
                  <a:pt x="4332" y="354"/>
                </a:lnTo>
                <a:lnTo>
                  <a:pt x="4326" y="348"/>
                </a:lnTo>
                <a:lnTo>
                  <a:pt x="4290" y="348"/>
                </a:lnTo>
                <a:lnTo>
                  <a:pt x="4320" y="336"/>
                </a:lnTo>
                <a:lnTo>
                  <a:pt x="4314" y="330"/>
                </a:lnTo>
                <a:lnTo>
                  <a:pt x="4302" y="324"/>
                </a:lnTo>
                <a:lnTo>
                  <a:pt x="4290" y="312"/>
                </a:lnTo>
                <a:lnTo>
                  <a:pt x="4284" y="312"/>
                </a:lnTo>
                <a:lnTo>
                  <a:pt x="4278" y="318"/>
                </a:lnTo>
                <a:lnTo>
                  <a:pt x="4254" y="318"/>
                </a:lnTo>
                <a:lnTo>
                  <a:pt x="4248" y="312"/>
                </a:lnTo>
                <a:lnTo>
                  <a:pt x="4242" y="300"/>
                </a:lnTo>
                <a:lnTo>
                  <a:pt x="4236" y="294"/>
                </a:lnTo>
                <a:lnTo>
                  <a:pt x="4194" y="294"/>
                </a:lnTo>
                <a:lnTo>
                  <a:pt x="4188" y="300"/>
                </a:lnTo>
                <a:lnTo>
                  <a:pt x="4182" y="300"/>
                </a:lnTo>
                <a:lnTo>
                  <a:pt x="4128" y="288"/>
                </a:lnTo>
                <a:lnTo>
                  <a:pt x="3990" y="282"/>
                </a:lnTo>
                <a:lnTo>
                  <a:pt x="3990" y="300"/>
                </a:lnTo>
                <a:lnTo>
                  <a:pt x="3924" y="300"/>
                </a:lnTo>
                <a:lnTo>
                  <a:pt x="3942" y="282"/>
                </a:lnTo>
                <a:lnTo>
                  <a:pt x="3942" y="276"/>
                </a:lnTo>
                <a:lnTo>
                  <a:pt x="3936" y="270"/>
                </a:lnTo>
                <a:lnTo>
                  <a:pt x="3912" y="264"/>
                </a:lnTo>
                <a:lnTo>
                  <a:pt x="3882" y="264"/>
                </a:lnTo>
                <a:lnTo>
                  <a:pt x="3852" y="270"/>
                </a:lnTo>
                <a:lnTo>
                  <a:pt x="3840" y="270"/>
                </a:lnTo>
                <a:lnTo>
                  <a:pt x="3780" y="264"/>
                </a:lnTo>
                <a:lnTo>
                  <a:pt x="3792" y="264"/>
                </a:lnTo>
                <a:lnTo>
                  <a:pt x="3810" y="258"/>
                </a:lnTo>
                <a:lnTo>
                  <a:pt x="3822" y="258"/>
                </a:lnTo>
                <a:lnTo>
                  <a:pt x="3834" y="252"/>
                </a:lnTo>
                <a:lnTo>
                  <a:pt x="3840" y="252"/>
                </a:lnTo>
                <a:lnTo>
                  <a:pt x="3840" y="246"/>
                </a:lnTo>
                <a:lnTo>
                  <a:pt x="3834" y="240"/>
                </a:lnTo>
                <a:lnTo>
                  <a:pt x="3822" y="240"/>
                </a:lnTo>
                <a:lnTo>
                  <a:pt x="3804" y="234"/>
                </a:lnTo>
                <a:lnTo>
                  <a:pt x="3762" y="234"/>
                </a:lnTo>
                <a:lnTo>
                  <a:pt x="3720" y="228"/>
                </a:lnTo>
                <a:lnTo>
                  <a:pt x="3714" y="240"/>
                </a:lnTo>
                <a:lnTo>
                  <a:pt x="3684" y="240"/>
                </a:lnTo>
                <a:lnTo>
                  <a:pt x="3672" y="246"/>
                </a:lnTo>
                <a:lnTo>
                  <a:pt x="3660" y="246"/>
                </a:lnTo>
                <a:lnTo>
                  <a:pt x="3648" y="252"/>
                </a:lnTo>
                <a:lnTo>
                  <a:pt x="3648" y="258"/>
                </a:lnTo>
                <a:lnTo>
                  <a:pt x="3654" y="270"/>
                </a:lnTo>
                <a:lnTo>
                  <a:pt x="3678" y="282"/>
                </a:lnTo>
                <a:lnTo>
                  <a:pt x="3696" y="294"/>
                </a:lnTo>
                <a:lnTo>
                  <a:pt x="3708" y="294"/>
                </a:lnTo>
                <a:lnTo>
                  <a:pt x="3714" y="300"/>
                </a:lnTo>
                <a:lnTo>
                  <a:pt x="3720" y="300"/>
                </a:lnTo>
                <a:lnTo>
                  <a:pt x="3576" y="294"/>
                </a:lnTo>
                <a:lnTo>
                  <a:pt x="3630" y="312"/>
                </a:lnTo>
                <a:lnTo>
                  <a:pt x="3576" y="324"/>
                </a:lnTo>
                <a:lnTo>
                  <a:pt x="3564" y="330"/>
                </a:lnTo>
                <a:lnTo>
                  <a:pt x="3534" y="336"/>
                </a:lnTo>
                <a:lnTo>
                  <a:pt x="3498" y="342"/>
                </a:lnTo>
                <a:lnTo>
                  <a:pt x="3474" y="342"/>
                </a:lnTo>
                <a:lnTo>
                  <a:pt x="3468" y="336"/>
                </a:lnTo>
                <a:lnTo>
                  <a:pt x="3474" y="324"/>
                </a:lnTo>
                <a:lnTo>
                  <a:pt x="3486" y="312"/>
                </a:lnTo>
                <a:lnTo>
                  <a:pt x="3420" y="312"/>
                </a:lnTo>
                <a:lnTo>
                  <a:pt x="3408" y="318"/>
                </a:lnTo>
                <a:lnTo>
                  <a:pt x="3390" y="318"/>
                </a:lnTo>
                <a:lnTo>
                  <a:pt x="3378" y="324"/>
                </a:lnTo>
                <a:lnTo>
                  <a:pt x="3366" y="336"/>
                </a:lnTo>
                <a:lnTo>
                  <a:pt x="3348" y="336"/>
                </a:lnTo>
                <a:lnTo>
                  <a:pt x="3318" y="342"/>
                </a:lnTo>
                <a:lnTo>
                  <a:pt x="3276" y="342"/>
                </a:lnTo>
                <a:lnTo>
                  <a:pt x="3246" y="348"/>
                </a:lnTo>
                <a:lnTo>
                  <a:pt x="3234" y="354"/>
                </a:lnTo>
                <a:lnTo>
                  <a:pt x="3216" y="354"/>
                </a:lnTo>
                <a:lnTo>
                  <a:pt x="3204" y="360"/>
                </a:lnTo>
                <a:lnTo>
                  <a:pt x="3186" y="360"/>
                </a:lnTo>
                <a:lnTo>
                  <a:pt x="3180" y="366"/>
                </a:lnTo>
                <a:lnTo>
                  <a:pt x="3174" y="366"/>
                </a:lnTo>
                <a:lnTo>
                  <a:pt x="3132" y="396"/>
                </a:lnTo>
                <a:lnTo>
                  <a:pt x="3114" y="396"/>
                </a:lnTo>
                <a:lnTo>
                  <a:pt x="3108" y="402"/>
                </a:lnTo>
                <a:lnTo>
                  <a:pt x="3102" y="402"/>
                </a:lnTo>
                <a:lnTo>
                  <a:pt x="3096" y="408"/>
                </a:lnTo>
                <a:lnTo>
                  <a:pt x="3102" y="414"/>
                </a:lnTo>
                <a:lnTo>
                  <a:pt x="3120" y="426"/>
                </a:lnTo>
                <a:lnTo>
                  <a:pt x="3132" y="438"/>
                </a:lnTo>
                <a:lnTo>
                  <a:pt x="3150" y="444"/>
                </a:lnTo>
                <a:lnTo>
                  <a:pt x="3156" y="450"/>
                </a:lnTo>
                <a:lnTo>
                  <a:pt x="3162" y="450"/>
                </a:lnTo>
                <a:lnTo>
                  <a:pt x="3120" y="462"/>
                </a:lnTo>
                <a:lnTo>
                  <a:pt x="3096" y="474"/>
                </a:lnTo>
                <a:lnTo>
                  <a:pt x="2994" y="474"/>
                </a:lnTo>
                <a:lnTo>
                  <a:pt x="2988" y="480"/>
                </a:lnTo>
                <a:lnTo>
                  <a:pt x="2952" y="468"/>
                </a:lnTo>
                <a:lnTo>
                  <a:pt x="2934" y="474"/>
                </a:lnTo>
                <a:lnTo>
                  <a:pt x="2880" y="474"/>
                </a:lnTo>
                <a:lnTo>
                  <a:pt x="2874" y="480"/>
                </a:lnTo>
                <a:lnTo>
                  <a:pt x="2874" y="498"/>
                </a:lnTo>
                <a:lnTo>
                  <a:pt x="2880" y="510"/>
                </a:lnTo>
                <a:lnTo>
                  <a:pt x="2892" y="522"/>
                </a:lnTo>
                <a:lnTo>
                  <a:pt x="2898" y="522"/>
                </a:lnTo>
                <a:lnTo>
                  <a:pt x="2904" y="528"/>
                </a:lnTo>
                <a:lnTo>
                  <a:pt x="2910" y="540"/>
                </a:lnTo>
                <a:lnTo>
                  <a:pt x="2916" y="546"/>
                </a:lnTo>
                <a:lnTo>
                  <a:pt x="2922" y="546"/>
                </a:lnTo>
                <a:lnTo>
                  <a:pt x="2928" y="552"/>
                </a:lnTo>
                <a:lnTo>
                  <a:pt x="2940" y="552"/>
                </a:lnTo>
                <a:lnTo>
                  <a:pt x="2952" y="558"/>
                </a:lnTo>
                <a:lnTo>
                  <a:pt x="2964" y="558"/>
                </a:lnTo>
                <a:lnTo>
                  <a:pt x="2976" y="564"/>
                </a:lnTo>
                <a:lnTo>
                  <a:pt x="2994" y="564"/>
                </a:lnTo>
                <a:lnTo>
                  <a:pt x="3012" y="570"/>
                </a:lnTo>
                <a:lnTo>
                  <a:pt x="3024" y="570"/>
                </a:lnTo>
                <a:lnTo>
                  <a:pt x="3036" y="576"/>
                </a:lnTo>
                <a:lnTo>
                  <a:pt x="3042" y="576"/>
                </a:lnTo>
                <a:lnTo>
                  <a:pt x="3054" y="588"/>
                </a:lnTo>
                <a:lnTo>
                  <a:pt x="3054" y="594"/>
                </a:lnTo>
                <a:lnTo>
                  <a:pt x="3060" y="600"/>
                </a:lnTo>
                <a:lnTo>
                  <a:pt x="3030" y="600"/>
                </a:lnTo>
                <a:lnTo>
                  <a:pt x="3012" y="606"/>
                </a:lnTo>
                <a:lnTo>
                  <a:pt x="3000" y="606"/>
                </a:lnTo>
                <a:lnTo>
                  <a:pt x="2964" y="588"/>
                </a:lnTo>
                <a:lnTo>
                  <a:pt x="2928" y="576"/>
                </a:lnTo>
                <a:lnTo>
                  <a:pt x="2904" y="570"/>
                </a:lnTo>
                <a:lnTo>
                  <a:pt x="2886" y="564"/>
                </a:lnTo>
                <a:lnTo>
                  <a:pt x="2862" y="564"/>
                </a:lnTo>
                <a:lnTo>
                  <a:pt x="2844" y="558"/>
                </a:lnTo>
                <a:lnTo>
                  <a:pt x="2802" y="558"/>
                </a:lnTo>
                <a:lnTo>
                  <a:pt x="2796" y="564"/>
                </a:lnTo>
                <a:lnTo>
                  <a:pt x="2796" y="576"/>
                </a:lnTo>
                <a:lnTo>
                  <a:pt x="2802" y="582"/>
                </a:lnTo>
                <a:lnTo>
                  <a:pt x="2808" y="582"/>
                </a:lnTo>
                <a:lnTo>
                  <a:pt x="2820" y="594"/>
                </a:lnTo>
                <a:lnTo>
                  <a:pt x="2784" y="594"/>
                </a:lnTo>
                <a:lnTo>
                  <a:pt x="2772" y="582"/>
                </a:lnTo>
                <a:lnTo>
                  <a:pt x="2754" y="582"/>
                </a:lnTo>
                <a:lnTo>
                  <a:pt x="2748" y="576"/>
                </a:lnTo>
                <a:lnTo>
                  <a:pt x="2724" y="576"/>
                </a:lnTo>
                <a:lnTo>
                  <a:pt x="2724" y="582"/>
                </a:lnTo>
                <a:lnTo>
                  <a:pt x="2730" y="600"/>
                </a:lnTo>
                <a:lnTo>
                  <a:pt x="2736" y="612"/>
                </a:lnTo>
                <a:lnTo>
                  <a:pt x="2748" y="618"/>
                </a:lnTo>
                <a:lnTo>
                  <a:pt x="2766" y="624"/>
                </a:lnTo>
                <a:lnTo>
                  <a:pt x="2802" y="624"/>
                </a:lnTo>
                <a:lnTo>
                  <a:pt x="2820" y="630"/>
                </a:lnTo>
                <a:lnTo>
                  <a:pt x="2844" y="630"/>
                </a:lnTo>
                <a:lnTo>
                  <a:pt x="2856" y="636"/>
                </a:lnTo>
                <a:lnTo>
                  <a:pt x="2862" y="648"/>
                </a:lnTo>
                <a:lnTo>
                  <a:pt x="2874" y="654"/>
                </a:lnTo>
                <a:lnTo>
                  <a:pt x="2844" y="654"/>
                </a:lnTo>
                <a:lnTo>
                  <a:pt x="2838" y="648"/>
                </a:lnTo>
                <a:lnTo>
                  <a:pt x="2826" y="642"/>
                </a:lnTo>
                <a:lnTo>
                  <a:pt x="2772" y="642"/>
                </a:lnTo>
                <a:lnTo>
                  <a:pt x="2760" y="636"/>
                </a:lnTo>
                <a:lnTo>
                  <a:pt x="2730" y="636"/>
                </a:lnTo>
                <a:lnTo>
                  <a:pt x="2724" y="624"/>
                </a:lnTo>
                <a:lnTo>
                  <a:pt x="2700" y="624"/>
                </a:lnTo>
                <a:lnTo>
                  <a:pt x="2694" y="606"/>
                </a:lnTo>
                <a:lnTo>
                  <a:pt x="2664" y="594"/>
                </a:lnTo>
                <a:lnTo>
                  <a:pt x="2670" y="588"/>
                </a:lnTo>
                <a:lnTo>
                  <a:pt x="2682" y="582"/>
                </a:lnTo>
                <a:lnTo>
                  <a:pt x="2688" y="576"/>
                </a:lnTo>
                <a:lnTo>
                  <a:pt x="2688" y="564"/>
                </a:lnTo>
                <a:lnTo>
                  <a:pt x="2658" y="534"/>
                </a:lnTo>
                <a:lnTo>
                  <a:pt x="2646" y="528"/>
                </a:lnTo>
                <a:lnTo>
                  <a:pt x="2616" y="528"/>
                </a:lnTo>
                <a:lnTo>
                  <a:pt x="2628" y="534"/>
                </a:lnTo>
                <a:lnTo>
                  <a:pt x="2652" y="558"/>
                </a:lnTo>
                <a:lnTo>
                  <a:pt x="2640" y="570"/>
                </a:lnTo>
                <a:lnTo>
                  <a:pt x="2616" y="582"/>
                </a:lnTo>
                <a:lnTo>
                  <a:pt x="2604" y="582"/>
                </a:lnTo>
                <a:lnTo>
                  <a:pt x="2586" y="624"/>
                </a:lnTo>
                <a:lnTo>
                  <a:pt x="2658" y="660"/>
                </a:lnTo>
                <a:lnTo>
                  <a:pt x="2676" y="660"/>
                </a:lnTo>
                <a:lnTo>
                  <a:pt x="2676" y="696"/>
                </a:lnTo>
                <a:lnTo>
                  <a:pt x="2670" y="708"/>
                </a:lnTo>
                <a:lnTo>
                  <a:pt x="2670" y="720"/>
                </a:lnTo>
                <a:lnTo>
                  <a:pt x="2676" y="738"/>
                </a:lnTo>
                <a:lnTo>
                  <a:pt x="2712" y="744"/>
                </a:lnTo>
                <a:lnTo>
                  <a:pt x="2712" y="768"/>
                </a:lnTo>
                <a:lnTo>
                  <a:pt x="2772" y="780"/>
                </a:lnTo>
                <a:lnTo>
                  <a:pt x="2778" y="780"/>
                </a:lnTo>
                <a:lnTo>
                  <a:pt x="2784" y="774"/>
                </a:lnTo>
                <a:lnTo>
                  <a:pt x="2796" y="774"/>
                </a:lnTo>
                <a:lnTo>
                  <a:pt x="2814" y="768"/>
                </a:lnTo>
                <a:lnTo>
                  <a:pt x="2850" y="768"/>
                </a:lnTo>
                <a:lnTo>
                  <a:pt x="2868" y="774"/>
                </a:lnTo>
                <a:lnTo>
                  <a:pt x="2874" y="780"/>
                </a:lnTo>
                <a:lnTo>
                  <a:pt x="2886" y="786"/>
                </a:lnTo>
                <a:lnTo>
                  <a:pt x="2904" y="786"/>
                </a:lnTo>
                <a:lnTo>
                  <a:pt x="2916" y="792"/>
                </a:lnTo>
                <a:lnTo>
                  <a:pt x="2952" y="804"/>
                </a:lnTo>
                <a:lnTo>
                  <a:pt x="2976" y="828"/>
                </a:lnTo>
                <a:lnTo>
                  <a:pt x="2976" y="834"/>
                </a:lnTo>
                <a:lnTo>
                  <a:pt x="2964" y="834"/>
                </a:lnTo>
                <a:lnTo>
                  <a:pt x="2958" y="840"/>
                </a:lnTo>
                <a:lnTo>
                  <a:pt x="2946" y="840"/>
                </a:lnTo>
                <a:lnTo>
                  <a:pt x="2940" y="846"/>
                </a:lnTo>
                <a:lnTo>
                  <a:pt x="2946" y="852"/>
                </a:lnTo>
                <a:lnTo>
                  <a:pt x="2958" y="858"/>
                </a:lnTo>
                <a:lnTo>
                  <a:pt x="2976" y="876"/>
                </a:lnTo>
                <a:lnTo>
                  <a:pt x="3024" y="876"/>
                </a:lnTo>
                <a:lnTo>
                  <a:pt x="3012" y="882"/>
                </a:lnTo>
                <a:lnTo>
                  <a:pt x="3006" y="882"/>
                </a:lnTo>
                <a:lnTo>
                  <a:pt x="2994" y="888"/>
                </a:lnTo>
                <a:lnTo>
                  <a:pt x="2970" y="888"/>
                </a:lnTo>
                <a:lnTo>
                  <a:pt x="2958" y="882"/>
                </a:lnTo>
                <a:lnTo>
                  <a:pt x="2952" y="876"/>
                </a:lnTo>
                <a:lnTo>
                  <a:pt x="2940" y="870"/>
                </a:lnTo>
                <a:lnTo>
                  <a:pt x="2940" y="858"/>
                </a:lnTo>
                <a:lnTo>
                  <a:pt x="2928" y="834"/>
                </a:lnTo>
                <a:lnTo>
                  <a:pt x="2916" y="822"/>
                </a:lnTo>
                <a:lnTo>
                  <a:pt x="2892" y="810"/>
                </a:lnTo>
                <a:lnTo>
                  <a:pt x="2886" y="804"/>
                </a:lnTo>
                <a:lnTo>
                  <a:pt x="2880" y="804"/>
                </a:lnTo>
                <a:lnTo>
                  <a:pt x="2874" y="798"/>
                </a:lnTo>
                <a:lnTo>
                  <a:pt x="2874" y="786"/>
                </a:lnTo>
                <a:lnTo>
                  <a:pt x="2868" y="780"/>
                </a:lnTo>
                <a:lnTo>
                  <a:pt x="2844" y="780"/>
                </a:lnTo>
                <a:lnTo>
                  <a:pt x="2832" y="786"/>
                </a:lnTo>
                <a:lnTo>
                  <a:pt x="2814" y="786"/>
                </a:lnTo>
                <a:lnTo>
                  <a:pt x="2802" y="792"/>
                </a:lnTo>
                <a:lnTo>
                  <a:pt x="2778" y="792"/>
                </a:lnTo>
                <a:lnTo>
                  <a:pt x="2760" y="810"/>
                </a:lnTo>
                <a:lnTo>
                  <a:pt x="2766" y="816"/>
                </a:lnTo>
                <a:lnTo>
                  <a:pt x="2772" y="828"/>
                </a:lnTo>
                <a:lnTo>
                  <a:pt x="2784" y="834"/>
                </a:lnTo>
                <a:lnTo>
                  <a:pt x="2802" y="852"/>
                </a:lnTo>
                <a:lnTo>
                  <a:pt x="2814" y="858"/>
                </a:lnTo>
                <a:lnTo>
                  <a:pt x="2814" y="864"/>
                </a:lnTo>
                <a:lnTo>
                  <a:pt x="2790" y="888"/>
                </a:lnTo>
                <a:lnTo>
                  <a:pt x="2784" y="888"/>
                </a:lnTo>
                <a:lnTo>
                  <a:pt x="2778" y="930"/>
                </a:lnTo>
                <a:lnTo>
                  <a:pt x="2736" y="948"/>
                </a:lnTo>
                <a:lnTo>
                  <a:pt x="2736" y="954"/>
                </a:lnTo>
                <a:lnTo>
                  <a:pt x="2730" y="966"/>
                </a:lnTo>
                <a:lnTo>
                  <a:pt x="2724" y="972"/>
                </a:lnTo>
                <a:lnTo>
                  <a:pt x="2694" y="972"/>
                </a:lnTo>
                <a:lnTo>
                  <a:pt x="2682" y="966"/>
                </a:lnTo>
                <a:lnTo>
                  <a:pt x="2652" y="966"/>
                </a:lnTo>
                <a:lnTo>
                  <a:pt x="2592" y="960"/>
                </a:lnTo>
                <a:lnTo>
                  <a:pt x="2586" y="960"/>
                </a:lnTo>
                <a:lnTo>
                  <a:pt x="2580" y="954"/>
                </a:lnTo>
                <a:lnTo>
                  <a:pt x="2568" y="948"/>
                </a:lnTo>
                <a:lnTo>
                  <a:pt x="2556" y="948"/>
                </a:lnTo>
                <a:lnTo>
                  <a:pt x="2544" y="936"/>
                </a:lnTo>
                <a:lnTo>
                  <a:pt x="2598" y="936"/>
                </a:lnTo>
                <a:lnTo>
                  <a:pt x="2616" y="942"/>
                </a:lnTo>
                <a:lnTo>
                  <a:pt x="2640" y="924"/>
                </a:lnTo>
                <a:lnTo>
                  <a:pt x="2652" y="924"/>
                </a:lnTo>
                <a:lnTo>
                  <a:pt x="2664" y="930"/>
                </a:lnTo>
                <a:lnTo>
                  <a:pt x="2682" y="930"/>
                </a:lnTo>
                <a:lnTo>
                  <a:pt x="2694" y="924"/>
                </a:lnTo>
                <a:lnTo>
                  <a:pt x="2694" y="906"/>
                </a:lnTo>
                <a:lnTo>
                  <a:pt x="2700" y="894"/>
                </a:lnTo>
                <a:lnTo>
                  <a:pt x="2700" y="882"/>
                </a:lnTo>
                <a:lnTo>
                  <a:pt x="2724" y="876"/>
                </a:lnTo>
                <a:lnTo>
                  <a:pt x="2724" y="852"/>
                </a:lnTo>
                <a:lnTo>
                  <a:pt x="2712" y="852"/>
                </a:lnTo>
                <a:lnTo>
                  <a:pt x="2718" y="846"/>
                </a:lnTo>
                <a:lnTo>
                  <a:pt x="2724" y="834"/>
                </a:lnTo>
                <a:lnTo>
                  <a:pt x="2724" y="822"/>
                </a:lnTo>
                <a:lnTo>
                  <a:pt x="2718" y="816"/>
                </a:lnTo>
                <a:lnTo>
                  <a:pt x="2712" y="816"/>
                </a:lnTo>
                <a:lnTo>
                  <a:pt x="2700" y="810"/>
                </a:lnTo>
                <a:lnTo>
                  <a:pt x="2682" y="810"/>
                </a:lnTo>
                <a:lnTo>
                  <a:pt x="2664" y="804"/>
                </a:lnTo>
                <a:lnTo>
                  <a:pt x="2652" y="804"/>
                </a:lnTo>
                <a:lnTo>
                  <a:pt x="2634" y="786"/>
                </a:lnTo>
                <a:lnTo>
                  <a:pt x="2634" y="744"/>
                </a:lnTo>
                <a:lnTo>
                  <a:pt x="2628" y="732"/>
                </a:lnTo>
                <a:lnTo>
                  <a:pt x="2616" y="720"/>
                </a:lnTo>
                <a:lnTo>
                  <a:pt x="2604" y="714"/>
                </a:lnTo>
                <a:lnTo>
                  <a:pt x="2598" y="702"/>
                </a:lnTo>
                <a:lnTo>
                  <a:pt x="2592" y="696"/>
                </a:lnTo>
                <a:lnTo>
                  <a:pt x="2586" y="660"/>
                </a:lnTo>
                <a:lnTo>
                  <a:pt x="2520" y="624"/>
                </a:lnTo>
                <a:lnTo>
                  <a:pt x="2532" y="612"/>
                </a:lnTo>
                <a:lnTo>
                  <a:pt x="2544" y="588"/>
                </a:lnTo>
                <a:lnTo>
                  <a:pt x="2544" y="576"/>
                </a:lnTo>
                <a:lnTo>
                  <a:pt x="2538" y="564"/>
                </a:lnTo>
                <a:lnTo>
                  <a:pt x="2514" y="540"/>
                </a:lnTo>
                <a:lnTo>
                  <a:pt x="2496" y="540"/>
                </a:lnTo>
                <a:lnTo>
                  <a:pt x="2484" y="534"/>
                </a:lnTo>
                <a:lnTo>
                  <a:pt x="2472" y="534"/>
                </a:lnTo>
                <a:lnTo>
                  <a:pt x="2340" y="522"/>
                </a:lnTo>
                <a:lnTo>
                  <a:pt x="2328" y="552"/>
                </a:lnTo>
                <a:lnTo>
                  <a:pt x="2346" y="570"/>
                </a:lnTo>
                <a:lnTo>
                  <a:pt x="2334" y="600"/>
                </a:lnTo>
                <a:lnTo>
                  <a:pt x="2280" y="624"/>
                </a:lnTo>
                <a:lnTo>
                  <a:pt x="2268" y="654"/>
                </a:lnTo>
                <a:lnTo>
                  <a:pt x="2304" y="660"/>
                </a:lnTo>
                <a:lnTo>
                  <a:pt x="2334" y="708"/>
                </a:lnTo>
                <a:lnTo>
                  <a:pt x="2322" y="726"/>
                </a:lnTo>
                <a:lnTo>
                  <a:pt x="2352" y="750"/>
                </a:lnTo>
                <a:lnTo>
                  <a:pt x="2388" y="744"/>
                </a:lnTo>
                <a:lnTo>
                  <a:pt x="2394" y="750"/>
                </a:lnTo>
                <a:lnTo>
                  <a:pt x="2400" y="762"/>
                </a:lnTo>
                <a:lnTo>
                  <a:pt x="2412" y="768"/>
                </a:lnTo>
                <a:lnTo>
                  <a:pt x="2418" y="774"/>
                </a:lnTo>
                <a:lnTo>
                  <a:pt x="2430" y="780"/>
                </a:lnTo>
                <a:lnTo>
                  <a:pt x="2472" y="780"/>
                </a:lnTo>
                <a:lnTo>
                  <a:pt x="2466" y="840"/>
                </a:lnTo>
                <a:lnTo>
                  <a:pt x="2448" y="816"/>
                </a:lnTo>
                <a:lnTo>
                  <a:pt x="2430" y="828"/>
                </a:lnTo>
                <a:lnTo>
                  <a:pt x="2418" y="822"/>
                </a:lnTo>
                <a:lnTo>
                  <a:pt x="2388" y="804"/>
                </a:lnTo>
                <a:lnTo>
                  <a:pt x="2352" y="792"/>
                </a:lnTo>
                <a:lnTo>
                  <a:pt x="2328" y="780"/>
                </a:lnTo>
                <a:lnTo>
                  <a:pt x="2268" y="780"/>
                </a:lnTo>
                <a:lnTo>
                  <a:pt x="2250" y="762"/>
                </a:lnTo>
                <a:lnTo>
                  <a:pt x="2244" y="780"/>
                </a:lnTo>
                <a:lnTo>
                  <a:pt x="2220" y="756"/>
                </a:lnTo>
                <a:lnTo>
                  <a:pt x="2214" y="756"/>
                </a:lnTo>
                <a:lnTo>
                  <a:pt x="2208" y="750"/>
                </a:lnTo>
                <a:lnTo>
                  <a:pt x="2196" y="744"/>
                </a:lnTo>
                <a:lnTo>
                  <a:pt x="2178" y="744"/>
                </a:lnTo>
                <a:lnTo>
                  <a:pt x="2154" y="732"/>
                </a:lnTo>
                <a:lnTo>
                  <a:pt x="2130" y="732"/>
                </a:lnTo>
                <a:lnTo>
                  <a:pt x="2118" y="738"/>
                </a:lnTo>
                <a:lnTo>
                  <a:pt x="2088" y="738"/>
                </a:lnTo>
                <a:lnTo>
                  <a:pt x="2076" y="732"/>
                </a:lnTo>
                <a:lnTo>
                  <a:pt x="2022" y="732"/>
                </a:lnTo>
                <a:lnTo>
                  <a:pt x="2016" y="738"/>
                </a:lnTo>
                <a:lnTo>
                  <a:pt x="2010" y="738"/>
                </a:lnTo>
                <a:lnTo>
                  <a:pt x="2004" y="744"/>
                </a:lnTo>
                <a:lnTo>
                  <a:pt x="2004" y="750"/>
                </a:lnTo>
                <a:lnTo>
                  <a:pt x="2016" y="762"/>
                </a:lnTo>
                <a:lnTo>
                  <a:pt x="2028" y="768"/>
                </a:lnTo>
                <a:lnTo>
                  <a:pt x="2040" y="780"/>
                </a:lnTo>
                <a:lnTo>
                  <a:pt x="2046" y="780"/>
                </a:lnTo>
                <a:lnTo>
                  <a:pt x="2022" y="810"/>
                </a:lnTo>
                <a:lnTo>
                  <a:pt x="2010" y="798"/>
                </a:lnTo>
                <a:lnTo>
                  <a:pt x="2010" y="828"/>
                </a:lnTo>
                <a:lnTo>
                  <a:pt x="1998" y="828"/>
                </a:lnTo>
                <a:lnTo>
                  <a:pt x="1986" y="822"/>
                </a:lnTo>
                <a:lnTo>
                  <a:pt x="1980" y="822"/>
                </a:lnTo>
                <a:lnTo>
                  <a:pt x="1974" y="816"/>
                </a:lnTo>
                <a:lnTo>
                  <a:pt x="1974" y="786"/>
                </a:lnTo>
                <a:lnTo>
                  <a:pt x="1968" y="780"/>
                </a:lnTo>
                <a:lnTo>
                  <a:pt x="1950" y="780"/>
                </a:lnTo>
                <a:lnTo>
                  <a:pt x="1938" y="786"/>
                </a:lnTo>
                <a:lnTo>
                  <a:pt x="1920" y="792"/>
                </a:lnTo>
                <a:lnTo>
                  <a:pt x="1908" y="804"/>
                </a:lnTo>
                <a:lnTo>
                  <a:pt x="1884" y="816"/>
                </a:lnTo>
                <a:lnTo>
                  <a:pt x="1866" y="816"/>
                </a:lnTo>
                <a:lnTo>
                  <a:pt x="1842" y="804"/>
                </a:lnTo>
                <a:lnTo>
                  <a:pt x="1824" y="804"/>
                </a:lnTo>
                <a:lnTo>
                  <a:pt x="1800" y="810"/>
                </a:lnTo>
                <a:lnTo>
                  <a:pt x="1782" y="816"/>
                </a:lnTo>
                <a:lnTo>
                  <a:pt x="1764" y="828"/>
                </a:lnTo>
                <a:lnTo>
                  <a:pt x="1752" y="834"/>
                </a:lnTo>
                <a:lnTo>
                  <a:pt x="1746" y="840"/>
                </a:lnTo>
                <a:lnTo>
                  <a:pt x="1680" y="840"/>
                </a:lnTo>
                <a:lnTo>
                  <a:pt x="1692" y="816"/>
                </a:lnTo>
                <a:lnTo>
                  <a:pt x="1692" y="780"/>
                </a:lnTo>
                <a:lnTo>
                  <a:pt x="1680" y="780"/>
                </a:lnTo>
                <a:lnTo>
                  <a:pt x="1668" y="786"/>
                </a:lnTo>
                <a:lnTo>
                  <a:pt x="1650" y="792"/>
                </a:lnTo>
                <a:lnTo>
                  <a:pt x="1638" y="792"/>
                </a:lnTo>
                <a:lnTo>
                  <a:pt x="1626" y="804"/>
                </a:lnTo>
                <a:lnTo>
                  <a:pt x="1626" y="816"/>
                </a:lnTo>
                <a:lnTo>
                  <a:pt x="1632" y="822"/>
                </a:lnTo>
                <a:lnTo>
                  <a:pt x="1632" y="828"/>
                </a:lnTo>
                <a:lnTo>
                  <a:pt x="1608" y="834"/>
                </a:lnTo>
                <a:lnTo>
                  <a:pt x="1608" y="810"/>
                </a:lnTo>
                <a:lnTo>
                  <a:pt x="1584" y="816"/>
                </a:lnTo>
                <a:lnTo>
                  <a:pt x="1530" y="822"/>
                </a:lnTo>
                <a:lnTo>
                  <a:pt x="1488" y="852"/>
                </a:lnTo>
                <a:lnTo>
                  <a:pt x="1440" y="858"/>
                </a:lnTo>
                <a:lnTo>
                  <a:pt x="1452" y="876"/>
                </a:lnTo>
                <a:lnTo>
                  <a:pt x="1440" y="876"/>
                </a:lnTo>
                <a:lnTo>
                  <a:pt x="1428" y="870"/>
                </a:lnTo>
                <a:lnTo>
                  <a:pt x="1422" y="870"/>
                </a:lnTo>
                <a:lnTo>
                  <a:pt x="1410" y="876"/>
                </a:lnTo>
                <a:lnTo>
                  <a:pt x="1404" y="882"/>
                </a:lnTo>
                <a:lnTo>
                  <a:pt x="1404" y="924"/>
                </a:lnTo>
                <a:lnTo>
                  <a:pt x="1332" y="930"/>
                </a:lnTo>
                <a:lnTo>
                  <a:pt x="1326" y="924"/>
                </a:lnTo>
                <a:lnTo>
                  <a:pt x="1314" y="918"/>
                </a:lnTo>
                <a:lnTo>
                  <a:pt x="1308" y="912"/>
                </a:lnTo>
                <a:lnTo>
                  <a:pt x="1266" y="912"/>
                </a:lnTo>
                <a:lnTo>
                  <a:pt x="1260" y="906"/>
                </a:lnTo>
                <a:lnTo>
                  <a:pt x="1260" y="876"/>
                </a:lnTo>
                <a:lnTo>
                  <a:pt x="1266" y="870"/>
                </a:lnTo>
                <a:lnTo>
                  <a:pt x="1266" y="864"/>
                </a:lnTo>
                <a:lnTo>
                  <a:pt x="1272" y="858"/>
                </a:lnTo>
                <a:lnTo>
                  <a:pt x="1284" y="864"/>
                </a:lnTo>
                <a:lnTo>
                  <a:pt x="1344" y="864"/>
                </a:lnTo>
                <a:lnTo>
                  <a:pt x="1332" y="858"/>
                </a:lnTo>
                <a:lnTo>
                  <a:pt x="1326" y="846"/>
                </a:lnTo>
                <a:lnTo>
                  <a:pt x="1314" y="840"/>
                </a:lnTo>
                <a:lnTo>
                  <a:pt x="1302" y="828"/>
                </a:lnTo>
                <a:lnTo>
                  <a:pt x="1290" y="822"/>
                </a:lnTo>
                <a:lnTo>
                  <a:pt x="1278" y="810"/>
                </a:lnTo>
                <a:lnTo>
                  <a:pt x="1152" y="810"/>
                </a:lnTo>
                <a:lnTo>
                  <a:pt x="1164" y="822"/>
                </a:lnTo>
                <a:lnTo>
                  <a:pt x="1188" y="822"/>
                </a:lnTo>
                <a:lnTo>
                  <a:pt x="1200" y="828"/>
                </a:lnTo>
                <a:lnTo>
                  <a:pt x="1200" y="846"/>
                </a:lnTo>
                <a:lnTo>
                  <a:pt x="1194" y="864"/>
                </a:lnTo>
                <a:lnTo>
                  <a:pt x="1194" y="876"/>
                </a:lnTo>
                <a:lnTo>
                  <a:pt x="1188" y="894"/>
                </a:lnTo>
                <a:lnTo>
                  <a:pt x="1188" y="918"/>
                </a:lnTo>
                <a:lnTo>
                  <a:pt x="1194" y="918"/>
                </a:lnTo>
                <a:lnTo>
                  <a:pt x="1206" y="924"/>
                </a:lnTo>
                <a:lnTo>
                  <a:pt x="1230" y="924"/>
                </a:lnTo>
                <a:lnTo>
                  <a:pt x="1236" y="930"/>
                </a:lnTo>
                <a:lnTo>
                  <a:pt x="1242" y="930"/>
                </a:lnTo>
                <a:lnTo>
                  <a:pt x="1236" y="966"/>
                </a:lnTo>
                <a:lnTo>
                  <a:pt x="1248" y="996"/>
                </a:lnTo>
                <a:lnTo>
                  <a:pt x="1212" y="972"/>
                </a:lnTo>
                <a:lnTo>
                  <a:pt x="1194" y="996"/>
                </a:lnTo>
                <a:lnTo>
                  <a:pt x="1188" y="966"/>
                </a:lnTo>
                <a:lnTo>
                  <a:pt x="1116" y="948"/>
                </a:lnTo>
                <a:lnTo>
                  <a:pt x="1086" y="984"/>
                </a:lnTo>
                <a:lnTo>
                  <a:pt x="1062" y="984"/>
                </a:lnTo>
                <a:lnTo>
                  <a:pt x="1056" y="996"/>
                </a:lnTo>
                <a:lnTo>
                  <a:pt x="1044" y="1002"/>
                </a:lnTo>
                <a:lnTo>
                  <a:pt x="1038" y="1008"/>
                </a:lnTo>
                <a:lnTo>
                  <a:pt x="1026" y="1014"/>
                </a:lnTo>
                <a:lnTo>
                  <a:pt x="1014" y="1014"/>
                </a:lnTo>
                <a:lnTo>
                  <a:pt x="1002" y="1020"/>
                </a:lnTo>
                <a:lnTo>
                  <a:pt x="1002" y="1032"/>
                </a:lnTo>
                <a:lnTo>
                  <a:pt x="1008" y="1038"/>
                </a:lnTo>
                <a:lnTo>
                  <a:pt x="1020" y="1044"/>
                </a:lnTo>
                <a:lnTo>
                  <a:pt x="1032" y="1056"/>
                </a:lnTo>
                <a:lnTo>
                  <a:pt x="1044" y="1062"/>
                </a:lnTo>
                <a:lnTo>
                  <a:pt x="1050" y="1068"/>
                </a:lnTo>
                <a:lnTo>
                  <a:pt x="1062" y="1074"/>
                </a:lnTo>
                <a:lnTo>
                  <a:pt x="1080" y="1104"/>
                </a:lnTo>
                <a:lnTo>
                  <a:pt x="1050" y="1086"/>
                </a:lnTo>
                <a:lnTo>
                  <a:pt x="1038" y="1092"/>
                </a:lnTo>
                <a:lnTo>
                  <a:pt x="1032" y="1098"/>
                </a:lnTo>
                <a:lnTo>
                  <a:pt x="1020" y="1098"/>
                </a:lnTo>
                <a:lnTo>
                  <a:pt x="1008" y="1092"/>
                </a:lnTo>
                <a:lnTo>
                  <a:pt x="996" y="1092"/>
                </a:lnTo>
                <a:lnTo>
                  <a:pt x="978" y="1086"/>
                </a:lnTo>
                <a:lnTo>
                  <a:pt x="966" y="1080"/>
                </a:lnTo>
                <a:lnTo>
                  <a:pt x="948" y="1080"/>
                </a:lnTo>
                <a:lnTo>
                  <a:pt x="936" y="1074"/>
                </a:lnTo>
                <a:lnTo>
                  <a:pt x="924" y="1074"/>
                </a:lnTo>
                <a:lnTo>
                  <a:pt x="918" y="1068"/>
                </a:lnTo>
                <a:lnTo>
                  <a:pt x="918" y="1056"/>
                </a:lnTo>
                <a:lnTo>
                  <a:pt x="906" y="1050"/>
                </a:lnTo>
                <a:lnTo>
                  <a:pt x="888" y="1050"/>
                </a:lnTo>
                <a:lnTo>
                  <a:pt x="864" y="1062"/>
                </a:lnTo>
                <a:lnTo>
                  <a:pt x="858" y="1068"/>
                </a:lnTo>
                <a:lnTo>
                  <a:pt x="840" y="1068"/>
                </a:lnTo>
                <a:lnTo>
                  <a:pt x="882" y="1104"/>
                </a:lnTo>
                <a:lnTo>
                  <a:pt x="900" y="1104"/>
                </a:lnTo>
                <a:lnTo>
                  <a:pt x="912" y="1110"/>
                </a:lnTo>
                <a:lnTo>
                  <a:pt x="924" y="1110"/>
                </a:lnTo>
                <a:lnTo>
                  <a:pt x="936" y="1116"/>
                </a:lnTo>
                <a:lnTo>
                  <a:pt x="942" y="1116"/>
                </a:lnTo>
                <a:lnTo>
                  <a:pt x="942" y="1122"/>
                </a:lnTo>
                <a:lnTo>
                  <a:pt x="936" y="1134"/>
                </a:lnTo>
                <a:lnTo>
                  <a:pt x="924" y="1140"/>
                </a:lnTo>
                <a:lnTo>
                  <a:pt x="918" y="1146"/>
                </a:lnTo>
                <a:lnTo>
                  <a:pt x="852" y="1128"/>
                </a:lnTo>
                <a:lnTo>
                  <a:pt x="840" y="1122"/>
                </a:lnTo>
                <a:lnTo>
                  <a:pt x="834" y="1116"/>
                </a:lnTo>
                <a:lnTo>
                  <a:pt x="822" y="1110"/>
                </a:lnTo>
                <a:lnTo>
                  <a:pt x="762" y="1110"/>
                </a:lnTo>
                <a:lnTo>
                  <a:pt x="756" y="1104"/>
                </a:lnTo>
                <a:lnTo>
                  <a:pt x="756" y="1056"/>
                </a:lnTo>
                <a:lnTo>
                  <a:pt x="738" y="1044"/>
                </a:lnTo>
                <a:lnTo>
                  <a:pt x="750" y="1032"/>
                </a:lnTo>
                <a:lnTo>
                  <a:pt x="756" y="1020"/>
                </a:lnTo>
                <a:lnTo>
                  <a:pt x="756" y="1002"/>
                </a:lnTo>
                <a:lnTo>
                  <a:pt x="738" y="990"/>
                </a:lnTo>
                <a:lnTo>
                  <a:pt x="702" y="978"/>
                </a:lnTo>
                <a:lnTo>
                  <a:pt x="672" y="972"/>
                </a:lnTo>
                <a:lnTo>
                  <a:pt x="660" y="966"/>
                </a:lnTo>
                <a:lnTo>
                  <a:pt x="630" y="948"/>
                </a:lnTo>
                <a:lnTo>
                  <a:pt x="606" y="930"/>
                </a:lnTo>
                <a:lnTo>
                  <a:pt x="594" y="912"/>
                </a:lnTo>
                <a:lnTo>
                  <a:pt x="630" y="912"/>
                </a:lnTo>
                <a:lnTo>
                  <a:pt x="630" y="924"/>
                </a:lnTo>
                <a:lnTo>
                  <a:pt x="642" y="924"/>
                </a:lnTo>
                <a:lnTo>
                  <a:pt x="654" y="930"/>
                </a:lnTo>
                <a:lnTo>
                  <a:pt x="672" y="930"/>
                </a:lnTo>
                <a:lnTo>
                  <a:pt x="690" y="936"/>
                </a:lnTo>
                <a:lnTo>
                  <a:pt x="720" y="936"/>
                </a:lnTo>
                <a:lnTo>
                  <a:pt x="732" y="942"/>
                </a:lnTo>
                <a:lnTo>
                  <a:pt x="738" y="954"/>
                </a:lnTo>
                <a:lnTo>
                  <a:pt x="762" y="966"/>
                </a:lnTo>
                <a:lnTo>
                  <a:pt x="816" y="966"/>
                </a:lnTo>
                <a:lnTo>
                  <a:pt x="846" y="972"/>
                </a:lnTo>
                <a:lnTo>
                  <a:pt x="858" y="972"/>
                </a:lnTo>
                <a:lnTo>
                  <a:pt x="870" y="978"/>
                </a:lnTo>
                <a:lnTo>
                  <a:pt x="894" y="984"/>
                </a:lnTo>
                <a:lnTo>
                  <a:pt x="930" y="990"/>
                </a:lnTo>
                <a:lnTo>
                  <a:pt x="978" y="984"/>
                </a:lnTo>
                <a:lnTo>
                  <a:pt x="1026" y="972"/>
                </a:lnTo>
                <a:lnTo>
                  <a:pt x="1062" y="954"/>
                </a:lnTo>
                <a:lnTo>
                  <a:pt x="1080" y="936"/>
                </a:lnTo>
                <a:lnTo>
                  <a:pt x="1074" y="912"/>
                </a:lnTo>
                <a:lnTo>
                  <a:pt x="1032" y="870"/>
                </a:lnTo>
                <a:lnTo>
                  <a:pt x="1014" y="858"/>
                </a:lnTo>
                <a:lnTo>
                  <a:pt x="996" y="852"/>
                </a:lnTo>
                <a:lnTo>
                  <a:pt x="948" y="840"/>
                </a:lnTo>
                <a:lnTo>
                  <a:pt x="900" y="822"/>
                </a:lnTo>
                <a:lnTo>
                  <a:pt x="828" y="798"/>
                </a:lnTo>
                <a:lnTo>
                  <a:pt x="792" y="780"/>
                </a:lnTo>
                <a:lnTo>
                  <a:pt x="756" y="774"/>
                </a:lnTo>
                <a:lnTo>
                  <a:pt x="624" y="774"/>
                </a:lnTo>
                <a:lnTo>
                  <a:pt x="612" y="756"/>
                </a:lnTo>
                <a:lnTo>
                  <a:pt x="588" y="762"/>
                </a:lnTo>
                <a:lnTo>
                  <a:pt x="552" y="744"/>
                </a:lnTo>
                <a:lnTo>
                  <a:pt x="588" y="738"/>
                </a:lnTo>
                <a:lnTo>
                  <a:pt x="606" y="726"/>
                </a:lnTo>
                <a:lnTo>
                  <a:pt x="600" y="726"/>
                </a:lnTo>
                <a:lnTo>
                  <a:pt x="594" y="720"/>
                </a:lnTo>
                <a:lnTo>
                  <a:pt x="582" y="720"/>
                </a:lnTo>
                <a:lnTo>
                  <a:pt x="564" y="714"/>
                </a:lnTo>
                <a:lnTo>
                  <a:pt x="546" y="714"/>
                </a:lnTo>
                <a:lnTo>
                  <a:pt x="534" y="708"/>
                </a:lnTo>
                <a:lnTo>
                  <a:pt x="522" y="720"/>
                </a:lnTo>
                <a:lnTo>
                  <a:pt x="522" y="726"/>
                </a:lnTo>
                <a:lnTo>
                  <a:pt x="516" y="732"/>
                </a:lnTo>
                <a:lnTo>
                  <a:pt x="498" y="732"/>
                </a:lnTo>
                <a:lnTo>
                  <a:pt x="486" y="744"/>
                </a:lnTo>
                <a:lnTo>
                  <a:pt x="450" y="744"/>
                </a:lnTo>
                <a:lnTo>
                  <a:pt x="444" y="756"/>
                </a:lnTo>
                <a:lnTo>
                  <a:pt x="420" y="762"/>
                </a:lnTo>
                <a:lnTo>
                  <a:pt x="420" y="768"/>
                </a:lnTo>
                <a:lnTo>
                  <a:pt x="414" y="780"/>
                </a:lnTo>
                <a:lnTo>
                  <a:pt x="390" y="780"/>
                </a:lnTo>
                <a:lnTo>
                  <a:pt x="384" y="792"/>
                </a:lnTo>
                <a:lnTo>
                  <a:pt x="396" y="804"/>
                </a:lnTo>
                <a:lnTo>
                  <a:pt x="396" y="810"/>
                </a:lnTo>
                <a:lnTo>
                  <a:pt x="378" y="810"/>
                </a:lnTo>
                <a:lnTo>
                  <a:pt x="378" y="822"/>
                </a:lnTo>
                <a:lnTo>
                  <a:pt x="384" y="834"/>
                </a:lnTo>
                <a:lnTo>
                  <a:pt x="384" y="840"/>
                </a:lnTo>
                <a:lnTo>
                  <a:pt x="390" y="846"/>
                </a:lnTo>
                <a:lnTo>
                  <a:pt x="396" y="846"/>
                </a:lnTo>
                <a:lnTo>
                  <a:pt x="402" y="840"/>
                </a:lnTo>
                <a:lnTo>
                  <a:pt x="420" y="840"/>
                </a:lnTo>
                <a:lnTo>
                  <a:pt x="468" y="888"/>
                </a:lnTo>
                <a:lnTo>
                  <a:pt x="468" y="900"/>
                </a:lnTo>
                <a:lnTo>
                  <a:pt x="462" y="900"/>
                </a:lnTo>
                <a:lnTo>
                  <a:pt x="450" y="906"/>
                </a:lnTo>
                <a:lnTo>
                  <a:pt x="444" y="906"/>
                </a:lnTo>
                <a:lnTo>
                  <a:pt x="444" y="918"/>
                </a:lnTo>
                <a:lnTo>
                  <a:pt x="438" y="918"/>
                </a:lnTo>
                <a:lnTo>
                  <a:pt x="426" y="924"/>
                </a:lnTo>
                <a:lnTo>
                  <a:pt x="420" y="930"/>
                </a:lnTo>
                <a:lnTo>
                  <a:pt x="438" y="948"/>
                </a:lnTo>
                <a:lnTo>
                  <a:pt x="450" y="954"/>
                </a:lnTo>
                <a:lnTo>
                  <a:pt x="456" y="966"/>
                </a:lnTo>
                <a:lnTo>
                  <a:pt x="468" y="972"/>
                </a:lnTo>
                <a:lnTo>
                  <a:pt x="492" y="996"/>
                </a:lnTo>
                <a:lnTo>
                  <a:pt x="504" y="1002"/>
                </a:lnTo>
                <a:lnTo>
                  <a:pt x="510" y="1008"/>
                </a:lnTo>
                <a:lnTo>
                  <a:pt x="510" y="1014"/>
                </a:lnTo>
                <a:lnTo>
                  <a:pt x="504" y="1020"/>
                </a:lnTo>
                <a:lnTo>
                  <a:pt x="492" y="1020"/>
                </a:lnTo>
                <a:lnTo>
                  <a:pt x="480" y="1014"/>
                </a:lnTo>
                <a:lnTo>
                  <a:pt x="474" y="1014"/>
                </a:lnTo>
                <a:lnTo>
                  <a:pt x="468" y="1044"/>
                </a:lnTo>
                <a:lnTo>
                  <a:pt x="480" y="1056"/>
                </a:lnTo>
                <a:lnTo>
                  <a:pt x="480" y="1068"/>
                </a:lnTo>
                <a:lnTo>
                  <a:pt x="492" y="1068"/>
                </a:lnTo>
                <a:lnTo>
                  <a:pt x="498" y="1074"/>
                </a:lnTo>
                <a:lnTo>
                  <a:pt x="504" y="1074"/>
                </a:lnTo>
                <a:lnTo>
                  <a:pt x="510" y="1080"/>
                </a:lnTo>
                <a:lnTo>
                  <a:pt x="510" y="1086"/>
                </a:lnTo>
                <a:lnTo>
                  <a:pt x="504" y="1092"/>
                </a:lnTo>
                <a:lnTo>
                  <a:pt x="498" y="1104"/>
                </a:lnTo>
                <a:lnTo>
                  <a:pt x="522" y="1110"/>
                </a:lnTo>
                <a:lnTo>
                  <a:pt x="534" y="1116"/>
                </a:lnTo>
                <a:lnTo>
                  <a:pt x="540" y="1122"/>
                </a:lnTo>
                <a:lnTo>
                  <a:pt x="540" y="1128"/>
                </a:lnTo>
                <a:lnTo>
                  <a:pt x="516" y="1152"/>
                </a:lnTo>
                <a:lnTo>
                  <a:pt x="510" y="1152"/>
                </a:lnTo>
                <a:lnTo>
                  <a:pt x="582" y="1188"/>
                </a:lnTo>
                <a:lnTo>
                  <a:pt x="588" y="1200"/>
                </a:lnTo>
                <a:lnTo>
                  <a:pt x="594" y="1206"/>
                </a:lnTo>
                <a:lnTo>
                  <a:pt x="600" y="1218"/>
                </a:lnTo>
                <a:lnTo>
                  <a:pt x="600" y="1230"/>
                </a:lnTo>
                <a:lnTo>
                  <a:pt x="594" y="1236"/>
                </a:lnTo>
                <a:lnTo>
                  <a:pt x="588" y="1248"/>
                </a:lnTo>
                <a:lnTo>
                  <a:pt x="552" y="1284"/>
                </a:lnTo>
                <a:lnTo>
                  <a:pt x="546" y="1284"/>
                </a:lnTo>
                <a:lnTo>
                  <a:pt x="486" y="1344"/>
                </a:lnTo>
                <a:lnTo>
                  <a:pt x="426" y="1374"/>
                </a:lnTo>
                <a:lnTo>
                  <a:pt x="432" y="1386"/>
                </a:lnTo>
                <a:lnTo>
                  <a:pt x="462" y="1368"/>
                </a:lnTo>
                <a:lnTo>
                  <a:pt x="468" y="1386"/>
                </a:lnTo>
                <a:lnTo>
                  <a:pt x="480" y="1398"/>
                </a:lnTo>
                <a:lnTo>
                  <a:pt x="492" y="1404"/>
                </a:lnTo>
                <a:lnTo>
                  <a:pt x="498" y="1410"/>
                </a:lnTo>
                <a:lnTo>
                  <a:pt x="546" y="1410"/>
                </a:lnTo>
                <a:lnTo>
                  <a:pt x="558" y="1428"/>
                </a:lnTo>
                <a:lnTo>
                  <a:pt x="546" y="1428"/>
                </a:lnTo>
                <a:lnTo>
                  <a:pt x="534" y="1422"/>
                </a:lnTo>
                <a:lnTo>
                  <a:pt x="504" y="1422"/>
                </a:lnTo>
                <a:lnTo>
                  <a:pt x="492" y="1434"/>
                </a:lnTo>
                <a:lnTo>
                  <a:pt x="492" y="1440"/>
                </a:lnTo>
                <a:lnTo>
                  <a:pt x="456" y="1440"/>
                </a:lnTo>
                <a:lnTo>
                  <a:pt x="450" y="1470"/>
                </a:lnTo>
                <a:lnTo>
                  <a:pt x="438" y="1470"/>
                </a:lnTo>
                <a:lnTo>
                  <a:pt x="432" y="1482"/>
                </a:lnTo>
                <a:lnTo>
                  <a:pt x="438" y="1494"/>
                </a:lnTo>
                <a:lnTo>
                  <a:pt x="432" y="1500"/>
                </a:lnTo>
                <a:lnTo>
                  <a:pt x="426" y="1500"/>
                </a:lnTo>
                <a:lnTo>
                  <a:pt x="414" y="1512"/>
                </a:lnTo>
                <a:lnTo>
                  <a:pt x="414" y="1530"/>
                </a:lnTo>
                <a:lnTo>
                  <a:pt x="432" y="1536"/>
                </a:lnTo>
                <a:lnTo>
                  <a:pt x="420" y="1560"/>
                </a:lnTo>
                <a:lnTo>
                  <a:pt x="432" y="1566"/>
                </a:lnTo>
                <a:lnTo>
                  <a:pt x="444" y="1584"/>
                </a:lnTo>
                <a:lnTo>
                  <a:pt x="426" y="1596"/>
                </a:lnTo>
                <a:lnTo>
                  <a:pt x="426" y="1608"/>
                </a:lnTo>
                <a:lnTo>
                  <a:pt x="432" y="1608"/>
                </a:lnTo>
                <a:lnTo>
                  <a:pt x="444" y="1620"/>
                </a:lnTo>
                <a:lnTo>
                  <a:pt x="456" y="1626"/>
                </a:lnTo>
                <a:lnTo>
                  <a:pt x="462" y="1632"/>
                </a:lnTo>
                <a:lnTo>
                  <a:pt x="462" y="1638"/>
                </a:lnTo>
                <a:lnTo>
                  <a:pt x="444" y="1638"/>
                </a:lnTo>
                <a:lnTo>
                  <a:pt x="438" y="1656"/>
                </a:lnTo>
                <a:lnTo>
                  <a:pt x="462" y="1662"/>
                </a:lnTo>
                <a:lnTo>
                  <a:pt x="468" y="1668"/>
                </a:lnTo>
                <a:lnTo>
                  <a:pt x="474" y="1680"/>
                </a:lnTo>
                <a:lnTo>
                  <a:pt x="486" y="1692"/>
                </a:lnTo>
                <a:lnTo>
                  <a:pt x="486" y="1716"/>
                </a:lnTo>
                <a:lnTo>
                  <a:pt x="510" y="1716"/>
                </a:lnTo>
                <a:lnTo>
                  <a:pt x="516" y="1722"/>
                </a:lnTo>
                <a:lnTo>
                  <a:pt x="516" y="1728"/>
                </a:lnTo>
                <a:lnTo>
                  <a:pt x="528" y="1722"/>
                </a:lnTo>
                <a:lnTo>
                  <a:pt x="564" y="1728"/>
                </a:lnTo>
                <a:lnTo>
                  <a:pt x="570" y="1746"/>
                </a:lnTo>
                <a:lnTo>
                  <a:pt x="600" y="1728"/>
                </a:lnTo>
                <a:lnTo>
                  <a:pt x="606" y="1728"/>
                </a:lnTo>
                <a:lnTo>
                  <a:pt x="612" y="1734"/>
                </a:lnTo>
                <a:lnTo>
                  <a:pt x="648" y="1752"/>
                </a:lnTo>
                <a:lnTo>
                  <a:pt x="654" y="1758"/>
                </a:lnTo>
                <a:lnTo>
                  <a:pt x="654" y="1770"/>
                </a:lnTo>
                <a:lnTo>
                  <a:pt x="648" y="1776"/>
                </a:lnTo>
                <a:lnTo>
                  <a:pt x="660" y="1794"/>
                </a:lnTo>
                <a:lnTo>
                  <a:pt x="654" y="1812"/>
                </a:lnTo>
                <a:lnTo>
                  <a:pt x="660" y="1818"/>
                </a:lnTo>
                <a:lnTo>
                  <a:pt x="672" y="1824"/>
                </a:lnTo>
                <a:lnTo>
                  <a:pt x="690" y="1842"/>
                </a:lnTo>
                <a:lnTo>
                  <a:pt x="690" y="1854"/>
                </a:lnTo>
                <a:lnTo>
                  <a:pt x="720" y="1866"/>
                </a:lnTo>
                <a:lnTo>
                  <a:pt x="720" y="1890"/>
                </a:lnTo>
                <a:lnTo>
                  <a:pt x="756" y="1890"/>
                </a:lnTo>
                <a:lnTo>
                  <a:pt x="762" y="1896"/>
                </a:lnTo>
                <a:lnTo>
                  <a:pt x="768" y="1896"/>
                </a:lnTo>
                <a:lnTo>
                  <a:pt x="768" y="1902"/>
                </a:lnTo>
                <a:lnTo>
                  <a:pt x="762" y="1908"/>
                </a:lnTo>
                <a:lnTo>
                  <a:pt x="786" y="1920"/>
                </a:lnTo>
                <a:lnTo>
                  <a:pt x="774" y="1926"/>
                </a:lnTo>
                <a:lnTo>
                  <a:pt x="768" y="1938"/>
                </a:lnTo>
                <a:lnTo>
                  <a:pt x="744" y="1950"/>
                </a:lnTo>
                <a:lnTo>
                  <a:pt x="738" y="1950"/>
                </a:lnTo>
                <a:lnTo>
                  <a:pt x="732" y="1944"/>
                </a:lnTo>
                <a:lnTo>
                  <a:pt x="726" y="1944"/>
                </a:lnTo>
                <a:lnTo>
                  <a:pt x="726" y="1938"/>
                </a:lnTo>
                <a:lnTo>
                  <a:pt x="702" y="1938"/>
                </a:lnTo>
                <a:lnTo>
                  <a:pt x="696" y="1944"/>
                </a:lnTo>
                <a:lnTo>
                  <a:pt x="696" y="1950"/>
                </a:lnTo>
                <a:lnTo>
                  <a:pt x="720" y="1974"/>
                </a:lnTo>
                <a:lnTo>
                  <a:pt x="720" y="1992"/>
                </a:lnTo>
                <a:lnTo>
                  <a:pt x="726" y="1998"/>
                </a:lnTo>
                <a:lnTo>
                  <a:pt x="732" y="2010"/>
                </a:lnTo>
                <a:lnTo>
                  <a:pt x="732" y="2028"/>
                </a:lnTo>
                <a:lnTo>
                  <a:pt x="720" y="2028"/>
                </a:lnTo>
                <a:lnTo>
                  <a:pt x="714" y="2022"/>
                </a:lnTo>
                <a:lnTo>
                  <a:pt x="708" y="2022"/>
                </a:lnTo>
                <a:lnTo>
                  <a:pt x="720" y="2028"/>
                </a:lnTo>
                <a:lnTo>
                  <a:pt x="768" y="2028"/>
                </a:lnTo>
                <a:lnTo>
                  <a:pt x="774" y="2022"/>
                </a:lnTo>
                <a:lnTo>
                  <a:pt x="774" y="2010"/>
                </a:lnTo>
                <a:lnTo>
                  <a:pt x="804" y="2010"/>
                </a:lnTo>
                <a:lnTo>
                  <a:pt x="816" y="2004"/>
                </a:lnTo>
                <a:lnTo>
                  <a:pt x="864" y="2004"/>
                </a:lnTo>
                <a:lnTo>
                  <a:pt x="870" y="2022"/>
                </a:lnTo>
                <a:lnTo>
                  <a:pt x="876" y="2022"/>
                </a:lnTo>
                <a:lnTo>
                  <a:pt x="882" y="2028"/>
                </a:lnTo>
                <a:lnTo>
                  <a:pt x="894" y="2034"/>
                </a:lnTo>
                <a:lnTo>
                  <a:pt x="900" y="2034"/>
                </a:lnTo>
                <a:lnTo>
                  <a:pt x="900" y="2046"/>
                </a:lnTo>
                <a:lnTo>
                  <a:pt x="894" y="2052"/>
                </a:lnTo>
                <a:lnTo>
                  <a:pt x="888" y="2052"/>
                </a:lnTo>
                <a:lnTo>
                  <a:pt x="894" y="2070"/>
                </a:lnTo>
                <a:lnTo>
                  <a:pt x="894" y="2088"/>
                </a:lnTo>
                <a:lnTo>
                  <a:pt x="930" y="2088"/>
                </a:lnTo>
                <a:lnTo>
                  <a:pt x="972" y="2106"/>
                </a:lnTo>
                <a:lnTo>
                  <a:pt x="984" y="2154"/>
                </a:lnTo>
                <a:lnTo>
                  <a:pt x="990" y="2154"/>
                </a:lnTo>
                <a:lnTo>
                  <a:pt x="1014" y="2148"/>
                </a:lnTo>
                <a:lnTo>
                  <a:pt x="1020" y="2154"/>
                </a:lnTo>
                <a:lnTo>
                  <a:pt x="1032" y="2154"/>
                </a:lnTo>
                <a:lnTo>
                  <a:pt x="1038" y="2160"/>
                </a:lnTo>
                <a:lnTo>
                  <a:pt x="1086" y="2160"/>
                </a:lnTo>
                <a:lnTo>
                  <a:pt x="1092" y="2166"/>
                </a:lnTo>
                <a:lnTo>
                  <a:pt x="1092" y="2160"/>
                </a:lnTo>
                <a:lnTo>
                  <a:pt x="1098" y="2154"/>
                </a:lnTo>
                <a:lnTo>
                  <a:pt x="1110" y="2154"/>
                </a:lnTo>
                <a:lnTo>
                  <a:pt x="1116" y="2166"/>
                </a:lnTo>
                <a:lnTo>
                  <a:pt x="1140" y="2190"/>
                </a:lnTo>
                <a:lnTo>
                  <a:pt x="1152" y="2184"/>
                </a:lnTo>
                <a:lnTo>
                  <a:pt x="1170" y="2184"/>
                </a:lnTo>
                <a:lnTo>
                  <a:pt x="1176" y="2190"/>
                </a:lnTo>
                <a:lnTo>
                  <a:pt x="1188" y="2196"/>
                </a:lnTo>
                <a:lnTo>
                  <a:pt x="1230" y="2196"/>
                </a:lnTo>
                <a:lnTo>
                  <a:pt x="1230" y="2202"/>
                </a:lnTo>
                <a:lnTo>
                  <a:pt x="1236" y="2208"/>
                </a:lnTo>
                <a:lnTo>
                  <a:pt x="1254" y="2220"/>
                </a:lnTo>
                <a:lnTo>
                  <a:pt x="1278" y="2220"/>
                </a:lnTo>
                <a:lnTo>
                  <a:pt x="1284" y="2226"/>
                </a:lnTo>
                <a:lnTo>
                  <a:pt x="1284" y="2250"/>
                </a:lnTo>
                <a:lnTo>
                  <a:pt x="1266" y="2262"/>
                </a:lnTo>
                <a:lnTo>
                  <a:pt x="1272" y="2262"/>
                </a:lnTo>
                <a:lnTo>
                  <a:pt x="1278" y="2268"/>
                </a:lnTo>
                <a:lnTo>
                  <a:pt x="1284" y="2268"/>
                </a:lnTo>
                <a:lnTo>
                  <a:pt x="1290" y="2274"/>
                </a:lnTo>
                <a:lnTo>
                  <a:pt x="1284" y="2280"/>
                </a:lnTo>
                <a:lnTo>
                  <a:pt x="1266" y="2280"/>
                </a:lnTo>
                <a:lnTo>
                  <a:pt x="1260" y="2286"/>
                </a:lnTo>
                <a:lnTo>
                  <a:pt x="1272" y="2298"/>
                </a:lnTo>
                <a:lnTo>
                  <a:pt x="1284" y="2304"/>
                </a:lnTo>
                <a:lnTo>
                  <a:pt x="1284" y="2316"/>
                </a:lnTo>
                <a:lnTo>
                  <a:pt x="1290" y="2328"/>
                </a:lnTo>
                <a:lnTo>
                  <a:pt x="1290" y="2334"/>
                </a:lnTo>
                <a:lnTo>
                  <a:pt x="1278" y="2346"/>
                </a:lnTo>
                <a:lnTo>
                  <a:pt x="1266" y="2346"/>
                </a:lnTo>
                <a:lnTo>
                  <a:pt x="1254" y="2352"/>
                </a:lnTo>
                <a:lnTo>
                  <a:pt x="1224" y="2352"/>
                </a:lnTo>
                <a:lnTo>
                  <a:pt x="1212" y="2364"/>
                </a:lnTo>
                <a:lnTo>
                  <a:pt x="1212" y="2370"/>
                </a:lnTo>
                <a:lnTo>
                  <a:pt x="1206" y="2376"/>
                </a:lnTo>
                <a:lnTo>
                  <a:pt x="1188" y="2376"/>
                </a:lnTo>
                <a:lnTo>
                  <a:pt x="1188" y="2412"/>
                </a:lnTo>
                <a:lnTo>
                  <a:pt x="1194" y="2412"/>
                </a:lnTo>
                <a:lnTo>
                  <a:pt x="1200" y="2406"/>
                </a:lnTo>
                <a:lnTo>
                  <a:pt x="1212" y="2406"/>
                </a:lnTo>
                <a:lnTo>
                  <a:pt x="1224" y="2400"/>
                </a:lnTo>
                <a:lnTo>
                  <a:pt x="1254" y="2400"/>
                </a:lnTo>
                <a:lnTo>
                  <a:pt x="1254" y="2412"/>
                </a:lnTo>
                <a:lnTo>
                  <a:pt x="1248" y="2418"/>
                </a:lnTo>
                <a:lnTo>
                  <a:pt x="1242" y="2430"/>
                </a:lnTo>
                <a:lnTo>
                  <a:pt x="1230" y="2436"/>
                </a:lnTo>
                <a:lnTo>
                  <a:pt x="1224" y="2442"/>
                </a:lnTo>
                <a:lnTo>
                  <a:pt x="1170" y="2454"/>
                </a:lnTo>
                <a:lnTo>
                  <a:pt x="1218" y="2490"/>
                </a:lnTo>
                <a:lnTo>
                  <a:pt x="1212" y="2490"/>
                </a:lnTo>
                <a:lnTo>
                  <a:pt x="1206" y="2496"/>
                </a:lnTo>
                <a:lnTo>
                  <a:pt x="1194" y="2496"/>
                </a:lnTo>
                <a:lnTo>
                  <a:pt x="1188" y="2502"/>
                </a:lnTo>
                <a:lnTo>
                  <a:pt x="1176" y="2526"/>
                </a:lnTo>
                <a:lnTo>
                  <a:pt x="1176" y="2544"/>
                </a:lnTo>
                <a:lnTo>
                  <a:pt x="1164" y="2550"/>
                </a:lnTo>
                <a:lnTo>
                  <a:pt x="1158" y="2556"/>
                </a:lnTo>
                <a:lnTo>
                  <a:pt x="1146" y="2556"/>
                </a:lnTo>
                <a:lnTo>
                  <a:pt x="1140" y="2550"/>
                </a:lnTo>
                <a:lnTo>
                  <a:pt x="1128" y="2544"/>
                </a:lnTo>
                <a:lnTo>
                  <a:pt x="1122" y="2538"/>
                </a:lnTo>
                <a:lnTo>
                  <a:pt x="1116" y="2556"/>
                </a:lnTo>
                <a:lnTo>
                  <a:pt x="1122" y="2562"/>
                </a:lnTo>
                <a:lnTo>
                  <a:pt x="1128" y="2574"/>
                </a:lnTo>
                <a:lnTo>
                  <a:pt x="1134" y="2580"/>
                </a:lnTo>
                <a:lnTo>
                  <a:pt x="1146" y="2580"/>
                </a:lnTo>
                <a:lnTo>
                  <a:pt x="1146" y="2586"/>
                </a:lnTo>
                <a:lnTo>
                  <a:pt x="1152" y="2598"/>
                </a:lnTo>
                <a:lnTo>
                  <a:pt x="1158" y="2604"/>
                </a:lnTo>
                <a:lnTo>
                  <a:pt x="1194" y="2604"/>
                </a:lnTo>
                <a:lnTo>
                  <a:pt x="1200" y="2610"/>
                </a:lnTo>
                <a:lnTo>
                  <a:pt x="1212" y="2616"/>
                </a:lnTo>
                <a:lnTo>
                  <a:pt x="1218" y="2628"/>
                </a:lnTo>
                <a:lnTo>
                  <a:pt x="1224" y="2634"/>
                </a:lnTo>
                <a:lnTo>
                  <a:pt x="1254" y="2634"/>
                </a:lnTo>
                <a:lnTo>
                  <a:pt x="1272" y="2652"/>
                </a:lnTo>
                <a:lnTo>
                  <a:pt x="1278" y="2664"/>
                </a:lnTo>
                <a:lnTo>
                  <a:pt x="1290" y="2670"/>
                </a:lnTo>
                <a:lnTo>
                  <a:pt x="1314" y="2694"/>
                </a:lnTo>
                <a:lnTo>
                  <a:pt x="1320" y="2694"/>
                </a:lnTo>
                <a:lnTo>
                  <a:pt x="1332" y="2700"/>
                </a:lnTo>
                <a:lnTo>
                  <a:pt x="1338" y="2700"/>
                </a:lnTo>
                <a:lnTo>
                  <a:pt x="1350" y="2706"/>
                </a:lnTo>
                <a:lnTo>
                  <a:pt x="1344" y="2706"/>
                </a:lnTo>
                <a:lnTo>
                  <a:pt x="1368" y="2688"/>
                </a:lnTo>
                <a:lnTo>
                  <a:pt x="1380" y="2688"/>
                </a:lnTo>
                <a:lnTo>
                  <a:pt x="1398" y="2694"/>
                </a:lnTo>
                <a:lnTo>
                  <a:pt x="1410" y="2700"/>
                </a:lnTo>
                <a:lnTo>
                  <a:pt x="1428" y="2706"/>
                </a:lnTo>
                <a:lnTo>
                  <a:pt x="1488" y="2718"/>
                </a:lnTo>
                <a:lnTo>
                  <a:pt x="1524" y="2718"/>
                </a:lnTo>
                <a:lnTo>
                  <a:pt x="1530" y="2724"/>
                </a:lnTo>
                <a:lnTo>
                  <a:pt x="1536" y="2724"/>
                </a:lnTo>
                <a:lnTo>
                  <a:pt x="1584" y="2754"/>
                </a:lnTo>
                <a:lnTo>
                  <a:pt x="1584" y="2760"/>
                </a:lnTo>
                <a:lnTo>
                  <a:pt x="1590" y="2760"/>
                </a:lnTo>
                <a:lnTo>
                  <a:pt x="1602" y="2766"/>
                </a:lnTo>
                <a:lnTo>
                  <a:pt x="1626" y="2766"/>
                </a:lnTo>
                <a:lnTo>
                  <a:pt x="1632" y="2760"/>
                </a:lnTo>
                <a:lnTo>
                  <a:pt x="1644" y="2760"/>
                </a:lnTo>
                <a:lnTo>
                  <a:pt x="1644" y="2754"/>
                </a:lnTo>
                <a:lnTo>
                  <a:pt x="1674" y="2754"/>
                </a:lnTo>
                <a:lnTo>
                  <a:pt x="1686" y="2760"/>
                </a:lnTo>
                <a:lnTo>
                  <a:pt x="1698" y="2772"/>
                </a:lnTo>
                <a:lnTo>
                  <a:pt x="1728" y="2778"/>
                </a:lnTo>
                <a:lnTo>
                  <a:pt x="1728" y="2790"/>
                </a:lnTo>
                <a:lnTo>
                  <a:pt x="1722" y="2796"/>
                </a:lnTo>
                <a:lnTo>
                  <a:pt x="1722" y="2802"/>
                </a:lnTo>
                <a:lnTo>
                  <a:pt x="1740" y="2802"/>
                </a:lnTo>
                <a:lnTo>
                  <a:pt x="1752" y="2814"/>
                </a:lnTo>
                <a:lnTo>
                  <a:pt x="1764" y="2820"/>
                </a:lnTo>
                <a:lnTo>
                  <a:pt x="1776" y="2832"/>
                </a:lnTo>
                <a:lnTo>
                  <a:pt x="1788" y="2826"/>
                </a:lnTo>
                <a:lnTo>
                  <a:pt x="1794" y="2826"/>
                </a:lnTo>
                <a:lnTo>
                  <a:pt x="1818" y="2838"/>
                </a:lnTo>
                <a:lnTo>
                  <a:pt x="1836" y="2856"/>
                </a:lnTo>
                <a:lnTo>
                  <a:pt x="1842" y="2868"/>
                </a:lnTo>
                <a:lnTo>
                  <a:pt x="1854" y="2874"/>
                </a:lnTo>
                <a:lnTo>
                  <a:pt x="1860" y="2880"/>
                </a:lnTo>
                <a:lnTo>
                  <a:pt x="1884" y="2880"/>
                </a:lnTo>
                <a:lnTo>
                  <a:pt x="1890" y="2874"/>
                </a:lnTo>
                <a:lnTo>
                  <a:pt x="1890" y="2862"/>
                </a:lnTo>
                <a:lnTo>
                  <a:pt x="1908" y="2862"/>
                </a:lnTo>
                <a:lnTo>
                  <a:pt x="1914" y="2856"/>
                </a:lnTo>
                <a:lnTo>
                  <a:pt x="1914" y="2826"/>
                </a:lnTo>
                <a:lnTo>
                  <a:pt x="1908" y="2820"/>
                </a:lnTo>
                <a:lnTo>
                  <a:pt x="1908" y="2814"/>
                </a:lnTo>
                <a:lnTo>
                  <a:pt x="1896" y="2802"/>
                </a:lnTo>
                <a:lnTo>
                  <a:pt x="1890" y="2790"/>
                </a:lnTo>
                <a:lnTo>
                  <a:pt x="1884" y="2784"/>
                </a:lnTo>
                <a:lnTo>
                  <a:pt x="1872" y="2778"/>
                </a:lnTo>
                <a:lnTo>
                  <a:pt x="1866" y="2772"/>
                </a:lnTo>
                <a:lnTo>
                  <a:pt x="1854" y="2772"/>
                </a:lnTo>
                <a:lnTo>
                  <a:pt x="1854" y="2748"/>
                </a:lnTo>
                <a:lnTo>
                  <a:pt x="1848" y="2742"/>
                </a:lnTo>
                <a:lnTo>
                  <a:pt x="1836" y="2736"/>
                </a:lnTo>
                <a:lnTo>
                  <a:pt x="1830" y="2724"/>
                </a:lnTo>
                <a:lnTo>
                  <a:pt x="1824" y="2718"/>
                </a:lnTo>
                <a:lnTo>
                  <a:pt x="1824" y="2706"/>
                </a:lnTo>
                <a:lnTo>
                  <a:pt x="1830" y="2694"/>
                </a:lnTo>
                <a:lnTo>
                  <a:pt x="1830" y="2682"/>
                </a:lnTo>
                <a:lnTo>
                  <a:pt x="1818" y="2658"/>
                </a:lnTo>
                <a:lnTo>
                  <a:pt x="1812" y="2652"/>
                </a:lnTo>
                <a:lnTo>
                  <a:pt x="1806" y="2640"/>
                </a:lnTo>
                <a:lnTo>
                  <a:pt x="1794" y="2634"/>
                </a:lnTo>
                <a:lnTo>
                  <a:pt x="1788" y="2628"/>
                </a:lnTo>
                <a:lnTo>
                  <a:pt x="1776" y="2628"/>
                </a:lnTo>
                <a:lnTo>
                  <a:pt x="1758" y="2622"/>
                </a:lnTo>
                <a:lnTo>
                  <a:pt x="1758" y="2604"/>
                </a:lnTo>
                <a:lnTo>
                  <a:pt x="1794" y="2568"/>
                </a:lnTo>
                <a:lnTo>
                  <a:pt x="1800" y="2556"/>
                </a:lnTo>
                <a:lnTo>
                  <a:pt x="1806" y="2550"/>
                </a:lnTo>
                <a:lnTo>
                  <a:pt x="1806" y="2544"/>
                </a:lnTo>
                <a:lnTo>
                  <a:pt x="1800" y="2532"/>
                </a:lnTo>
                <a:lnTo>
                  <a:pt x="1788" y="2520"/>
                </a:lnTo>
                <a:lnTo>
                  <a:pt x="1800" y="2520"/>
                </a:lnTo>
                <a:lnTo>
                  <a:pt x="1812" y="2526"/>
                </a:lnTo>
                <a:lnTo>
                  <a:pt x="1830" y="2526"/>
                </a:lnTo>
                <a:lnTo>
                  <a:pt x="1842" y="2514"/>
                </a:lnTo>
                <a:lnTo>
                  <a:pt x="1872" y="2514"/>
                </a:lnTo>
                <a:lnTo>
                  <a:pt x="1878" y="2508"/>
                </a:lnTo>
                <a:lnTo>
                  <a:pt x="1860" y="2490"/>
                </a:lnTo>
                <a:lnTo>
                  <a:pt x="1890" y="2490"/>
                </a:lnTo>
                <a:lnTo>
                  <a:pt x="1890" y="2472"/>
                </a:lnTo>
                <a:lnTo>
                  <a:pt x="1878" y="2472"/>
                </a:lnTo>
                <a:lnTo>
                  <a:pt x="1854" y="2460"/>
                </a:lnTo>
                <a:lnTo>
                  <a:pt x="1842" y="2448"/>
                </a:lnTo>
                <a:lnTo>
                  <a:pt x="1842" y="2442"/>
                </a:lnTo>
                <a:lnTo>
                  <a:pt x="1878" y="2442"/>
                </a:lnTo>
                <a:lnTo>
                  <a:pt x="1878" y="2430"/>
                </a:lnTo>
                <a:lnTo>
                  <a:pt x="1866" y="2418"/>
                </a:lnTo>
                <a:lnTo>
                  <a:pt x="1860" y="2406"/>
                </a:lnTo>
                <a:lnTo>
                  <a:pt x="1812" y="2358"/>
                </a:lnTo>
                <a:lnTo>
                  <a:pt x="1800" y="2358"/>
                </a:lnTo>
                <a:lnTo>
                  <a:pt x="1788" y="2364"/>
                </a:lnTo>
                <a:lnTo>
                  <a:pt x="1746" y="2364"/>
                </a:lnTo>
                <a:lnTo>
                  <a:pt x="1740" y="2358"/>
                </a:lnTo>
                <a:lnTo>
                  <a:pt x="1740" y="2328"/>
                </a:lnTo>
                <a:lnTo>
                  <a:pt x="1734" y="2322"/>
                </a:lnTo>
                <a:lnTo>
                  <a:pt x="1710" y="2322"/>
                </a:lnTo>
                <a:lnTo>
                  <a:pt x="1704" y="2316"/>
                </a:lnTo>
                <a:lnTo>
                  <a:pt x="1698" y="2316"/>
                </a:lnTo>
                <a:lnTo>
                  <a:pt x="1698" y="2286"/>
                </a:lnTo>
                <a:lnTo>
                  <a:pt x="1710" y="2262"/>
                </a:lnTo>
                <a:lnTo>
                  <a:pt x="1710" y="2238"/>
                </a:lnTo>
                <a:lnTo>
                  <a:pt x="1704" y="2232"/>
                </a:lnTo>
                <a:lnTo>
                  <a:pt x="1698" y="2196"/>
                </a:lnTo>
                <a:lnTo>
                  <a:pt x="1722" y="2196"/>
                </a:lnTo>
                <a:lnTo>
                  <a:pt x="1722" y="2172"/>
                </a:lnTo>
                <a:lnTo>
                  <a:pt x="1716" y="2166"/>
                </a:lnTo>
                <a:lnTo>
                  <a:pt x="1716" y="2154"/>
                </a:lnTo>
                <a:lnTo>
                  <a:pt x="1722" y="2148"/>
                </a:lnTo>
                <a:lnTo>
                  <a:pt x="1734" y="2148"/>
                </a:lnTo>
                <a:lnTo>
                  <a:pt x="1746" y="2154"/>
                </a:lnTo>
                <a:lnTo>
                  <a:pt x="1758" y="2166"/>
                </a:lnTo>
                <a:lnTo>
                  <a:pt x="1770" y="2172"/>
                </a:lnTo>
                <a:lnTo>
                  <a:pt x="1776" y="2184"/>
                </a:lnTo>
                <a:lnTo>
                  <a:pt x="1788" y="2190"/>
                </a:lnTo>
                <a:lnTo>
                  <a:pt x="1800" y="2190"/>
                </a:lnTo>
                <a:lnTo>
                  <a:pt x="1806" y="2184"/>
                </a:lnTo>
                <a:lnTo>
                  <a:pt x="1812" y="2172"/>
                </a:lnTo>
                <a:lnTo>
                  <a:pt x="1818" y="2166"/>
                </a:lnTo>
                <a:lnTo>
                  <a:pt x="1812" y="2154"/>
                </a:lnTo>
                <a:lnTo>
                  <a:pt x="1800" y="2142"/>
                </a:lnTo>
                <a:lnTo>
                  <a:pt x="1830" y="2130"/>
                </a:lnTo>
                <a:lnTo>
                  <a:pt x="1830" y="2106"/>
                </a:lnTo>
                <a:lnTo>
                  <a:pt x="1836" y="2106"/>
                </a:lnTo>
                <a:lnTo>
                  <a:pt x="1848" y="2100"/>
                </a:lnTo>
                <a:lnTo>
                  <a:pt x="1860" y="2100"/>
                </a:lnTo>
                <a:lnTo>
                  <a:pt x="1872" y="2094"/>
                </a:lnTo>
                <a:lnTo>
                  <a:pt x="1884" y="2082"/>
                </a:lnTo>
                <a:lnTo>
                  <a:pt x="1884" y="2064"/>
                </a:lnTo>
                <a:lnTo>
                  <a:pt x="1878" y="2058"/>
                </a:lnTo>
                <a:lnTo>
                  <a:pt x="1878" y="2052"/>
                </a:lnTo>
                <a:lnTo>
                  <a:pt x="1908" y="2052"/>
                </a:lnTo>
                <a:lnTo>
                  <a:pt x="1920" y="2058"/>
                </a:lnTo>
                <a:lnTo>
                  <a:pt x="1926" y="2058"/>
                </a:lnTo>
                <a:lnTo>
                  <a:pt x="1926" y="2064"/>
                </a:lnTo>
                <a:lnTo>
                  <a:pt x="1932" y="2070"/>
                </a:lnTo>
                <a:lnTo>
                  <a:pt x="1962" y="2070"/>
                </a:lnTo>
                <a:lnTo>
                  <a:pt x="1974" y="2058"/>
                </a:lnTo>
                <a:lnTo>
                  <a:pt x="1986" y="2052"/>
                </a:lnTo>
                <a:lnTo>
                  <a:pt x="2004" y="2052"/>
                </a:lnTo>
                <a:lnTo>
                  <a:pt x="2010" y="2058"/>
                </a:lnTo>
                <a:lnTo>
                  <a:pt x="2016" y="2070"/>
                </a:lnTo>
                <a:lnTo>
                  <a:pt x="2076" y="2070"/>
                </a:lnTo>
                <a:lnTo>
                  <a:pt x="2082" y="2076"/>
                </a:lnTo>
                <a:lnTo>
                  <a:pt x="2082" y="2082"/>
                </a:lnTo>
                <a:lnTo>
                  <a:pt x="2088" y="2094"/>
                </a:lnTo>
                <a:lnTo>
                  <a:pt x="2124" y="2094"/>
                </a:lnTo>
                <a:lnTo>
                  <a:pt x="2136" y="2124"/>
                </a:lnTo>
                <a:lnTo>
                  <a:pt x="2136" y="2130"/>
                </a:lnTo>
                <a:lnTo>
                  <a:pt x="2148" y="2142"/>
                </a:lnTo>
                <a:lnTo>
                  <a:pt x="2160" y="2142"/>
                </a:lnTo>
                <a:lnTo>
                  <a:pt x="2160" y="2124"/>
                </a:lnTo>
                <a:lnTo>
                  <a:pt x="2148" y="2112"/>
                </a:lnTo>
                <a:lnTo>
                  <a:pt x="2148" y="2106"/>
                </a:lnTo>
                <a:lnTo>
                  <a:pt x="2160" y="2106"/>
                </a:lnTo>
                <a:lnTo>
                  <a:pt x="2232" y="2142"/>
                </a:lnTo>
                <a:lnTo>
                  <a:pt x="2238" y="2136"/>
                </a:lnTo>
                <a:lnTo>
                  <a:pt x="2244" y="2124"/>
                </a:lnTo>
                <a:lnTo>
                  <a:pt x="2256" y="2118"/>
                </a:lnTo>
                <a:lnTo>
                  <a:pt x="2268" y="2106"/>
                </a:lnTo>
                <a:lnTo>
                  <a:pt x="2280" y="2100"/>
                </a:lnTo>
                <a:lnTo>
                  <a:pt x="2286" y="2100"/>
                </a:lnTo>
                <a:lnTo>
                  <a:pt x="2322" y="2118"/>
                </a:lnTo>
                <a:lnTo>
                  <a:pt x="2334" y="2118"/>
                </a:lnTo>
                <a:lnTo>
                  <a:pt x="2352" y="2112"/>
                </a:lnTo>
                <a:lnTo>
                  <a:pt x="2364" y="2106"/>
                </a:lnTo>
                <a:lnTo>
                  <a:pt x="2370" y="2100"/>
                </a:lnTo>
                <a:lnTo>
                  <a:pt x="2382" y="2100"/>
                </a:lnTo>
                <a:lnTo>
                  <a:pt x="2388" y="2106"/>
                </a:lnTo>
                <a:lnTo>
                  <a:pt x="2400" y="2112"/>
                </a:lnTo>
                <a:lnTo>
                  <a:pt x="2406" y="2124"/>
                </a:lnTo>
                <a:lnTo>
                  <a:pt x="2430" y="2136"/>
                </a:lnTo>
                <a:lnTo>
                  <a:pt x="2454" y="2136"/>
                </a:lnTo>
                <a:lnTo>
                  <a:pt x="2466" y="2142"/>
                </a:lnTo>
                <a:lnTo>
                  <a:pt x="2478" y="2142"/>
                </a:lnTo>
                <a:lnTo>
                  <a:pt x="2490" y="2118"/>
                </a:lnTo>
                <a:lnTo>
                  <a:pt x="2496" y="2124"/>
                </a:lnTo>
                <a:lnTo>
                  <a:pt x="2508" y="2124"/>
                </a:lnTo>
                <a:lnTo>
                  <a:pt x="2514" y="2130"/>
                </a:lnTo>
                <a:lnTo>
                  <a:pt x="2526" y="2136"/>
                </a:lnTo>
                <a:lnTo>
                  <a:pt x="2562" y="2136"/>
                </a:lnTo>
                <a:lnTo>
                  <a:pt x="2568" y="2130"/>
                </a:lnTo>
                <a:lnTo>
                  <a:pt x="2574" y="2118"/>
                </a:lnTo>
                <a:lnTo>
                  <a:pt x="2574" y="2106"/>
                </a:lnTo>
                <a:lnTo>
                  <a:pt x="2568" y="2088"/>
                </a:lnTo>
                <a:lnTo>
                  <a:pt x="2544" y="2064"/>
                </a:lnTo>
                <a:lnTo>
                  <a:pt x="2532" y="2058"/>
                </a:lnTo>
                <a:lnTo>
                  <a:pt x="2514" y="2052"/>
                </a:lnTo>
                <a:lnTo>
                  <a:pt x="2490" y="2052"/>
                </a:lnTo>
                <a:lnTo>
                  <a:pt x="2460" y="2022"/>
                </a:lnTo>
                <a:lnTo>
                  <a:pt x="2472" y="2022"/>
                </a:lnTo>
                <a:lnTo>
                  <a:pt x="2484" y="2016"/>
                </a:lnTo>
                <a:lnTo>
                  <a:pt x="2496" y="2016"/>
                </a:lnTo>
                <a:lnTo>
                  <a:pt x="2508" y="2004"/>
                </a:lnTo>
                <a:lnTo>
                  <a:pt x="2508" y="1992"/>
                </a:lnTo>
                <a:lnTo>
                  <a:pt x="2502" y="1986"/>
                </a:lnTo>
                <a:lnTo>
                  <a:pt x="2496" y="1974"/>
                </a:lnTo>
                <a:lnTo>
                  <a:pt x="2490" y="1968"/>
                </a:lnTo>
                <a:lnTo>
                  <a:pt x="2502" y="1956"/>
                </a:lnTo>
                <a:lnTo>
                  <a:pt x="2556" y="1956"/>
                </a:lnTo>
                <a:lnTo>
                  <a:pt x="2544" y="1944"/>
                </a:lnTo>
                <a:lnTo>
                  <a:pt x="2532" y="1944"/>
                </a:lnTo>
                <a:lnTo>
                  <a:pt x="2508" y="1932"/>
                </a:lnTo>
                <a:lnTo>
                  <a:pt x="2496" y="1932"/>
                </a:lnTo>
                <a:lnTo>
                  <a:pt x="2508" y="1914"/>
                </a:lnTo>
                <a:lnTo>
                  <a:pt x="2484" y="1914"/>
                </a:lnTo>
                <a:lnTo>
                  <a:pt x="2484" y="1908"/>
                </a:lnTo>
                <a:lnTo>
                  <a:pt x="2478" y="1902"/>
                </a:lnTo>
                <a:lnTo>
                  <a:pt x="2478" y="1896"/>
                </a:lnTo>
                <a:lnTo>
                  <a:pt x="2490" y="1884"/>
                </a:lnTo>
                <a:lnTo>
                  <a:pt x="2526" y="1872"/>
                </a:lnTo>
                <a:lnTo>
                  <a:pt x="2586" y="1866"/>
                </a:lnTo>
                <a:lnTo>
                  <a:pt x="2640" y="1866"/>
                </a:lnTo>
                <a:lnTo>
                  <a:pt x="2646" y="1848"/>
                </a:lnTo>
                <a:lnTo>
                  <a:pt x="2712" y="1848"/>
                </a:lnTo>
                <a:lnTo>
                  <a:pt x="2712" y="1830"/>
                </a:lnTo>
                <a:lnTo>
                  <a:pt x="2718" y="1824"/>
                </a:lnTo>
                <a:lnTo>
                  <a:pt x="2808" y="1824"/>
                </a:lnTo>
                <a:lnTo>
                  <a:pt x="2862" y="1806"/>
                </a:lnTo>
                <a:lnTo>
                  <a:pt x="2874" y="1806"/>
                </a:lnTo>
                <a:lnTo>
                  <a:pt x="2874" y="1794"/>
                </a:lnTo>
                <a:lnTo>
                  <a:pt x="2886" y="1782"/>
                </a:lnTo>
                <a:lnTo>
                  <a:pt x="2898" y="1776"/>
                </a:lnTo>
                <a:lnTo>
                  <a:pt x="2916" y="1770"/>
                </a:lnTo>
                <a:lnTo>
                  <a:pt x="2940" y="1770"/>
                </a:lnTo>
                <a:lnTo>
                  <a:pt x="2958" y="1776"/>
                </a:lnTo>
                <a:lnTo>
                  <a:pt x="2976" y="1776"/>
                </a:lnTo>
                <a:lnTo>
                  <a:pt x="2988" y="1788"/>
                </a:lnTo>
                <a:lnTo>
                  <a:pt x="3000" y="1788"/>
                </a:lnTo>
                <a:lnTo>
                  <a:pt x="3012" y="1776"/>
                </a:lnTo>
                <a:lnTo>
                  <a:pt x="3018" y="1776"/>
                </a:lnTo>
                <a:lnTo>
                  <a:pt x="3036" y="1794"/>
                </a:lnTo>
                <a:lnTo>
                  <a:pt x="3042" y="1806"/>
                </a:lnTo>
                <a:lnTo>
                  <a:pt x="3048" y="1812"/>
                </a:lnTo>
                <a:lnTo>
                  <a:pt x="3060" y="1812"/>
                </a:lnTo>
                <a:lnTo>
                  <a:pt x="3066" y="1818"/>
                </a:lnTo>
                <a:lnTo>
                  <a:pt x="3066" y="1860"/>
                </a:lnTo>
                <a:lnTo>
                  <a:pt x="3072" y="1866"/>
                </a:lnTo>
                <a:lnTo>
                  <a:pt x="3090" y="1866"/>
                </a:lnTo>
                <a:lnTo>
                  <a:pt x="3102" y="1860"/>
                </a:lnTo>
                <a:lnTo>
                  <a:pt x="3120" y="1860"/>
                </a:lnTo>
                <a:lnTo>
                  <a:pt x="3132" y="1842"/>
                </a:lnTo>
                <a:lnTo>
                  <a:pt x="3156" y="1878"/>
                </a:lnTo>
                <a:lnTo>
                  <a:pt x="3180" y="1866"/>
                </a:lnTo>
                <a:lnTo>
                  <a:pt x="3204" y="1878"/>
                </a:lnTo>
                <a:lnTo>
                  <a:pt x="3210" y="1872"/>
                </a:lnTo>
                <a:lnTo>
                  <a:pt x="3216" y="1872"/>
                </a:lnTo>
                <a:lnTo>
                  <a:pt x="3228" y="1878"/>
                </a:lnTo>
                <a:lnTo>
                  <a:pt x="3228" y="1902"/>
                </a:lnTo>
                <a:lnTo>
                  <a:pt x="3222" y="1908"/>
                </a:lnTo>
                <a:lnTo>
                  <a:pt x="3222" y="1914"/>
                </a:lnTo>
                <a:lnTo>
                  <a:pt x="3228" y="1914"/>
                </a:lnTo>
                <a:lnTo>
                  <a:pt x="3234" y="1908"/>
                </a:lnTo>
                <a:lnTo>
                  <a:pt x="3240" y="1908"/>
                </a:lnTo>
                <a:lnTo>
                  <a:pt x="3246" y="1902"/>
                </a:lnTo>
                <a:lnTo>
                  <a:pt x="3252" y="1902"/>
                </a:lnTo>
                <a:lnTo>
                  <a:pt x="3258" y="1908"/>
                </a:lnTo>
                <a:lnTo>
                  <a:pt x="3270" y="1914"/>
                </a:lnTo>
                <a:lnTo>
                  <a:pt x="3276" y="1920"/>
                </a:lnTo>
                <a:lnTo>
                  <a:pt x="3288" y="1926"/>
                </a:lnTo>
                <a:lnTo>
                  <a:pt x="3300" y="1914"/>
                </a:lnTo>
                <a:lnTo>
                  <a:pt x="3300" y="1896"/>
                </a:lnTo>
                <a:lnTo>
                  <a:pt x="3306" y="1890"/>
                </a:lnTo>
                <a:lnTo>
                  <a:pt x="3318" y="1884"/>
                </a:lnTo>
                <a:lnTo>
                  <a:pt x="3330" y="1884"/>
                </a:lnTo>
                <a:lnTo>
                  <a:pt x="3342" y="1866"/>
                </a:lnTo>
                <a:lnTo>
                  <a:pt x="3378" y="1854"/>
                </a:lnTo>
                <a:lnTo>
                  <a:pt x="3396" y="1836"/>
                </a:lnTo>
                <a:lnTo>
                  <a:pt x="3402" y="1836"/>
                </a:lnTo>
                <a:lnTo>
                  <a:pt x="3408" y="1842"/>
                </a:lnTo>
                <a:lnTo>
                  <a:pt x="3408" y="1860"/>
                </a:lnTo>
                <a:lnTo>
                  <a:pt x="3396" y="1872"/>
                </a:lnTo>
                <a:lnTo>
                  <a:pt x="3390" y="1872"/>
                </a:lnTo>
                <a:lnTo>
                  <a:pt x="3426" y="1890"/>
                </a:lnTo>
                <a:lnTo>
                  <a:pt x="3456" y="1902"/>
                </a:lnTo>
                <a:lnTo>
                  <a:pt x="3486" y="1920"/>
                </a:lnTo>
                <a:lnTo>
                  <a:pt x="3498" y="1926"/>
                </a:lnTo>
                <a:lnTo>
                  <a:pt x="3516" y="1938"/>
                </a:lnTo>
                <a:lnTo>
                  <a:pt x="3546" y="1968"/>
                </a:lnTo>
                <a:lnTo>
                  <a:pt x="3618" y="2028"/>
                </a:lnTo>
                <a:lnTo>
                  <a:pt x="3636" y="2052"/>
                </a:lnTo>
                <a:lnTo>
                  <a:pt x="3672" y="2088"/>
                </a:lnTo>
                <a:lnTo>
                  <a:pt x="3684" y="2106"/>
                </a:lnTo>
                <a:lnTo>
                  <a:pt x="3696" y="2118"/>
                </a:lnTo>
                <a:lnTo>
                  <a:pt x="3708" y="2124"/>
                </a:lnTo>
                <a:lnTo>
                  <a:pt x="3720" y="2124"/>
                </a:lnTo>
                <a:lnTo>
                  <a:pt x="3732" y="2118"/>
                </a:lnTo>
                <a:lnTo>
                  <a:pt x="3744" y="2106"/>
                </a:lnTo>
                <a:lnTo>
                  <a:pt x="3744" y="2094"/>
                </a:lnTo>
                <a:lnTo>
                  <a:pt x="3750" y="2088"/>
                </a:lnTo>
                <a:lnTo>
                  <a:pt x="3750" y="2082"/>
                </a:lnTo>
                <a:lnTo>
                  <a:pt x="3762" y="2082"/>
                </a:lnTo>
                <a:lnTo>
                  <a:pt x="3768" y="2088"/>
                </a:lnTo>
                <a:lnTo>
                  <a:pt x="3768" y="2100"/>
                </a:lnTo>
                <a:lnTo>
                  <a:pt x="3774" y="2106"/>
                </a:lnTo>
                <a:lnTo>
                  <a:pt x="3774" y="2112"/>
                </a:lnTo>
                <a:lnTo>
                  <a:pt x="3804" y="2112"/>
                </a:lnTo>
                <a:lnTo>
                  <a:pt x="3816" y="2118"/>
                </a:lnTo>
                <a:lnTo>
                  <a:pt x="3822" y="2130"/>
                </a:lnTo>
                <a:lnTo>
                  <a:pt x="3834" y="2136"/>
                </a:lnTo>
                <a:lnTo>
                  <a:pt x="3858" y="2136"/>
                </a:lnTo>
                <a:lnTo>
                  <a:pt x="3864" y="2124"/>
                </a:lnTo>
                <a:lnTo>
                  <a:pt x="3876" y="2118"/>
                </a:lnTo>
                <a:lnTo>
                  <a:pt x="3894" y="2112"/>
                </a:lnTo>
                <a:lnTo>
                  <a:pt x="3906" y="2106"/>
                </a:lnTo>
                <a:lnTo>
                  <a:pt x="3924" y="2106"/>
                </a:lnTo>
                <a:lnTo>
                  <a:pt x="3948" y="2118"/>
                </a:lnTo>
                <a:lnTo>
                  <a:pt x="3972" y="2142"/>
                </a:lnTo>
                <a:lnTo>
                  <a:pt x="3984" y="2148"/>
                </a:lnTo>
                <a:lnTo>
                  <a:pt x="3990" y="2160"/>
                </a:lnTo>
                <a:lnTo>
                  <a:pt x="4002" y="2160"/>
                </a:lnTo>
                <a:lnTo>
                  <a:pt x="4014" y="2166"/>
                </a:lnTo>
                <a:lnTo>
                  <a:pt x="4026" y="2166"/>
                </a:lnTo>
                <a:lnTo>
                  <a:pt x="4038" y="2172"/>
                </a:lnTo>
                <a:lnTo>
                  <a:pt x="4044" y="2172"/>
                </a:lnTo>
                <a:lnTo>
                  <a:pt x="4044" y="2178"/>
                </a:lnTo>
                <a:lnTo>
                  <a:pt x="4050" y="2190"/>
                </a:lnTo>
                <a:lnTo>
                  <a:pt x="4056" y="2196"/>
                </a:lnTo>
                <a:lnTo>
                  <a:pt x="4062" y="2208"/>
                </a:lnTo>
                <a:lnTo>
                  <a:pt x="4068" y="2214"/>
                </a:lnTo>
                <a:lnTo>
                  <a:pt x="4068" y="2220"/>
                </a:lnTo>
                <a:lnTo>
                  <a:pt x="4140" y="2226"/>
                </a:lnTo>
                <a:lnTo>
                  <a:pt x="4152" y="2190"/>
                </a:lnTo>
                <a:lnTo>
                  <a:pt x="4176" y="2214"/>
                </a:lnTo>
                <a:lnTo>
                  <a:pt x="4212" y="2256"/>
                </a:lnTo>
                <a:lnTo>
                  <a:pt x="4254" y="2256"/>
                </a:lnTo>
                <a:lnTo>
                  <a:pt x="4266" y="2244"/>
                </a:lnTo>
                <a:lnTo>
                  <a:pt x="4266" y="2226"/>
                </a:lnTo>
                <a:lnTo>
                  <a:pt x="4326" y="2226"/>
                </a:lnTo>
                <a:lnTo>
                  <a:pt x="4320" y="2214"/>
                </a:lnTo>
                <a:lnTo>
                  <a:pt x="4344" y="2214"/>
                </a:lnTo>
                <a:lnTo>
                  <a:pt x="4338" y="2208"/>
                </a:lnTo>
                <a:lnTo>
                  <a:pt x="4338" y="2202"/>
                </a:lnTo>
                <a:lnTo>
                  <a:pt x="4374" y="2166"/>
                </a:lnTo>
                <a:lnTo>
                  <a:pt x="4392" y="2166"/>
                </a:lnTo>
                <a:lnTo>
                  <a:pt x="4404" y="2148"/>
                </a:lnTo>
                <a:lnTo>
                  <a:pt x="4428" y="2148"/>
                </a:lnTo>
                <a:lnTo>
                  <a:pt x="4428" y="2142"/>
                </a:lnTo>
                <a:lnTo>
                  <a:pt x="4434" y="2136"/>
                </a:lnTo>
                <a:lnTo>
                  <a:pt x="4434" y="2130"/>
                </a:lnTo>
                <a:lnTo>
                  <a:pt x="4440" y="2124"/>
                </a:lnTo>
                <a:lnTo>
                  <a:pt x="4458" y="2124"/>
                </a:lnTo>
                <a:lnTo>
                  <a:pt x="4464" y="2130"/>
                </a:lnTo>
                <a:lnTo>
                  <a:pt x="4482" y="2124"/>
                </a:lnTo>
                <a:lnTo>
                  <a:pt x="4482" y="2130"/>
                </a:lnTo>
                <a:lnTo>
                  <a:pt x="4518" y="2130"/>
                </a:lnTo>
                <a:lnTo>
                  <a:pt x="4524" y="2148"/>
                </a:lnTo>
                <a:lnTo>
                  <a:pt x="4548" y="2148"/>
                </a:lnTo>
                <a:lnTo>
                  <a:pt x="4566" y="2142"/>
                </a:lnTo>
                <a:lnTo>
                  <a:pt x="4608" y="2142"/>
                </a:lnTo>
                <a:lnTo>
                  <a:pt x="4608" y="2148"/>
                </a:lnTo>
                <a:lnTo>
                  <a:pt x="4614" y="2154"/>
                </a:lnTo>
                <a:lnTo>
                  <a:pt x="4614" y="2166"/>
                </a:lnTo>
                <a:lnTo>
                  <a:pt x="4620" y="2172"/>
                </a:lnTo>
                <a:lnTo>
                  <a:pt x="4638" y="2178"/>
                </a:lnTo>
                <a:lnTo>
                  <a:pt x="4668" y="2178"/>
                </a:lnTo>
                <a:lnTo>
                  <a:pt x="4674" y="2190"/>
                </a:lnTo>
                <a:lnTo>
                  <a:pt x="4698" y="2184"/>
                </a:lnTo>
                <a:lnTo>
                  <a:pt x="4704" y="2196"/>
                </a:lnTo>
                <a:lnTo>
                  <a:pt x="4704" y="2190"/>
                </a:lnTo>
                <a:lnTo>
                  <a:pt x="4710" y="2184"/>
                </a:lnTo>
                <a:lnTo>
                  <a:pt x="4752" y="2184"/>
                </a:lnTo>
                <a:lnTo>
                  <a:pt x="4752" y="2196"/>
                </a:lnTo>
                <a:lnTo>
                  <a:pt x="4800" y="2190"/>
                </a:lnTo>
                <a:lnTo>
                  <a:pt x="4800" y="2202"/>
                </a:lnTo>
                <a:lnTo>
                  <a:pt x="4806" y="2208"/>
                </a:lnTo>
                <a:lnTo>
                  <a:pt x="4830" y="2196"/>
                </a:lnTo>
                <a:lnTo>
                  <a:pt x="4836" y="2190"/>
                </a:lnTo>
                <a:lnTo>
                  <a:pt x="4836" y="2184"/>
                </a:lnTo>
                <a:lnTo>
                  <a:pt x="4854" y="2184"/>
                </a:lnTo>
                <a:lnTo>
                  <a:pt x="4854" y="2160"/>
                </a:lnTo>
                <a:lnTo>
                  <a:pt x="4848" y="2148"/>
                </a:lnTo>
                <a:lnTo>
                  <a:pt x="4842" y="2142"/>
                </a:lnTo>
                <a:lnTo>
                  <a:pt x="4836" y="2142"/>
                </a:lnTo>
                <a:lnTo>
                  <a:pt x="4812" y="2106"/>
                </a:lnTo>
                <a:lnTo>
                  <a:pt x="4806" y="2088"/>
                </a:lnTo>
                <a:lnTo>
                  <a:pt x="4794" y="2076"/>
                </a:lnTo>
                <a:lnTo>
                  <a:pt x="4794" y="2064"/>
                </a:lnTo>
                <a:lnTo>
                  <a:pt x="4812" y="2064"/>
                </a:lnTo>
                <a:lnTo>
                  <a:pt x="4806" y="2052"/>
                </a:lnTo>
                <a:lnTo>
                  <a:pt x="4812" y="2052"/>
                </a:lnTo>
                <a:lnTo>
                  <a:pt x="4824" y="2046"/>
                </a:lnTo>
                <a:lnTo>
                  <a:pt x="4830" y="2034"/>
                </a:lnTo>
                <a:lnTo>
                  <a:pt x="4830" y="2016"/>
                </a:lnTo>
                <a:lnTo>
                  <a:pt x="4890" y="2046"/>
                </a:lnTo>
                <a:lnTo>
                  <a:pt x="4902" y="2046"/>
                </a:lnTo>
                <a:lnTo>
                  <a:pt x="4926" y="2052"/>
                </a:lnTo>
                <a:lnTo>
                  <a:pt x="4962" y="2052"/>
                </a:lnTo>
                <a:lnTo>
                  <a:pt x="4974" y="2058"/>
                </a:lnTo>
                <a:lnTo>
                  <a:pt x="4980" y="2064"/>
                </a:lnTo>
                <a:lnTo>
                  <a:pt x="5004" y="2076"/>
                </a:lnTo>
                <a:lnTo>
                  <a:pt x="5010" y="2076"/>
                </a:lnTo>
                <a:lnTo>
                  <a:pt x="5022" y="2070"/>
                </a:lnTo>
                <a:lnTo>
                  <a:pt x="5040" y="2070"/>
                </a:lnTo>
                <a:lnTo>
                  <a:pt x="5052" y="2076"/>
                </a:lnTo>
                <a:lnTo>
                  <a:pt x="5058" y="2082"/>
                </a:lnTo>
                <a:lnTo>
                  <a:pt x="5064" y="2094"/>
                </a:lnTo>
                <a:lnTo>
                  <a:pt x="5076" y="2106"/>
                </a:lnTo>
                <a:lnTo>
                  <a:pt x="5088" y="2130"/>
                </a:lnTo>
                <a:lnTo>
                  <a:pt x="5094" y="2136"/>
                </a:lnTo>
                <a:lnTo>
                  <a:pt x="5094" y="2142"/>
                </a:lnTo>
                <a:lnTo>
                  <a:pt x="5118" y="2136"/>
                </a:lnTo>
                <a:lnTo>
                  <a:pt x="5118" y="2142"/>
                </a:lnTo>
                <a:lnTo>
                  <a:pt x="5136" y="2160"/>
                </a:lnTo>
                <a:lnTo>
                  <a:pt x="5166" y="2160"/>
                </a:lnTo>
                <a:lnTo>
                  <a:pt x="5172" y="2166"/>
                </a:lnTo>
                <a:lnTo>
                  <a:pt x="5184" y="2166"/>
                </a:lnTo>
                <a:lnTo>
                  <a:pt x="5196" y="2172"/>
                </a:lnTo>
                <a:lnTo>
                  <a:pt x="5208" y="2172"/>
                </a:lnTo>
                <a:lnTo>
                  <a:pt x="5220" y="2166"/>
                </a:lnTo>
                <a:lnTo>
                  <a:pt x="5274" y="2148"/>
                </a:lnTo>
                <a:lnTo>
                  <a:pt x="5322" y="2148"/>
                </a:lnTo>
                <a:lnTo>
                  <a:pt x="5334" y="2154"/>
                </a:lnTo>
                <a:lnTo>
                  <a:pt x="5340" y="2154"/>
                </a:lnTo>
                <a:lnTo>
                  <a:pt x="5346" y="2160"/>
                </a:lnTo>
                <a:lnTo>
                  <a:pt x="5382" y="2160"/>
                </a:lnTo>
                <a:lnTo>
                  <a:pt x="5406" y="2184"/>
                </a:lnTo>
                <a:lnTo>
                  <a:pt x="5466" y="2184"/>
                </a:lnTo>
                <a:lnTo>
                  <a:pt x="5472" y="2190"/>
                </a:lnTo>
                <a:lnTo>
                  <a:pt x="5472" y="2196"/>
                </a:lnTo>
                <a:lnTo>
                  <a:pt x="5484" y="2208"/>
                </a:lnTo>
                <a:lnTo>
                  <a:pt x="5484" y="2214"/>
                </a:lnTo>
                <a:lnTo>
                  <a:pt x="5502" y="2214"/>
                </a:lnTo>
                <a:lnTo>
                  <a:pt x="5514" y="2220"/>
                </a:lnTo>
                <a:lnTo>
                  <a:pt x="5514" y="2232"/>
                </a:lnTo>
                <a:lnTo>
                  <a:pt x="5520" y="2238"/>
                </a:lnTo>
                <a:lnTo>
                  <a:pt x="5586" y="2238"/>
                </a:lnTo>
                <a:lnTo>
                  <a:pt x="5592" y="2244"/>
                </a:lnTo>
                <a:lnTo>
                  <a:pt x="5598" y="2244"/>
                </a:lnTo>
                <a:lnTo>
                  <a:pt x="5610" y="2250"/>
                </a:lnTo>
                <a:lnTo>
                  <a:pt x="5634" y="2250"/>
                </a:lnTo>
                <a:lnTo>
                  <a:pt x="5646" y="2244"/>
                </a:lnTo>
                <a:lnTo>
                  <a:pt x="5664" y="2244"/>
                </a:lnTo>
                <a:lnTo>
                  <a:pt x="5670" y="2250"/>
                </a:lnTo>
                <a:lnTo>
                  <a:pt x="5670" y="2256"/>
                </a:lnTo>
                <a:lnTo>
                  <a:pt x="5676" y="2256"/>
                </a:lnTo>
                <a:lnTo>
                  <a:pt x="5694" y="2238"/>
                </a:lnTo>
                <a:lnTo>
                  <a:pt x="5694" y="2232"/>
                </a:lnTo>
                <a:lnTo>
                  <a:pt x="5742" y="2232"/>
                </a:lnTo>
                <a:lnTo>
                  <a:pt x="5754" y="2220"/>
                </a:lnTo>
                <a:lnTo>
                  <a:pt x="5790" y="2220"/>
                </a:lnTo>
                <a:lnTo>
                  <a:pt x="5802" y="2208"/>
                </a:lnTo>
                <a:lnTo>
                  <a:pt x="5802" y="2196"/>
                </a:lnTo>
                <a:lnTo>
                  <a:pt x="5832" y="2166"/>
                </a:lnTo>
                <a:lnTo>
                  <a:pt x="5850" y="2166"/>
                </a:lnTo>
                <a:lnTo>
                  <a:pt x="5862" y="2172"/>
                </a:lnTo>
                <a:lnTo>
                  <a:pt x="5898" y="2172"/>
                </a:lnTo>
                <a:lnTo>
                  <a:pt x="5916" y="2190"/>
                </a:lnTo>
                <a:lnTo>
                  <a:pt x="5928" y="2196"/>
                </a:lnTo>
                <a:lnTo>
                  <a:pt x="5952" y="2196"/>
                </a:lnTo>
                <a:lnTo>
                  <a:pt x="5964" y="2190"/>
                </a:lnTo>
                <a:lnTo>
                  <a:pt x="5970" y="2184"/>
                </a:lnTo>
                <a:lnTo>
                  <a:pt x="5994" y="2190"/>
                </a:lnTo>
                <a:lnTo>
                  <a:pt x="6012" y="2190"/>
                </a:lnTo>
                <a:lnTo>
                  <a:pt x="6048" y="2214"/>
                </a:lnTo>
                <a:lnTo>
                  <a:pt x="6084" y="2214"/>
                </a:lnTo>
                <a:lnTo>
                  <a:pt x="6090" y="2220"/>
                </a:lnTo>
                <a:lnTo>
                  <a:pt x="6102" y="2220"/>
                </a:lnTo>
                <a:lnTo>
                  <a:pt x="6120" y="2202"/>
                </a:lnTo>
                <a:lnTo>
                  <a:pt x="6120" y="2190"/>
                </a:lnTo>
                <a:lnTo>
                  <a:pt x="6144" y="2190"/>
                </a:lnTo>
                <a:lnTo>
                  <a:pt x="6156" y="2184"/>
                </a:lnTo>
                <a:lnTo>
                  <a:pt x="6162" y="2178"/>
                </a:lnTo>
                <a:lnTo>
                  <a:pt x="6162" y="2166"/>
                </a:lnTo>
                <a:lnTo>
                  <a:pt x="6150" y="2166"/>
                </a:lnTo>
                <a:lnTo>
                  <a:pt x="6144" y="2160"/>
                </a:lnTo>
                <a:lnTo>
                  <a:pt x="6138" y="2118"/>
                </a:lnTo>
                <a:lnTo>
                  <a:pt x="6138" y="2046"/>
                </a:lnTo>
                <a:lnTo>
                  <a:pt x="6156" y="2028"/>
                </a:lnTo>
                <a:lnTo>
                  <a:pt x="6156" y="2016"/>
                </a:lnTo>
                <a:lnTo>
                  <a:pt x="6150" y="2010"/>
                </a:lnTo>
                <a:lnTo>
                  <a:pt x="6138" y="2004"/>
                </a:lnTo>
                <a:lnTo>
                  <a:pt x="6126" y="1992"/>
                </a:lnTo>
                <a:lnTo>
                  <a:pt x="6114" y="1992"/>
                </a:lnTo>
                <a:lnTo>
                  <a:pt x="6108" y="1986"/>
                </a:lnTo>
                <a:lnTo>
                  <a:pt x="6096" y="1986"/>
                </a:lnTo>
                <a:lnTo>
                  <a:pt x="6078" y="1980"/>
                </a:lnTo>
                <a:lnTo>
                  <a:pt x="6072" y="1980"/>
                </a:lnTo>
                <a:lnTo>
                  <a:pt x="6072" y="1968"/>
                </a:lnTo>
                <a:lnTo>
                  <a:pt x="6078" y="1968"/>
                </a:lnTo>
                <a:lnTo>
                  <a:pt x="6120" y="1926"/>
                </a:lnTo>
                <a:lnTo>
                  <a:pt x="6156" y="1920"/>
                </a:lnTo>
                <a:lnTo>
                  <a:pt x="6162" y="1908"/>
                </a:lnTo>
                <a:lnTo>
                  <a:pt x="6204" y="1914"/>
                </a:lnTo>
                <a:lnTo>
                  <a:pt x="6258" y="1902"/>
                </a:lnTo>
                <a:lnTo>
                  <a:pt x="6294" y="1920"/>
                </a:lnTo>
                <a:lnTo>
                  <a:pt x="6330" y="1944"/>
                </a:lnTo>
                <a:lnTo>
                  <a:pt x="6402" y="1944"/>
                </a:lnTo>
                <a:lnTo>
                  <a:pt x="6408" y="1950"/>
                </a:lnTo>
                <a:lnTo>
                  <a:pt x="6420" y="1956"/>
                </a:lnTo>
                <a:lnTo>
                  <a:pt x="6426" y="1962"/>
                </a:lnTo>
                <a:lnTo>
                  <a:pt x="6438" y="1968"/>
                </a:lnTo>
                <a:lnTo>
                  <a:pt x="6438" y="1980"/>
                </a:lnTo>
                <a:lnTo>
                  <a:pt x="6444" y="1980"/>
                </a:lnTo>
                <a:lnTo>
                  <a:pt x="6456" y="1992"/>
                </a:lnTo>
                <a:lnTo>
                  <a:pt x="6468" y="1998"/>
                </a:lnTo>
                <a:lnTo>
                  <a:pt x="6480" y="2010"/>
                </a:lnTo>
                <a:lnTo>
                  <a:pt x="6492" y="2010"/>
                </a:lnTo>
                <a:lnTo>
                  <a:pt x="6498" y="2016"/>
                </a:lnTo>
                <a:lnTo>
                  <a:pt x="6504" y="2016"/>
                </a:lnTo>
                <a:lnTo>
                  <a:pt x="6510" y="2046"/>
                </a:lnTo>
                <a:lnTo>
                  <a:pt x="6558" y="2070"/>
                </a:lnTo>
                <a:lnTo>
                  <a:pt x="6570" y="2100"/>
                </a:lnTo>
                <a:lnTo>
                  <a:pt x="6582" y="2100"/>
                </a:lnTo>
                <a:lnTo>
                  <a:pt x="6630" y="2124"/>
                </a:lnTo>
                <a:lnTo>
                  <a:pt x="6636" y="2136"/>
                </a:lnTo>
                <a:lnTo>
                  <a:pt x="6654" y="2154"/>
                </a:lnTo>
                <a:lnTo>
                  <a:pt x="6660" y="2166"/>
                </a:lnTo>
                <a:lnTo>
                  <a:pt x="6672" y="2166"/>
                </a:lnTo>
                <a:lnTo>
                  <a:pt x="6678" y="2190"/>
                </a:lnTo>
                <a:lnTo>
                  <a:pt x="6684" y="2190"/>
                </a:lnTo>
                <a:lnTo>
                  <a:pt x="6690" y="2196"/>
                </a:lnTo>
                <a:lnTo>
                  <a:pt x="6714" y="2208"/>
                </a:lnTo>
                <a:lnTo>
                  <a:pt x="6720" y="2214"/>
                </a:lnTo>
                <a:lnTo>
                  <a:pt x="6732" y="2220"/>
                </a:lnTo>
                <a:lnTo>
                  <a:pt x="6780" y="2220"/>
                </a:lnTo>
                <a:lnTo>
                  <a:pt x="6792" y="2226"/>
                </a:lnTo>
                <a:lnTo>
                  <a:pt x="6798" y="2232"/>
                </a:lnTo>
                <a:lnTo>
                  <a:pt x="6810" y="2238"/>
                </a:lnTo>
                <a:lnTo>
                  <a:pt x="6822" y="2226"/>
                </a:lnTo>
                <a:lnTo>
                  <a:pt x="6834" y="2226"/>
                </a:lnTo>
                <a:lnTo>
                  <a:pt x="6852" y="2244"/>
                </a:lnTo>
                <a:lnTo>
                  <a:pt x="6864" y="2250"/>
                </a:lnTo>
                <a:lnTo>
                  <a:pt x="6882" y="2268"/>
                </a:lnTo>
                <a:lnTo>
                  <a:pt x="6924" y="2268"/>
                </a:lnTo>
                <a:lnTo>
                  <a:pt x="6942" y="2298"/>
                </a:lnTo>
                <a:lnTo>
                  <a:pt x="6960" y="2298"/>
                </a:lnTo>
                <a:lnTo>
                  <a:pt x="6966" y="2304"/>
                </a:lnTo>
                <a:lnTo>
                  <a:pt x="6966" y="2310"/>
                </a:lnTo>
                <a:lnTo>
                  <a:pt x="6972" y="2322"/>
                </a:lnTo>
                <a:lnTo>
                  <a:pt x="6972" y="2334"/>
                </a:lnTo>
                <a:lnTo>
                  <a:pt x="7014" y="2364"/>
                </a:lnTo>
                <a:lnTo>
                  <a:pt x="7038" y="2358"/>
                </a:lnTo>
                <a:lnTo>
                  <a:pt x="7050" y="2370"/>
                </a:lnTo>
                <a:lnTo>
                  <a:pt x="7068" y="2370"/>
                </a:lnTo>
                <a:lnTo>
                  <a:pt x="7068" y="2358"/>
                </a:lnTo>
                <a:lnTo>
                  <a:pt x="7098" y="2364"/>
                </a:lnTo>
                <a:lnTo>
                  <a:pt x="7098" y="2346"/>
                </a:lnTo>
                <a:lnTo>
                  <a:pt x="7104" y="2340"/>
                </a:lnTo>
                <a:lnTo>
                  <a:pt x="7110" y="2340"/>
                </a:lnTo>
                <a:lnTo>
                  <a:pt x="7122" y="2334"/>
                </a:lnTo>
                <a:lnTo>
                  <a:pt x="7152" y="2334"/>
                </a:lnTo>
                <a:lnTo>
                  <a:pt x="7158" y="2310"/>
                </a:lnTo>
                <a:lnTo>
                  <a:pt x="7200" y="2310"/>
                </a:lnTo>
                <a:lnTo>
                  <a:pt x="7212" y="2316"/>
                </a:lnTo>
                <a:lnTo>
                  <a:pt x="7218" y="2328"/>
                </a:lnTo>
                <a:lnTo>
                  <a:pt x="7218" y="2346"/>
                </a:lnTo>
                <a:lnTo>
                  <a:pt x="7242" y="2358"/>
                </a:lnTo>
                <a:lnTo>
                  <a:pt x="7242" y="2388"/>
                </a:lnTo>
                <a:lnTo>
                  <a:pt x="7224" y="2394"/>
                </a:lnTo>
                <a:lnTo>
                  <a:pt x="7236" y="2412"/>
                </a:lnTo>
                <a:lnTo>
                  <a:pt x="7236" y="2430"/>
                </a:lnTo>
                <a:lnTo>
                  <a:pt x="7248" y="2442"/>
                </a:lnTo>
                <a:lnTo>
                  <a:pt x="7248" y="2466"/>
                </a:lnTo>
                <a:lnTo>
                  <a:pt x="7266" y="2472"/>
                </a:lnTo>
                <a:lnTo>
                  <a:pt x="7260" y="2502"/>
                </a:lnTo>
                <a:lnTo>
                  <a:pt x="7266" y="2526"/>
                </a:lnTo>
                <a:lnTo>
                  <a:pt x="7260" y="2532"/>
                </a:lnTo>
                <a:lnTo>
                  <a:pt x="7254" y="2532"/>
                </a:lnTo>
                <a:lnTo>
                  <a:pt x="7254" y="2550"/>
                </a:lnTo>
                <a:lnTo>
                  <a:pt x="7260" y="2562"/>
                </a:lnTo>
                <a:lnTo>
                  <a:pt x="7260" y="2574"/>
                </a:lnTo>
                <a:lnTo>
                  <a:pt x="7254" y="2580"/>
                </a:lnTo>
                <a:lnTo>
                  <a:pt x="7248" y="2580"/>
                </a:lnTo>
                <a:lnTo>
                  <a:pt x="7236" y="2574"/>
                </a:lnTo>
                <a:lnTo>
                  <a:pt x="7224" y="2574"/>
                </a:lnTo>
                <a:lnTo>
                  <a:pt x="7206" y="2568"/>
                </a:lnTo>
                <a:lnTo>
                  <a:pt x="7194" y="2562"/>
                </a:lnTo>
                <a:lnTo>
                  <a:pt x="7170" y="2562"/>
                </a:lnTo>
                <a:lnTo>
                  <a:pt x="7164" y="2568"/>
                </a:lnTo>
                <a:lnTo>
                  <a:pt x="7170" y="2574"/>
                </a:lnTo>
                <a:lnTo>
                  <a:pt x="7170" y="2586"/>
                </a:lnTo>
                <a:lnTo>
                  <a:pt x="7146" y="2586"/>
                </a:lnTo>
                <a:lnTo>
                  <a:pt x="7146" y="2598"/>
                </a:lnTo>
                <a:lnTo>
                  <a:pt x="7152" y="2610"/>
                </a:lnTo>
                <a:lnTo>
                  <a:pt x="7158" y="2610"/>
                </a:lnTo>
                <a:lnTo>
                  <a:pt x="7170" y="2622"/>
                </a:lnTo>
                <a:lnTo>
                  <a:pt x="7182" y="2628"/>
                </a:lnTo>
                <a:lnTo>
                  <a:pt x="7194" y="2646"/>
                </a:lnTo>
                <a:lnTo>
                  <a:pt x="7206" y="2658"/>
                </a:lnTo>
                <a:lnTo>
                  <a:pt x="7212" y="2676"/>
                </a:lnTo>
                <a:lnTo>
                  <a:pt x="7212" y="2688"/>
                </a:lnTo>
                <a:lnTo>
                  <a:pt x="7224" y="2700"/>
                </a:lnTo>
                <a:lnTo>
                  <a:pt x="7230" y="2712"/>
                </a:lnTo>
                <a:lnTo>
                  <a:pt x="7236" y="2748"/>
                </a:lnTo>
                <a:lnTo>
                  <a:pt x="7206" y="2742"/>
                </a:lnTo>
                <a:lnTo>
                  <a:pt x="7200" y="2766"/>
                </a:lnTo>
                <a:lnTo>
                  <a:pt x="7224" y="2778"/>
                </a:lnTo>
                <a:lnTo>
                  <a:pt x="7260" y="2778"/>
                </a:lnTo>
                <a:lnTo>
                  <a:pt x="7260" y="2718"/>
                </a:lnTo>
                <a:lnTo>
                  <a:pt x="7266" y="2712"/>
                </a:lnTo>
                <a:lnTo>
                  <a:pt x="7272" y="2712"/>
                </a:lnTo>
                <a:lnTo>
                  <a:pt x="7284" y="2718"/>
                </a:lnTo>
                <a:lnTo>
                  <a:pt x="7290" y="2724"/>
                </a:lnTo>
                <a:lnTo>
                  <a:pt x="7302" y="2712"/>
                </a:lnTo>
                <a:lnTo>
                  <a:pt x="7308" y="2724"/>
                </a:lnTo>
                <a:lnTo>
                  <a:pt x="7314" y="2730"/>
                </a:lnTo>
                <a:lnTo>
                  <a:pt x="7320" y="2742"/>
                </a:lnTo>
                <a:lnTo>
                  <a:pt x="7332" y="2754"/>
                </a:lnTo>
                <a:lnTo>
                  <a:pt x="7344" y="2754"/>
                </a:lnTo>
                <a:lnTo>
                  <a:pt x="7356" y="2748"/>
                </a:lnTo>
                <a:lnTo>
                  <a:pt x="7368" y="2748"/>
                </a:lnTo>
                <a:lnTo>
                  <a:pt x="7374" y="2742"/>
                </a:lnTo>
                <a:lnTo>
                  <a:pt x="7380" y="2742"/>
                </a:lnTo>
                <a:lnTo>
                  <a:pt x="7380" y="2760"/>
                </a:lnTo>
                <a:lnTo>
                  <a:pt x="7386" y="2760"/>
                </a:lnTo>
                <a:lnTo>
                  <a:pt x="7392" y="2754"/>
                </a:lnTo>
                <a:lnTo>
                  <a:pt x="7404" y="2748"/>
                </a:lnTo>
                <a:lnTo>
                  <a:pt x="7422" y="2742"/>
                </a:lnTo>
                <a:lnTo>
                  <a:pt x="7440" y="2730"/>
                </a:lnTo>
                <a:lnTo>
                  <a:pt x="7452" y="2724"/>
                </a:lnTo>
                <a:lnTo>
                  <a:pt x="7464" y="2700"/>
                </a:lnTo>
                <a:lnTo>
                  <a:pt x="7464" y="2682"/>
                </a:lnTo>
                <a:lnTo>
                  <a:pt x="7470" y="2664"/>
                </a:lnTo>
                <a:lnTo>
                  <a:pt x="7470" y="2628"/>
                </a:lnTo>
                <a:lnTo>
                  <a:pt x="7494" y="2622"/>
                </a:lnTo>
                <a:lnTo>
                  <a:pt x="7494" y="2562"/>
                </a:lnTo>
                <a:lnTo>
                  <a:pt x="7500" y="2550"/>
                </a:lnTo>
                <a:lnTo>
                  <a:pt x="7506" y="2544"/>
                </a:lnTo>
                <a:lnTo>
                  <a:pt x="7518" y="2520"/>
                </a:lnTo>
                <a:lnTo>
                  <a:pt x="7518" y="2490"/>
                </a:lnTo>
                <a:lnTo>
                  <a:pt x="7524" y="2472"/>
                </a:lnTo>
                <a:lnTo>
                  <a:pt x="7524" y="2454"/>
                </a:lnTo>
                <a:lnTo>
                  <a:pt x="7518" y="2442"/>
                </a:lnTo>
                <a:lnTo>
                  <a:pt x="7518" y="2424"/>
                </a:lnTo>
                <a:lnTo>
                  <a:pt x="7512" y="2418"/>
                </a:lnTo>
                <a:lnTo>
                  <a:pt x="7512" y="2412"/>
                </a:lnTo>
                <a:lnTo>
                  <a:pt x="7518" y="2400"/>
                </a:lnTo>
                <a:lnTo>
                  <a:pt x="7524" y="2394"/>
                </a:lnTo>
                <a:lnTo>
                  <a:pt x="7524" y="2382"/>
                </a:lnTo>
                <a:lnTo>
                  <a:pt x="7530" y="2376"/>
                </a:lnTo>
                <a:lnTo>
                  <a:pt x="7530" y="2364"/>
                </a:lnTo>
                <a:lnTo>
                  <a:pt x="7524" y="2358"/>
                </a:lnTo>
                <a:lnTo>
                  <a:pt x="7518" y="2346"/>
                </a:lnTo>
                <a:lnTo>
                  <a:pt x="7524" y="2334"/>
                </a:lnTo>
                <a:lnTo>
                  <a:pt x="7530" y="2328"/>
                </a:lnTo>
                <a:lnTo>
                  <a:pt x="7536" y="2316"/>
                </a:lnTo>
                <a:lnTo>
                  <a:pt x="7536" y="2298"/>
                </a:lnTo>
                <a:lnTo>
                  <a:pt x="7530" y="2292"/>
                </a:lnTo>
                <a:lnTo>
                  <a:pt x="7530" y="2280"/>
                </a:lnTo>
                <a:lnTo>
                  <a:pt x="7518" y="2256"/>
                </a:lnTo>
                <a:lnTo>
                  <a:pt x="7512" y="2250"/>
                </a:lnTo>
                <a:lnTo>
                  <a:pt x="7512" y="2238"/>
                </a:lnTo>
                <a:lnTo>
                  <a:pt x="7506" y="2232"/>
                </a:lnTo>
                <a:lnTo>
                  <a:pt x="7506" y="2220"/>
                </a:lnTo>
                <a:lnTo>
                  <a:pt x="7500" y="2214"/>
                </a:lnTo>
                <a:lnTo>
                  <a:pt x="7500" y="2202"/>
                </a:lnTo>
                <a:lnTo>
                  <a:pt x="7494" y="2196"/>
                </a:lnTo>
                <a:lnTo>
                  <a:pt x="7482" y="2190"/>
                </a:lnTo>
                <a:lnTo>
                  <a:pt x="7476" y="2184"/>
                </a:lnTo>
                <a:lnTo>
                  <a:pt x="7482" y="2178"/>
                </a:lnTo>
                <a:lnTo>
                  <a:pt x="7476" y="2178"/>
                </a:lnTo>
                <a:lnTo>
                  <a:pt x="7470" y="2172"/>
                </a:lnTo>
                <a:lnTo>
                  <a:pt x="7458" y="2166"/>
                </a:lnTo>
                <a:lnTo>
                  <a:pt x="7446" y="2154"/>
                </a:lnTo>
                <a:lnTo>
                  <a:pt x="7440" y="2142"/>
                </a:lnTo>
                <a:lnTo>
                  <a:pt x="7434" y="2124"/>
                </a:lnTo>
                <a:lnTo>
                  <a:pt x="7434" y="2112"/>
                </a:lnTo>
                <a:lnTo>
                  <a:pt x="7428" y="2106"/>
                </a:lnTo>
                <a:lnTo>
                  <a:pt x="7428" y="2100"/>
                </a:lnTo>
                <a:lnTo>
                  <a:pt x="7416" y="2094"/>
                </a:lnTo>
                <a:lnTo>
                  <a:pt x="7416" y="2082"/>
                </a:lnTo>
                <a:lnTo>
                  <a:pt x="7422" y="2070"/>
                </a:lnTo>
                <a:lnTo>
                  <a:pt x="7422" y="2040"/>
                </a:lnTo>
                <a:lnTo>
                  <a:pt x="7410" y="2028"/>
                </a:lnTo>
                <a:lnTo>
                  <a:pt x="7404" y="2016"/>
                </a:lnTo>
                <a:lnTo>
                  <a:pt x="7398" y="2010"/>
                </a:lnTo>
                <a:lnTo>
                  <a:pt x="7380" y="2004"/>
                </a:lnTo>
                <a:lnTo>
                  <a:pt x="7380" y="1998"/>
                </a:lnTo>
                <a:lnTo>
                  <a:pt x="7374" y="1992"/>
                </a:lnTo>
                <a:lnTo>
                  <a:pt x="7368" y="1980"/>
                </a:lnTo>
                <a:lnTo>
                  <a:pt x="7356" y="1968"/>
                </a:lnTo>
                <a:lnTo>
                  <a:pt x="7344" y="1968"/>
                </a:lnTo>
                <a:lnTo>
                  <a:pt x="7332" y="1956"/>
                </a:lnTo>
                <a:lnTo>
                  <a:pt x="7326" y="1956"/>
                </a:lnTo>
                <a:lnTo>
                  <a:pt x="7308" y="1950"/>
                </a:lnTo>
                <a:lnTo>
                  <a:pt x="7302" y="1938"/>
                </a:lnTo>
                <a:lnTo>
                  <a:pt x="7308" y="1938"/>
                </a:lnTo>
                <a:lnTo>
                  <a:pt x="7314" y="1944"/>
                </a:lnTo>
                <a:lnTo>
                  <a:pt x="7326" y="1944"/>
                </a:lnTo>
                <a:lnTo>
                  <a:pt x="7332" y="1950"/>
                </a:lnTo>
                <a:lnTo>
                  <a:pt x="7344" y="1950"/>
                </a:lnTo>
                <a:lnTo>
                  <a:pt x="7350" y="1944"/>
                </a:lnTo>
                <a:lnTo>
                  <a:pt x="7350" y="1938"/>
                </a:lnTo>
                <a:lnTo>
                  <a:pt x="7344" y="1938"/>
                </a:lnTo>
                <a:lnTo>
                  <a:pt x="7332" y="1932"/>
                </a:lnTo>
                <a:lnTo>
                  <a:pt x="7326" y="1926"/>
                </a:lnTo>
                <a:lnTo>
                  <a:pt x="7320" y="1926"/>
                </a:lnTo>
                <a:lnTo>
                  <a:pt x="7242" y="1890"/>
                </a:lnTo>
                <a:lnTo>
                  <a:pt x="7236" y="1890"/>
                </a:lnTo>
                <a:lnTo>
                  <a:pt x="7230" y="1884"/>
                </a:lnTo>
                <a:lnTo>
                  <a:pt x="7218" y="1878"/>
                </a:lnTo>
                <a:lnTo>
                  <a:pt x="7206" y="1866"/>
                </a:lnTo>
                <a:lnTo>
                  <a:pt x="7194" y="1860"/>
                </a:lnTo>
                <a:lnTo>
                  <a:pt x="7188" y="1854"/>
                </a:lnTo>
                <a:lnTo>
                  <a:pt x="7170" y="1854"/>
                </a:lnTo>
                <a:lnTo>
                  <a:pt x="7164" y="1860"/>
                </a:lnTo>
                <a:lnTo>
                  <a:pt x="7152" y="1866"/>
                </a:lnTo>
                <a:lnTo>
                  <a:pt x="7116" y="1854"/>
                </a:lnTo>
                <a:lnTo>
                  <a:pt x="7152" y="1896"/>
                </a:lnTo>
                <a:lnTo>
                  <a:pt x="7146" y="1920"/>
                </a:lnTo>
                <a:lnTo>
                  <a:pt x="7134" y="1920"/>
                </a:lnTo>
                <a:lnTo>
                  <a:pt x="7134" y="1890"/>
                </a:lnTo>
                <a:lnTo>
                  <a:pt x="7116" y="1878"/>
                </a:lnTo>
                <a:lnTo>
                  <a:pt x="7116" y="1908"/>
                </a:lnTo>
                <a:lnTo>
                  <a:pt x="7068" y="1908"/>
                </a:lnTo>
                <a:lnTo>
                  <a:pt x="7074" y="1902"/>
                </a:lnTo>
                <a:lnTo>
                  <a:pt x="7074" y="1884"/>
                </a:lnTo>
                <a:lnTo>
                  <a:pt x="7068" y="1878"/>
                </a:lnTo>
                <a:lnTo>
                  <a:pt x="7044" y="1878"/>
                </a:lnTo>
                <a:lnTo>
                  <a:pt x="7038" y="1890"/>
                </a:lnTo>
                <a:lnTo>
                  <a:pt x="7014" y="1890"/>
                </a:lnTo>
                <a:lnTo>
                  <a:pt x="7002" y="1854"/>
                </a:lnTo>
                <a:lnTo>
                  <a:pt x="6996" y="1854"/>
                </a:lnTo>
                <a:lnTo>
                  <a:pt x="6984" y="1830"/>
                </a:lnTo>
                <a:lnTo>
                  <a:pt x="6912" y="1836"/>
                </a:lnTo>
                <a:lnTo>
                  <a:pt x="6906" y="1824"/>
                </a:lnTo>
                <a:lnTo>
                  <a:pt x="6882" y="1824"/>
                </a:lnTo>
                <a:lnTo>
                  <a:pt x="6870" y="1818"/>
                </a:lnTo>
                <a:lnTo>
                  <a:pt x="6864" y="1812"/>
                </a:lnTo>
                <a:lnTo>
                  <a:pt x="6864" y="1794"/>
                </a:lnTo>
                <a:lnTo>
                  <a:pt x="6876" y="1788"/>
                </a:lnTo>
                <a:lnTo>
                  <a:pt x="6888" y="1776"/>
                </a:lnTo>
                <a:lnTo>
                  <a:pt x="6900" y="1776"/>
                </a:lnTo>
                <a:lnTo>
                  <a:pt x="6900" y="1752"/>
                </a:lnTo>
                <a:lnTo>
                  <a:pt x="6906" y="1752"/>
                </a:lnTo>
                <a:lnTo>
                  <a:pt x="6918" y="1746"/>
                </a:lnTo>
                <a:lnTo>
                  <a:pt x="6930" y="1734"/>
                </a:lnTo>
                <a:lnTo>
                  <a:pt x="6930" y="1728"/>
                </a:lnTo>
                <a:lnTo>
                  <a:pt x="6936" y="1716"/>
                </a:lnTo>
                <a:lnTo>
                  <a:pt x="6936" y="1710"/>
                </a:lnTo>
                <a:lnTo>
                  <a:pt x="6942" y="1698"/>
                </a:lnTo>
                <a:lnTo>
                  <a:pt x="6930" y="1686"/>
                </a:lnTo>
                <a:lnTo>
                  <a:pt x="6942" y="1662"/>
                </a:lnTo>
                <a:lnTo>
                  <a:pt x="6930" y="1650"/>
                </a:lnTo>
                <a:lnTo>
                  <a:pt x="6948" y="1632"/>
                </a:lnTo>
                <a:lnTo>
                  <a:pt x="6972" y="1626"/>
                </a:lnTo>
                <a:lnTo>
                  <a:pt x="6960" y="1596"/>
                </a:lnTo>
                <a:lnTo>
                  <a:pt x="6984" y="1590"/>
                </a:lnTo>
                <a:lnTo>
                  <a:pt x="6960" y="1554"/>
                </a:lnTo>
                <a:lnTo>
                  <a:pt x="6990" y="1542"/>
                </a:lnTo>
                <a:lnTo>
                  <a:pt x="6990" y="1500"/>
                </a:lnTo>
                <a:lnTo>
                  <a:pt x="6996" y="1488"/>
                </a:lnTo>
                <a:lnTo>
                  <a:pt x="7002" y="1482"/>
                </a:lnTo>
                <a:lnTo>
                  <a:pt x="7020" y="1470"/>
                </a:lnTo>
                <a:lnTo>
                  <a:pt x="7032" y="1464"/>
                </a:lnTo>
                <a:lnTo>
                  <a:pt x="7050" y="1464"/>
                </a:lnTo>
                <a:lnTo>
                  <a:pt x="7068" y="1470"/>
                </a:lnTo>
                <a:lnTo>
                  <a:pt x="7188" y="1470"/>
                </a:lnTo>
                <a:lnTo>
                  <a:pt x="7206" y="1488"/>
                </a:lnTo>
                <a:lnTo>
                  <a:pt x="7224" y="1482"/>
                </a:lnTo>
                <a:lnTo>
                  <a:pt x="7218" y="1464"/>
                </a:lnTo>
                <a:lnTo>
                  <a:pt x="7290" y="1482"/>
                </a:lnTo>
                <a:lnTo>
                  <a:pt x="7320" y="1464"/>
                </a:lnTo>
                <a:lnTo>
                  <a:pt x="7350" y="1488"/>
                </a:lnTo>
                <a:lnTo>
                  <a:pt x="7356" y="1452"/>
                </a:lnTo>
                <a:lnTo>
                  <a:pt x="7434" y="1452"/>
                </a:lnTo>
                <a:lnTo>
                  <a:pt x="7446" y="1458"/>
                </a:lnTo>
                <a:lnTo>
                  <a:pt x="7452" y="1470"/>
                </a:lnTo>
                <a:lnTo>
                  <a:pt x="7458" y="1470"/>
                </a:lnTo>
                <a:lnTo>
                  <a:pt x="7464" y="1464"/>
                </a:lnTo>
                <a:lnTo>
                  <a:pt x="7476" y="1464"/>
                </a:lnTo>
                <a:lnTo>
                  <a:pt x="7482" y="1458"/>
                </a:lnTo>
                <a:lnTo>
                  <a:pt x="7494" y="1452"/>
                </a:lnTo>
                <a:lnTo>
                  <a:pt x="7518" y="1470"/>
                </a:lnTo>
                <a:lnTo>
                  <a:pt x="7560" y="1476"/>
                </a:lnTo>
                <a:lnTo>
                  <a:pt x="7506" y="1488"/>
                </a:lnTo>
                <a:lnTo>
                  <a:pt x="7506" y="1494"/>
                </a:lnTo>
                <a:lnTo>
                  <a:pt x="7512" y="1500"/>
                </a:lnTo>
                <a:lnTo>
                  <a:pt x="7524" y="1506"/>
                </a:lnTo>
                <a:lnTo>
                  <a:pt x="7530" y="1512"/>
                </a:lnTo>
                <a:lnTo>
                  <a:pt x="7542" y="1512"/>
                </a:lnTo>
                <a:lnTo>
                  <a:pt x="7548" y="1506"/>
                </a:lnTo>
                <a:lnTo>
                  <a:pt x="7560" y="1506"/>
                </a:lnTo>
                <a:lnTo>
                  <a:pt x="7572" y="1500"/>
                </a:lnTo>
                <a:lnTo>
                  <a:pt x="7578" y="1494"/>
                </a:lnTo>
                <a:lnTo>
                  <a:pt x="7584" y="1494"/>
                </a:lnTo>
                <a:lnTo>
                  <a:pt x="7614" y="1506"/>
                </a:lnTo>
                <a:lnTo>
                  <a:pt x="7638" y="1488"/>
                </a:lnTo>
                <a:lnTo>
                  <a:pt x="7644" y="1488"/>
                </a:lnTo>
                <a:lnTo>
                  <a:pt x="7650" y="1494"/>
                </a:lnTo>
                <a:lnTo>
                  <a:pt x="7686" y="1494"/>
                </a:lnTo>
                <a:lnTo>
                  <a:pt x="7692" y="1488"/>
                </a:lnTo>
                <a:lnTo>
                  <a:pt x="7692" y="1476"/>
                </a:lnTo>
                <a:lnTo>
                  <a:pt x="7728" y="1482"/>
                </a:lnTo>
                <a:lnTo>
                  <a:pt x="7680" y="1452"/>
                </a:lnTo>
                <a:lnTo>
                  <a:pt x="7650" y="1464"/>
                </a:lnTo>
                <a:lnTo>
                  <a:pt x="7644" y="1446"/>
                </a:lnTo>
                <a:lnTo>
                  <a:pt x="7638" y="1434"/>
                </a:lnTo>
                <a:lnTo>
                  <a:pt x="7632" y="1428"/>
                </a:lnTo>
                <a:lnTo>
                  <a:pt x="7626" y="1416"/>
                </a:lnTo>
                <a:lnTo>
                  <a:pt x="7626" y="1398"/>
                </a:lnTo>
                <a:lnTo>
                  <a:pt x="7650" y="1374"/>
                </a:lnTo>
                <a:lnTo>
                  <a:pt x="7644" y="1344"/>
                </a:lnTo>
                <a:lnTo>
                  <a:pt x="7662" y="1332"/>
                </a:lnTo>
                <a:lnTo>
                  <a:pt x="7650" y="1326"/>
                </a:lnTo>
                <a:lnTo>
                  <a:pt x="7638" y="1314"/>
                </a:lnTo>
                <a:lnTo>
                  <a:pt x="7638" y="1302"/>
                </a:lnTo>
                <a:lnTo>
                  <a:pt x="7644" y="1296"/>
                </a:lnTo>
                <a:lnTo>
                  <a:pt x="7662" y="1290"/>
                </a:lnTo>
                <a:lnTo>
                  <a:pt x="7698" y="1290"/>
                </a:lnTo>
                <a:lnTo>
                  <a:pt x="7710" y="1296"/>
                </a:lnTo>
                <a:lnTo>
                  <a:pt x="7728" y="1296"/>
                </a:lnTo>
                <a:lnTo>
                  <a:pt x="7746" y="1278"/>
                </a:lnTo>
                <a:lnTo>
                  <a:pt x="7782" y="1308"/>
                </a:lnTo>
                <a:lnTo>
                  <a:pt x="7806" y="1290"/>
                </a:lnTo>
                <a:lnTo>
                  <a:pt x="7812" y="1302"/>
                </a:lnTo>
                <a:lnTo>
                  <a:pt x="7818" y="1308"/>
                </a:lnTo>
                <a:lnTo>
                  <a:pt x="7830" y="1332"/>
                </a:lnTo>
                <a:lnTo>
                  <a:pt x="7830" y="1338"/>
                </a:lnTo>
                <a:lnTo>
                  <a:pt x="7836" y="1344"/>
                </a:lnTo>
                <a:lnTo>
                  <a:pt x="7878" y="1344"/>
                </a:lnTo>
                <a:lnTo>
                  <a:pt x="7878" y="1362"/>
                </a:lnTo>
                <a:lnTo>
                  <a:pt x="7884" y="1374"/>
                </a:lnTo>
                <a:lnTo>
                  <a:pt x="7890" y="1380"/>
                </a:lnTo>
                <a:lnTo>
                  <a:pt x="7896" y="1380"/>
                </a:lnTo>
                <a:lnTo>
                  <a:pt x="7914" y="1362"/>
                </a:lnTo>
                <a:lnTo>
                  <a:pt x="7932" y="1326"/>
                </a:lnTo>
                <a:lnTo>
                  <a:pt x="7938" y="1320"/>
                </a:lnTo>
                <a:lnTo>
                  <a:pt x="7938" y="1314"/>
                </a:lnTo>
                <a:lnTo>
                  <a:pt x="7962" y="1302"/>
                </a:lnTo>
                <a:lnTo>
                  <a:pt x="7992" y="1314"/>
                </a:lnTo>
                <a:lnTo>
                  <a:pt x="7986" y="1302"/>
                </a:lnTo>
                <a:lnTo>
                  <a:pt x="7962" y="1284"/>
                </a:lnTo>
                <a:lnTo>
                  <a:pt x="7956" y="1278"/>
                </a:lnTo>
                <a:lnTo>
                  <a:pt x="7932" y="1266"/>
                </a:lnTo>
                <a:lnTo>
                  <a:pt x="7926" y="1254"/>
                </a:lnTo>
                <a:lnTo>
                  <a:pt x="7914" y="1248"/>
                </a:lnTo>
                <a:lnTo>
                  <a:pt x="7908" y="1242"/>
                </a:lnTo>
                <a:lnTo>
                  <a:pt x="7908" y="1230"/>
                </a:lnTo>
                <a:lnTo>
                  <a:pt x="7962" y="1230"/>
                </a:lnTo>
                <a:lnTo>
                  <a:pt x="7992" y="1236"/>
                </a:lnTo>
                <a:lnTo>
                  <a:pt x="8052" y="1236"/>
                </a:lnTo>
                <a:lnTo>
                  <a:pt x="8052" y="1254"/>
                </a:lnTo>
                <a:lnTo>
                  <a:pt x="8040" y="1254"/>
                </a:lnTo>
                <a:lnTo>
                  <a:pt x="8028" y="1248"/>
                </a:lnTo>
                <a:lnTo>
                  <a:pt x="7992" y="1248"/>
                </a:lnTo>
                <a:lnTo>
                  <a:pt x="7992" y="1266"/>
                </a:lnTo>
                <a:lnTo>
                  <a:pt x="8016" y="1290"/>
                </a:lnTo>
                <a:lnTo>
                  <a:pt x="8028" y="1296"/>
                </a:lnTo>
                <a:lnTo>
                  <a:pt x="8034" y="1320"/>
                </a:lnTo>
                <a:lnTo>
                  <a:pt x="8064" y="1326"/>
                </a:lnTo>
                <a:lnTo>
                  <a:pt x="8058" y="1344"/>
                </a:lnTo>
                <a:lnTo>
                  <a:pt x="8076" y="1362"/>
                </a:lnTo>
                <a:lnTo>
                  <a:pt x="8046" y="1368"/>
                </a:lnTo>
                <a:lnTo>
                  <a:pt x="8040" y="1380"/>
                </a:lnTo>
                <a:lnTo>
                  <a:pt x="8022" y="1386"/>
                </a:lnTo>
                <a:lnTo>
                  <a:pt x="8028" y="1398"/>
                </a:lnTo>
                <a:lnTo>
                  <a:pt x="8028" y="1404"/>
                </a:lnTo>
                <a:lnTo>
                  <a:pt x="8034" y="1416"/>
                </a:lnTo>
                <a:lnTo>
                  <a:pt x="8034" y="1440"/>
                </a:lnTo>
                <a:lnTo>
                  <a:pt x="8028" y="1452"/>
                </a:lnTo>
                <a:lnTo>
                  <a:pt x="8016" y="1464"/>
                </a:lnTo>
                <a:lnTo>
                  <a:pt x="8004" y="1488"/>
                </a:lnTo>
                <a:lnTo>
                  <a:pt x="8004" y="1506"/>
                </a:lnTo>
                <a:lnTo>
                  <a:pt x="8010" y="1506"/>
                </a:lnTo>
                <a:lnTo>
                  <a:pt x="8016" y="1512"/>
                </a:lnTo>
                <a:lnTo>
                  <a:pt x="8022" y="1524"/>
                </a:lnTo>
                <a:lnTo>
                  <a:pt x="8016" y="1530"/>
                </a:lnTo>
                <a:lnTo>
                  <a:pt x="8010" y="1542"/>
                </a:lnTo>
                <a:lnTo>
                  <a:pt x="7986" y="1566"/>
                </a:lnTo>
                <a:lnTo>
                  <a:pt x="7974" y="1572"/>
                </a:lnTo>
                <a:lnTo>
                  <a:pt x="7968" y="1578"/>
                </a:lnTo>
                <a:lnTo>
                  <a:pt x="7962" y="1578"/>
                </a:lnTo>
                <a:lnTo>
                  <a:pt x="7962" y="1596"/>
                </a:lnTo>
                <a:lnTo>
                  <a:pt x="7944" y="1596"/>
                </a:lnTo>
                <a:lnTo>
                  <a:pt x="7950" y="1596"/>
                </a:lnTo>
                <a:lnTo>
                  <a:pt x="7956" y="1602"/>
                </a:lnTo>
                <a:lnTo>
                  <a:pt x="7968" y="1608"/>
                </a:lnTo>
                <a:lnTo>
                  <a:pt x="7980" y="1632"/>
                </a:lnTo>
                <a:lnTo>
                  <a:pt x="7974" y="1650"/>
                </a:lnTo>
                <a:lnTo>
                  <a:pt x="7974" y="1662"/>
                </a:lnTo>
                <a:lnTo>
                  <a:pt x="7968" y="1674"/>
                </a:lnTo>
                <a:lnTo>
                  <a:pt x="7968" y="1686"/>
                </a:lnTo>
                <a:lnTo>
                  <a:pt x="7974" y="1704"/>
                </a:lnTo>
                <a:lnTo>
                  <a:pt x="7992" y="1722"/>
                </a:lnTo>
                <a:lnTo>
                  <a:pt x="8016" y="1752"/>
                </a:lnTo>
                <a:lnTo>
                  <a:pt x="8046" y="1776"/>
                </a:lnTo>
                <a:lnTo>
                  <a:pt x="8070" y="1800"/>
                </a:lnTo>
                <a:lnTo>
                  <a:pt x="8082" y="1806"/>
                </a:lnTo>
                <a:lnTo>
                  <a:pt x="8142" y="1872"/>
                </a:lnTo>
                <a:lnTo>
                  <a:pt x="8154" y="1866"/>
                </a:lnTo>
                <a:lnTo>
                  <a:pt x="8238" y="1962"/>
                </a:lnTo>
                <a:lnTo>
                  <a:pt x="8286" y="1980"/>
                </a:lnTo>
                <a:lnTo>
                  <a:pt x="8310" y="2004"/>
                </a:lnTo>
                <a:lnTo>
                  <a:pt x="8316" y="2016"/>
                </a:lnTo>
                <a:lnTo>
                  <a:pt x="8328" y="2022"/>
                </a:lnTo>
                <a:lnTo>
                  <a:pt x="8334" y="2034"/>
                </a:lnTo>
                <a:lnTo>
                  <a:pt x="8388" y="2088"/>
                </a:lnTo>
                <a:lnTo>
                  <a:pt x="8406" y="2088"/>
                </a:lnTo>
                <a:lnTo>
                  <a:pt x="8406" y="2106"/>
                </a:lnTo>
                <a:lnTo>
                  <a:pt x="8418" y="2106"/>
                </a:lnTo>
                <a:lnTo>
                  <a:pt x="8430" y="2100"/>
                </a:lnTo>
                <a:lnTo>
                  <a:pt x="8436" y="2094"/>
                </a:lnTo>
                <a:lnTo>
                  <a:pt x="8442" y="2082"/>
                </a:lnTo>
                <a:lnTo>
                  <a:pt x="8442" y="2076"/>
                </a:lnTo>
                <a:lnTo>
                  <a:pt x="8430" y="2064"/>
                </a:lnTo>
                <a:lnTo>
                  <a:pt x="8436" y="2058"/>
                </a:lnTo>
                <a:lnTo>
                  <a:pt x="8442" y="2046"/>
                </a:lnTo>
                <a:lnTo>
                  <a:pt x="8448" y="2040"/>
                </a:lnTo>
                <a:lnTo>
                  <a:pt x="8448" y="2022"/>
                </a:lnTo>
                <a:lnTo>
                  <a:pt x="8430" y="2004"/>
                </a:lnTo>
                <a:lnTo>
                  <a:pt x="8418" y="1998"/>
                </a:lnTo>
                <a:lnTo>
                  <a:pt x="8406" y="1974"/>
                </a:lnTo>
                <a:lnTo>
                  <a:pt x="8406" y="1962"/>
                </a:lnTo>
                <a:lnTo>
                  <a:pt x="8412" y="1950"/>
                </a:lnTo>
                <a:lnTo>
                  <a:pt x="8430" y="1932"/>
                </a:lnTo>
                <a:lnTo>
                  <a:pt x="8442" y="1932"/>
                </a:lnTo>
                <a:lnTo>
                  <a:pt x="8454" y="1938"/>
                </a:lnTo>
                <a:lnTo>
                  <a:pt x="8460" y="1938"/>
                </a:lnTo>
                <a:lnTo>
                  <a:pt x="8466" y="1944"/>
                </a:lnTo>
                <a:lnTo>
                  <a:pt x="8472" y="1944"/>
                </a:lnTo>
                <a:lnTo>
                  <a:pt x="8466" y="1938"/>
                </a:lnTo>
                <a:lnTo>
                  <a:pt x="8460" y="1926"/>
                </a:lnTo>
                <a:lnTo>
                  <a:pt x="8448" y="1920"/>
                </a:lnTo>
                <a:lnTo>
                  <a:pt x="8442" y="1908"/>
                </a:lnTo>
                <a:lnTo>
                  <a:pt x="8424" y="1890"/>
                </a:lnTo>
                <a:lnTo>
                  <a:pt x="8412" y="1890"/>
                </a:lnTo>
                <a:lnTo>
                  <a:pt x="8406" y="1884"/>
                </a:lnTo>
                <a:lnTo>
                  <a:pt x="8400" y="1872"/>
                </a:lnTo>
                <a:lnTo>
                  <a:pt x="8400" y="1860"/>
                </a:lnTo>
                <a:lnTo>
                  <a:pt x="8406" y="1848"/>
                </a:lnTo>
                <a:lnTo>
                  <a:pt x="8412" y="1842"/>
                </a:lnTo>
                <a:lnTo>
                  <a:pt x="8424" y="1836"/>
                </a:lnTo>
                <a:lnTo>
                  <a:pt x="8430" y="1830"/>
                </a:lnTo>
                <a:lnTo>
                  <a:pt x="8442" y="1836"/>
                </a:lnTo>
                <a:lnTo>
                  <a:pt x="8466" y="1836"/>
                </a:lnTo>
                <a:lnTo>
                  <a:pt x="8472" y="1830"/>
                </a:lnTo>
                <a:lnTo>
                  <a:pt x="8472" y="1812"/>
                </a:lnTo>
                <a:lnTo>
                  <a:pt x="8454" y="1794"/>
                </a:lnTo>
                <a:lnTo>
                  <a:pt x="8436" y="1788"/>
                </a:lnTo>
                <a:lnTo>
                  <a:pt x="8424" y="1782"/>
                </a:lnTo>
                <a:lnTo>
                  <a:pt x="8406" y="1770"/>
                </a:lnTo>
                <a:lnTo>
                  <a:pt x="8394" y="1758"/>
                </a:lnTo>
                <a:lnTo>
                  <a:pt x="8388" y="1740"/>
                </a:lnTo>
                <a:lnTo>
                  <a:pt x="8376" y="1716"/>
                </a:lnTo>
                <a:lnTo>
                  <a:pt x="8376" y="1704"/>
                </a:lnTo>
                <a:lnTo>
                  <a:pt x="8370" y="1698"/>
                </a:lnTo>
                <a:lnTo>
                  <a:pt x="8370" y="1692"/>
                </a:lnTo>
                <a:lnTo>
                  <a:pt x="8382" y="1686"/>
                </a:lnTo>
                <a:lnTo>
                  <a:pt x="8406" y="1710"/>
                </a:lnTo>
                <a:lnTo>
                  <a:pt x="8418" y="1716"/>
                </a:lnTo>
                <a:lnTo>
                  <a:pt x="8430" y="1716"/>
                </a:lnTo>
                <a:lnTo>
                  <a:pt x="8430" y="1710"/>
                </a:lnTo>
                <a:lnTo>
                  <a:pt x="8424" y="1704"/>
                </a:lnTo>
                <a:lnTo>
                  <a:pt x="8418" y="1692"/>
                </a:lnTo>
                <a:lnTo>
                  <a:pt x="8412" y="1686"/>
                </a:lnTo>
                <a:lnTo>
                  <a:pt x="8406" y="1674"/>
                </a:lnTo>
                <a:lnTo>
                  <a:pt x="8400" y="1668"/>
                </a:lnTo>
                <a:lnTo>
                  <a:pt x="8364" y="1668"/>
                </a:lnTo>
                <a:lnTo>
                  <a:pt x="8316" y="1626"/>
                </a:lnTo>
                <a:lnTo>
                  <a:pt x="8316" y="1596"/>
                </a:lnTo>
                <a:lnTo>
                  <a:pt x="8310" y="1590"/>
                </a:lnTo>
                <a:lnTo>
                  <a:pt x="8298" y="1584"/>
                </a:lnTo>
                <a:lnTo>
                  <a:pt x="8280" y="1578"/>
                </a:lnTo>
                <a:lnTo>
                  <a:pt x="8268" y="1572"/>
                </a:lnTo>
                <a:lnTo>
                  <a:pt x="8256" y="1572"/>
                </a:lnTo>
                <a:lnTo>
                  <a:pt x="8256" y="1590"/>
                </a:lnTo>
                <a:lnTo>
                  <a:pt x="8250" y="1590"/>
                </a:lnTo>
                <a:lnTo>
                  <a:pt x="8244" y="1584"/>
                </a:lnTo>
                <a:lnTo>
                  <a:pt x="8232" y="1584"/>
                </a:lnTo>
                <a:lnTo>
                  <a:pt x="8214" y="1572"/>
                </a:lnTo>
                <a:lnTo>
                  <a:pt x="8202" y="1566"/>
                </a:lnTo>
                <a:lnTo>
                  <a:pt x="8196" y="1560"/>
                </a:lnTo>
                <a:lnTo>
                  <a:pt x="8190" y="1548"/>
                </a:lnTo>
                <a:lnTo>
                  <a:pt x="8190" y="1536"/>
                </a:lnTo>
                <a:lnTo>
                  <a:pt x="8196" y="1524"/>
                </a:lnTo>
                <a:lnTo>
                  <a:pt x="8196" y="1500"/>
                </a:lnTo>
                <a:lnTo>
                  <a:pt x="8184" y="1476"/>
                </a:lnTo>
                <a:lnTo>
                  <a:pt x="8166" y="1458"/>
                </a:lnTo>
                <a:lnTo>
                  <a:pt x="8154" y="1452"/>
                </a:lnTo>
                <a:lnTo>
                  <a:pt x="8154" y="1434"/>
                </a:lnTo>
                <a:lnTo>
                  <a:pt x="8160" y="1428"/>
                </a:lnTo>
                <a:lnTo>
                  <a:pt x="8172" y="1428"/>
                </a:lnTo>
                <a:lnTo>
                  <a:pt x="8184" y="1434"/>
                </a:lnTo>
                <a:lnTo>
                  <a:pt x="8196" y="1416"/>
                </a:lnTo>
                <a:lnTo>
                  <a:pt x="8232" y="1446"/>
                </a:lnTo>
                <a:lnTo>
                  <a:pt x="8238" y="1440"/>
                </a:lnTo>
                <a:lnTo>
                  <a:pt x="8226" y="1428"/>
                </a:lnTo>
                <a:lnTo>
                  <a:pt x="8226" y="1422"/>
                </a:lnTo>
                <a:lnTo>
                  <a:pt x="8232" y="1416"/>
                </a:lnTo>
                <a:lnTo>
                  <a:pt x="8232" y="1404"/>
                </a:lnTo>
                <a:lnTo>
                  <a:pt x="8238" y="1392"/>
                </a:lnTo>
                <a:lnTo>
                  <a:pt x="8250" y="1386"/>
                </a:lnTo>
                <a:lnTo>
                  <a:pt x="8256" y="1386"/>
                </a:lnTo>
                <a:lnTo>
                  <a:pt x="8274" y="1404"/>
                </a:lnTo>
                <a:lnTo>
                  <a:pt x="8280" y="1416"/>
                </a:lnTo>
                <a:lnTo>
                  <a:pt x="8292" y="1428"/>
                </a:lnTo>
                <a:lnTo>
                  <a:pt x="8304" y="1434"/>
                </a:lnTo>
                <a:lnTo>
                  <a:pt x="8310" y="1446"/>
                </a:lnTo>
                <a:lnTo>
                  <a:pt x="8322" y="1398"/>
                </a:lnTo>
                <a:lnTo>
                  <a:pt x="8334" y="1398"/>
                </a:lnTo>
                <a:lnTo>
                  <a:pt x="8364" y="1392"/>
                </a:lnTo>
                <a:lnTo>
                  <a:pt x="8400" y="1386"/>
                </a:lnTo>
                <a:lnTo>
                  <a:pt x="8430" y="1386"/>
                </a:lnTo>
                <a:lnTo>
                  <a:pt x="8478" y="1410"/>
                </a:lnTo>
                <a:lnTo>
                  <a:pt x="8484" y="1416"/>
                </a:lnTo>
                <a:lnTo>
                  <a:pt x="8490" y="1416"/>
                </a:lnTo>
                <a:lnTo>
                  <a:pt x="8532" y="1434"/>
                </a:lnTo>
                <a:lnTo>
                  <a:pt x="8502" y="1374"/>
                </a:lnTo>
                <a:lnTo>
                  <a:pt x="8526" y="1374"/>
                </a:lnTo>
                <a:lnTo>
                  <a:pt x="8538" y="1368"/>
                </a:lnTo>
                <a:lnTo>
                  <a:pt x="8550" y="1356"/>
                </a:lnTo>
                <a:lnTo>
                  <a:pt x="8550" y="1332"/>
                </a:lnTo>
                <a:lnTo>
                  <a:pt x="8544" y="1326"/>
                </a:lnTo>
                <a:lnTo>
                  <a:pt x="8538" y="1314"/>
                </a:lnTo>
                <a:lnTo>
                  <a:pt x="8562" y="1314"/>
                </a:lnTo>
                <a:lnTo>
                  <a:pt x="8562" y="1290"/>
                </a:lnTo>
                <a:lnTo>
                  <a:pt x="8574" y="1290"/>
                </a:lnTo>
                <a:lnTo>
                  <a:pt x="8586" y="1296"/>
                </a:lnTo>
                <a:lnTo>
                  <a:pt x="8616" y="1296"/>
                </a:lnTo>
                <a:lnTo>
                  <a:pt x="8628" y="1290"/>
                </a:lnTo>
                <a:lnTo>
                  <a:pt x="8634" y="1284"/>
                </a:lnTo>
                <a:lnTo>
                  <a:pt x="8640" y="1272"/>
                </a:lnTo>
                <a:lnTo>
                  <a:pt x="8652" y="1260"/>
                </a:lnTo>
                <a:lnTo>
                  <a:pt x="8658" y="1248"/>
                </a:lnTo>
                <a:lnTo>
                  <a:pt x="8664" y="1242"/>
                </a:lnTo>
                <a:lnTo>
                  <a:pt x="8670" y="1242"/>
                </a:lnTo>
                <a:lnTo>
                  <a:pt x="8652" y="1218"/>
                </a:lnTo>
                <a:lnTo>
                  <a:pt x="8682" y="1218"/>
                </a:lnTo>
                <a:lnTo>
                  <a:pt x="8688" y="1236"/>
                </a:lnTo>
                <a:lnTo>
                  <a:pt x="8748" y="1242"/>
                </a:lnTo>
                <a:lnTo>
                  <a:pt x="8760" y="1242"/>
                </a:lnTo>
                <a:lnTo>
                  <a:pt x="8772" y="1248"/>
                </a:lnTo>
                <a:lnTo>
                  <a:pt x="8808" y="1248"/>
                </a:lnTo>
                <a:lnTo>
                  <a:pt x="8808" y="1230"/>
                </a:lnTo>
                <a:lnTo>
                  <a:pt x="8802" y="1218"/>
                </a:lnTo>
                <a:lnTo>
                  <a:pt x="8766" y="1218"/>
                </a:lnTo>
                <a:lnTo>
                  <a:pt x="8760" y="1194"/>
                </a:lnTo>
                <a:lnTo>
                  <a:pt x="8754" y="1194"/>
                </a:lnTo>
                <a:lnTo>
                  <a:pt x="8748" y="1188"/>
                </a:lnTo>
                <a:lnTo>
                  <a:pt x="8736" y="1188"/>
                </a:lnTo>
                <a:lnTo>
                  <a:pt x="8712" y="1176"/>
                </a:lnTo>
                <a:lnTo>
                  <a:pt x="8700" y="1176"/>
                </a:lnTo>
                <a:lnTo>
                  <a:pt x="8688" y="1170"/>
                </a:lnTo>
                <a:lnTo>
                  <a:pt x="8658" y="1170"/>
                </a:lnTo>
                <a:lnTo>
                  <a:pt x="8664" y="1152"/>
                </a:lnTo>
                <a:lnTo>
                  <a:pt x="8592" y="1104"/>
                </a:lnTo>
                <a:lnTo>
                  <a:pt x="8574" y="1122"/>
                </a:lnTo>
                <a:lnTo>
                  <a:pt x="8568" y="1122"/>
                </a:lnTo>
                <a:lnTo>
                  <a:pt x="8562" y="1116"/>
                </a:lnTo>
                <a:lnTo>
                  <a:pt x="8550" y="1116"/>
                </a:lnTo>
                <a:lnTo>
                  <a:pt x="8538" y="1110"/>
                </a:lnTo>
                <a:lnTo>
                  <a:pt x="8532" y="1110"/>
                </a:lnTo>
                <a:lnTo>
                  <a:pt x="8520" y="1104"/>
                </a:lnTo>
                <a:lnTo>
                  <a:pt x="8508" y="1092"/>
                </a:lnTo>
                <a:lnTo>
                  <a:pt x="8502" y="1092"/>
                </a:lnTo>
                <a:lnTo>
                  <a:pt x="8466" y="1098"/>
                </a:lnTo>
                <a:lnTo>
                  <a:pt x="8442" y="1092"/>
                </a:lnTo>
                <a:lnTo>
                  <a:pt x="8430" y="1086"/>
                </a:lnTo>
                <a:lnTo>
                  <a:pt x="8412" y="1068"/>
                </a:lnTo>
                <a:lnTo>
                  <a:pt x="8406" y="1068"/>
                </a:lnTo>
                <a:lnTo>
                  <a:pt x="8412" y="1062"/>
                </a:lnTo>
                <a:lnTo>
                  <a:pt x="8436" y="1062"/>
                </a:lnTo>
                <a:lnTo>
                  <a:pt x="8460" y="1074"/>
                </a:lnTo>
                <a:lnTo>
                  <a:pt x="8478" y="1074"/>
                </a:lnTo>
                <a:lnTo>
                  <a:pt x="8496" y="1080"/>
                </a:lnTo>
                <a:lnTo>
                  <a:pt x="8514" y="1080"/>
                </a:lnTo>
                <a:lnTo>
                  <a:pt x="8526" y="1086"/>
                </a:lnTo>
                <a:lnTo>
                  <a:pt x="8544" y="1086"/>
                </a:lnTo>
                <a:lnTo>
                  <a:pt x="8550" y="1080"/>
                </a:lnTo>
                <a:lnTo>
                  <a:pt x="8562" y="1080"/>
                </a:lnTo>
                <a:lnTo>
                  <a:pt x="8580" y="1074"/>
                </a:lnTo>
                <a:lnTo>
                  <a:pt x="8604" y="1062"/>
                </a:lnTo>
                <a:lnTo>
                  <a:pt x="8616" y="1050"/>
                </a:lnTo>
                <a:lnTo>
                  <a:pt x="8604" y="1038"/>
                </a:lnTo>
                <a:lnTo>
                  <a:pt x="8592" y="1032"/>
                </a:lnTo>
                <a:lnTo>
                  <a:pt x="8586" y="1026"/>
                </a:lnTo>
                <a:lnTo>
                  <a:pt x="8574" y="1020"/>
                </a:lnTo>
                <a:lnTo>
                  <a:pt x="8568" y="1014"/>
                </a:lnTo>
                <a:lnTo>
                  <a:pt x="8562" y="1014"/>
                </a:lnTo>
                <a:lnTo>
                  <a:pt x="8556" y="1008"/>
                </a:lnTo>
                <a:lnTo>
                  <a:pt x="8520" y="990"/>
                </a:lnTo>
                <a:lnTo>
                  <a:pt x="8508" y="978"/>
                </a:lnTo>
                <a:lnTo>
                  <a:pt x="8514" y="972"/>
                </a:lnTo>
                <a:lnTo>
                  <a:pt x="8538" y="972"/>
                </a:lnTo>
                <a:lnTo>
                  <a:pt x="8556" y="978"/>
                </a:lnTo>
                <a:lnTo>
                  <a:pt x="8562" y="984"/>
                </a:lnTo>
                <a:lnTo>
                  <a:pt x="8574" y="990"/>
                </a:lnTo>
                <a:lnTo>
                  <a:pt x="8580" y="990"/>
                </a:lnTo>
                <a:lnTo>
                  <a:pt x="8586" y="996"/>
                </a:lnTo>
                <a:lnTo>
                  <a:pt x="8610" y="1008"/>
                </a:lnTo>
                <a:lnTo>
                  <a:pt x="8628" y="1020"/>
                </a:lnTo>
                <a:lnTo>
                  <a:pt x="8652" y="1032"/>
                </a:lnTo>
                <a:lnTo>
                  <a:pt x="8664" y="1032"/>
                </a:lnTo>
                <a:lnTo>
                  <a:pt x="8676" y="1026"/>
                </a:lnTo>
                <a:lnTo>
                  <a:pt x="8682" y="1026"/>
                </a:lnTo>
                <a:lnTo>
                  <a:pt x="8688" y="1020"/>
                </a:lnTo>
                <a:lnTo>
                  <a:pt x="8730" y="1020"/>
                </a:lnTo>
                <a:lnTo>
                  <a:pt x="8754" y="1026"/>
                </a:lnTo>
                <a:lnTo>
                  <a:pt x="8808" y="1044"/>
                </a:lnTo>
                <a:lnTo>
                  <a:pt x="8850" y="1062"/>
                </a:lnTo>
                <a:lnTo>
                  <a:pt x="8880" y="1068"/>
                </a:lnTo>
                <a:lnTo>
                  <a:pt x="8886" y="1074"/>
                </a:lnTo>
                <a:lnTo>
                  <a:pt x="8898" y="1074"/>
                </a:lnTo>
                <a:lnTo>
                  <a:pt x="8934" y="1086"/>
                </a:lnTo>
                <a:lnTo>
                  <a:pt x="8946" y="1086"/>
                </a:lnTo>
                <a:lnTo>
                  <a:pt x="8952" y="1092"/>
                </a:lnTo>
                <a:lnTo>
                  <a:pt x="8958" y="1092"/>
                </a:lnTo>
                <a:lnTo>
                  <a:pt x="8970" y="1098"/>
                </a:lnTo>
                <a:lnTo>
                  <a:pt x="8976" y="1104"/>
                </a:lnTo>
                <a:lnTo>
                  <a:pt x="8988" y="1110"/>
                </a:lnTo>
                <a:lnTo>
                  <a:pt x="9000" y="1110"/>
                </a:lnTo>
                <a:lnTo>
                  <a:pt x="9018" y="1116"/>
                </a:lnTo>
                <a:lnTo>
                  <a:pt x="9024" y="1122"/>
                </a:lnTo>
                <a:lnTo>
                  <a:pt x="9042" y="1122"/>
                </a:lnTo>
                <a:lnTo>
                  <a:pt x="9042" y="1116"/>
                </a:lnTo>
                <a:lnTo>
                  <a:pt x="9036" y="1098"/>
                </a:lnTo>
                <a:lnTo>
                  <a:pt x="9012" y="1074"/>
                </a:lnTo>
                <a:lnTo>
                  <a:pt x="9006" y="1074"/>
                </a:lnTo>
                <a:lnTo>
                  <a:pt x="9024" y="1056"/>
                </a:lnTo>
                <a:lnTo>
                  <a:pt x="8976" y="1038"/>
                </a:lnTo>
                <a:lnTo>
                  <a:pt x="8988" y="1032"/>
                </a:lnTo>
                <a:lnTo>
                  <a:pt x="8940" y="1008"/>
                </a:lnTo>
                <a:lnTo>
                  <a:pt x="8994" y="1020"/>
                </a:lnTo>
                <a:lnTo>
                  <a:pt x="8988" y="996"/>
                </a:lnTo>
                <a:lnTo>
                  <a:pt x="9000" y="996"/>
                </a:lnTo>
                <a:lnTo>
                  <a:pt x="9012" y="1002"/>
                </a:lnTo>
                <a:lnTo>
                  <a:pt x="9048" y="1002"/>
                </a:lnTo>
                <a:lnTo>
                  <a:pt x="9048" y="99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9" name="Republic Congo"/>
          <p:cNvSpPr>
            <a:spLocks/>
          </p:cNvSpPr>
          <p:nvPr/>
        </p:nvSpPr>
        <p:spPr bwMode="gray">
          <a:xfrm>
            <a:off x="4368071" y="4085305"/>
            <a:ext cx="542925" cy="611188"/>
          </a:xfrm>
          <a:custGeom>
            <a:avLst/>
            <a:gdLst>
              <a:gd name="T0" fmla="*/ 2147483647 w 1350"/>
              <a:gd name="T1" fmla="*/ 2147483647 h 1518"/>
              <a:gd name="T2" fmla="*/ 2147483647 w 1350"/>
              <a:gd name="T3" fmla="*/ 2147483647 h 1518"/>
              <a:gd name="T4" fmla="*/ 2147483647 w 1350"/>
              <a:gd name="T5" fmla="*/ 2147483647 h 1518"/>
              <a:gd name="T6" fmla="*/ 2147483647 w 1350"/>
              <a:gd name="T7" fmla="*/ 2147483647 h 1518"/>
              <a:gd name="T8" fmla="*/ 2147483647 w 1350"/>
              <a:gd name="T9" fmla="*/ 2147483647 h 1518"/>
              <a:gd name="T10" fmla="*/ 2147483647 w 1350"/>
              <a:gd name="T11" fmla="*/ 2147483647 h 1518"/>
              <a:gd name="T12" fmla="*/ 2147483647 w 1350"/>
              <a:gd name="T13" fmla="*/ 2147483647 h 1518"/>
              <a:gd name="T14" fmla="*/ 2147483647 w 1350"/>
              <a:gd name="T15" fmla="*/ 2147483647 h 1518"/>
              <a:gd name="T16" fmla="*/ 2147483647 w 1350"/>
              <a:gd name="T17" fmla="*/ 2147483647 h 1518"/>
              <a:gd name="T18" fmla="*/ 2147483647 w 1350"/>
              <a:gd name="T19" fmla="*/ 2147483647 h 1518"/>
              <a:gd name="T20" fmla="*/ 2147483647 w 1350"/>
              <a:gd name="T21" fmla="*/ 2147483647 h 1518"/>
              <a:gd name="T22" fmla="*/ 2147483647 w 1350"/>
              <a:gd name="T23" fmla="*/ 2147483647 h 1518"/>
              <a:gd name="T24" fmla="*/ 2147483647 w 1350"/>
              <a:gd name="T25" fmla="*/ 2147483647 h 1518"/>
              <a:gd name="T26" fmla="*/ 2147483647 w 1350"/>
              <a:gd name="T27" fmla="*/ 2147483647 h 1518"/>
              <a:gd name="T28" fmla="*/ 2147483647 w 1350"/>
              <a:gd name="T29" fmla="*/ 2147483647 h 1518"/>
              <a:gd name="T30" fmla="*/ 2147483647 w 1350"/>
              <a:gd name="T31" fmla="*/ 2147483647 h 1518"/>
              <a:gd name="T32" fmla="*/ 2147483647 w 1350"/>
              <a:gd name="T33" fmla="*/ 2147483647 h 1518"/>
              <a:gd name="T34" fmla="*/ 2147483647 w 1350"/>
              <a:gd name="T35" fmla="*/ 2147483647 h 1518"/>
              <a:gd name="T36" fmla="*/ 2147483647 w 1350"/>
              <a:gd name="T37" fmla="*/ 2147483647 h 1518"/>
              <a:gd name="T38" fmla="*/ 2147483647 w 1350"/>
              <a:gd name="T39" fmla="*/ 2147483647 h 1518"/>
              <a:gd name="T40" fmla="*/ 2147483647 w 1350"/>
              <a:gd name="T41" fmla="*/ 2147483647 h 1518"/>
              <a:gd name="T42" fmla="*/ 2147483647 w 1350"/>
              <a:gd name="T43" fmla="*/ 2147483647 h 1518"/>
              <a:gd name="T44" fmla="*/ 2147483647 w 1350"/>
              <a:gd name="T45" fmla="*/ 2147483647 h 1518"/>
              <a:gd name="T46" fmla="*/ 2147483647 w 1350"/>
              <a:gd name="T47" fmla="*/ 2147483647 h 1518"/>
              <a:gd name="T48" fmla="*/ 2147483647 w 1350"/>
              <a:gd name="T49" fmla="*/ 2147483647 h 1518"/>
              <a:gd name="T50" fmla="*/ 2147483647 w 1350"/>
              <a:gd name="T51" fmla="*/ 2147483647 h 1518"/>
              <a:gd name="T52" fmla="*/ 2147483647 w 1350"/>
              <a:gd name="T53" fmla="*/ 2147483647 h 1518"/>
              <a:gd name="T54" fmla="*/ 2147483647 w 1350"/>
              <a:gd name="T55" fmla="*/ 2147483647 h 1518"/>
              <a:gd name="T56" fmla="*/ 2147483647 w 1350"/>
              <a:gd name="T57" fmla="*/ 2147483647 h 1518"/>
              <a:gd name="T58" fmla="*/ 2147483647 w 1350"/>
              <a:gd name="T59" fmla="*/ 2147483647 h 1518"/>
              <a:gd name="T60" fmla="*/ 2147483647 w 1350"/>
              <a:gd name="T61" fmla="*/ 2147483647 h 1518"/>
              <a:gd name="T62" fmla="*/ 2147483647 w 1350"/>
              <a:gd name="T63" fmla="*/ 2147483647 h 1518"/>
              <a:gd name="T64" fmla="*/ 2147483647 w 1350"/>
              <a:gd name="T65" fmla="*/ 2147483647 h 1518"/>
              <a:gd name="T66" fmla="*/ 2147483647 w 1350"/>
              <a:gd name="T67" fmla="*/ 2147483647 h 1518"/>
              <a:gd name="T68" fmla="*/ 2147483647 w 1350"/>
              <a:gd name="T69" fmla="*/ 2147483647 h 1518"/>
              <a:gd name="T70" fmla="*/ 2147483647 w 1350"/>
              <a:gd name="T71" fmla="*/ 2147483647 h 1518"/>
              <a:gd name="T72" fmla="*/ 2147483647 w 1350"/>
              <a:gd name="T73" fmla="*/ 2147483647 h 1518"/>
              <a:gd name="T74" fmla="*/ 2147483647 w 1350"/>
              <a:gd name="T75" fmla="*/ 2147483647 h 1518"/>
              <a:gd name="T76" fmla="*/ 2147483647 w 1350"/>
              <a:gd name="T77" fmla="*/ 2147483647 h 1518"/>
              <a:gd name="T78" fmla="*/ 2147483647 w 1350"/>
              <a:gd name="T79" fmla="*/ 2147483647 h 1518"/>
              <a:gd name="T80" fmla="*/ 2147483647 w 1350"/>
              <a:gd name="T81" fmla="*/ 2147483647 h 1518"/>
              <a:gd name="T82" fmla="*/ 2147483647 w 1350"/>
              <a:gd name="T83" fmla="*/ 2147483647 h 1518"/>
              <a:gd name="T84" fmla="*/ 2147483647 w 1350"/>
              <a:gd name="T85" fmla="*/ 2147483647 h 1518"/>
              <a:gd name="T86" fmla="*/ 2147483647 w 1350"/>
              <a:gd name="T87" fmla="*/ 2147483647 h 1518"/>
              <a:gd name="T88" fmla="*/ 2147483647 w 1350"/>
              <a:gd name="T89" fmla="*/ 2147483647 h 1518"/>
              <a:gd name="T90" fmla="*/ 2147483647 w 1350"/>
              <a:gd name="T91" fmla="*/ 2147483647 h 1518"/>
              <a:gd name="T92" fmla="*/ 2147483647 w 1350"/>
              <a:gd name="T93" fmla="*/ 2147483647 h 1518"/>
              <a:gd name="T94" fmla="*/ 2147483647 w 1350"/>
              <a:gd name="T95" fmla="*/ 2147483647 h 1518"/>
              <a:gd name="T96" fmla="*/ 2147483647 w 1350"/>
              <a:gd name="T97" fmla="*/ 2147483647 h 1518"/>
              <a:gd name="T98" fmla="*/ 2147483647 w 1350"/>
              <a:gd name="T99" fmla="*/ 2147483647 h 1518"/>
              <a:gd name="T100" fmla="*/ 2147483647 w 1350"/>
              <a:gd name="T101" fmla="*/ 2147483647 h 1518"/>
              <a:gd name="T102" fmla="*/ 2147483647 w 1350"/>
              <a:gd name="T103" fmla="*/ 2147483647 h 1518"/>
              <a:gd name="T104" fmla="*/ 2147483647 w 1350"/>
              <a:gd name="T105" fmla="*/ 2147483647 h 1518"/>
              <a:gd name="T106" fmla="*/ 2147483647 w 1350"/>
              <a:gd name="T107" fmla="*/ 2147483647 h 1518"/>
              <a:gd name="T108" fmla="*/ 2147483647 w 1350"/>
              <a:gd name="T109" fmla="*/ 2147483647 h 1518"/>
              <a:gd name="T110" fmla="*/ 2147483647 w 1350"/>
              <a:gd name="T111" fmla="*/ 2147483647 h 1518"/>
              <a:gd name="T112" fmla="*/ 2147483647 w 1350"/>
              <a:gd name="T113" fmla="*/ 2147483647 h 1518"/>
              <a:gd name="T114" fmla="*/ 2147483647 w 1350"/>
              <a:gd name="T115" fmla="*/ 2147483647 h 1518"/>
              <a:gd name="T116" fmla="*/ 2147483647 w 1350"/>
              <a:gd name="T117" fmla="*/ 2147483647 h 1518"/>
              <a:gd name="T118" fmla="*/ 2147483647 w 1350"/>
              <a:gd name="T119" fmla="*/ 2147483647 h 1518"/>
              <a:gd name="T120" fmla="*/ 2147483647 w 1350"/>
              <a:gd name="T121" fmla="*/ 2147483647 h 1518"/>
              <a:gd name="T122" fmla="*/ 2147483647 w 1350"/>
              <a:gd name="T123" fmla="*/ 2147483647 h 1518"/>
              <a:gd name="T124" fmla="*/ 2147483647 w 1350"/>
              <a:gd name="T125" fmla="*/ 2147483647 h 151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350"/>
              <a:gd name="T190" fmla="*/ 0 h 1518"/>
              <a:gd name="T191" fmla="*/ 1350 w 1350"/>
              <a:gd name="T192" fmla="*/ 1518 h 151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350" h="1518">
                <a:moveTo>
                  <a:pt x="1242" y="468"/>
                </a:moveTo>
                <a:lnTo>
                  <a:pt x="1242" y="438"/>
                </a:lnTo>
                <a:lnTo>
                  <a:pt x="1260" y="366"/>
                </a:lnTo>
                <a:lnTo>
                  <a:pt x="1278" y="354"/>
                </a:lnTo>
                <a:lnTo>
                  <a:pt x="1278" y="342"/>
                </a:lnTo>
                <a:lnTo>
                  <a:pt x="1302" y="330"/>
                </a:lnTo>
                <a:lnTo>
                  <a:pt x="1308" y="318"/>
                </a:lnTo>
                <a:lnTo>
                  <a:pt x="1320" y="312"/>
                </a:lnTo>
                <a:lnTo>
                  <a:pt x="1332" y="288"/>
                </a:lnTo>
                <a:lnTo>
                  <a:pt x="1344" y="276"/>
                </a:lnTo>
                <a:lnTo>
                  <a:pt x="1350" y="264"/>
                </a:lnTo>
                <a:lnTo>
                  <a:pt x="1350" y="252"/>
                </a:lnTo>
                <a:lnTo>
                  <a:pt x="1344" y="246"/>
                </a:lnTo>
                <a:lnTo>
                  <a:pt x="1332" y="240"/>
                </a:lnTo>
                <a:lnTo>
                  <a:pt x="1320" y="240"/>
                </a:lnTo>
                <a:lnTo>
                  <a:pt x="1314" y="234"/>
                </a:lnTo>
                <a:lnTo>
                  <a:pt x="1314" y="222"/>
                </a:lnTo>
                <a:lnTo>
                  <a:pt x="1320" y="210"/>
                </a:lnTo>
                <a:lnTo>
                  <a:pt x="1326" y="204"/>
                </a:lnTo>
                <a:lnTo>
                  <a:pt x="1326" y="198"/>
                </a:lnTo>
                <a:lnTo>
                  <a:pt x="1320" y="192"/>
                </a:lnTo>
                <a:lnTo>
                  <a:pt x="1308" y="186"/>
                </a:lnTo>
                <a:lnTo>
                  <a:pt x="1326" y="168"/>
                </a:lnTo>
                <a:lnTo>
                  <a:pt x="1320" y="144"/>
                </a:lnTo>
                <a:lnTo>
                  <a:pt x="1302" y="144"/>
                </a:lnTo>
                <a:lnTo>
                  <a:pt x="1296" y="120"/>
                </a:lnTo>
                <a:lnTo>
                  <a:pt x="1290" y="120"/>
                </a:lnTo>
                <a:lnTo>
                  <a:pt x="1284" y="114"/>
                </a:lnTo>
                <a:lnTo>
                  <a:pt x="1272" y="108"/>
                </a:lnTo>
                <a:lnTo>
                  <a:pt x="1260" y="96"/>
                </a:lnTo>
                <a:lnTo>
                  <a:pt x="1254" y="84"/>
                </a:lnTo>
                <a:lnTo>
                  <a:pt x="1248" y="66"/>
                </a:lnTo>
                <a:lnTo>
                  <a:pt x="1236" y="60"/>
                </a:lnTo>
                <a:lnTo>
                  <a:pt x="1230" y="54"/>
                </a:lnTo>
                <a:lnTo>
                  <a:pt x="1218" y="66"/>
                </a:lnTo>
                <a:lnTo>
                  <a:pt x="1218" y="72"/>
                </a:lnTo>
                <a:lnTo>
                  <a:pt x="1206" y="84"/>
                </a:lnTo>
                <a:lnTo>
                  <a:pt x="1200" y="84"/>
                </a:lnTo>
                <a:lnTo>
                  <a:pt x="1188" y="78"/>
                </a:lnTo>
                <a:lnTo>
                  <a:pt x="1188" y="72"/>
                </a:lnTo>
                <a:lnTo>
                  <a:pt x="1176" y="66"/>
                </a:lnTo>
                <a:lnTo>
                  <a:pt x="1164" y="66"/>
                </a:lnTo>
                <a:lnTo>
                  <a:pt x="1158" y="72"/>
                </a:lnTo>
                <a:lnTo>
                  <a:pt x="1152" y="84"/>
                </a:lnTo>
                <a:lnTo>
                  <a:pt x="1146" y="90"/>
                </a:lnTo>
                <a:lnTo>
                  <a:pt x="1098" y="66"/>
                </a:lnTo>
                <a:lnTo>
                  <a:pt x="1098" y="42"/>
                </a:lnTo>
                <a:lnTo>
                  <a:pt x="1068" y="18"/>
                </a:lnTo>
                <a:lnTo>
                  <a:pt x="1062" y="6"/>
                </a:lnTo>
                <a:lnTo>
                  <a:pt x="1044" y="24"/>
                </a:lnTo>
                <a:lnTo>
                  <a:pt x="1026" y="30"/>
                </a:lnTo>
                <a:lnTo>
                  <a:pt x="1002" y="30"/>
                </a:lnTo>
                <a:lnTo>
                  <a:pt x="990" y="18"/>
                </a:lnTo>
                <a:lnTo>
                  <a:pt x="990" y="12"/>
                </a:lnTo>
                <a:lnTo>
                  <a:pt x="954" y="18"/>
                </a:lnTo>
                <a:lnTo>
                  <a:pt x="942" y="6"/>
                </a:lnTo>
                <a:lnTo>
                  <a:pt x="942" y="0"/>
                </a:lnTo>
                <a:lnTo>
                  <a:pt x="936" y="0"/>
                </a:lnTo>
                <a:lnTo>
                  <a:pt x="918" y="18"/>
                </a:lnTo>
                <a:lnTo>
                  <a:pt x="918" y="30"/>
                </a:lnTo>
                <a:lnTo>
                  <a:pt x="906" y="30"/>
                </a:lnTo>
                <a:lnTo>
                  <a:pt x="900" y="36"/>
                </a:lnTo>
                <a:lnTo>
                  <a:pt x="876" y="36"/>
                </a:lnTo>
                <a:lnTo>
                  <a:pt x="864" y="24"/>
                </a:lnTo>
                <a:lnTo>
                  <a:pt x="840" y="42"/>
                </a:lnTo>
                <a:lnTo>
                  <a:pt x="822" y="42"/>
                </a:lnTo>
                <a:lnTo>
                  <a:pt x="810" y="54"/>
                </a:lnTo>
                <a:lnTo>
                  <a:pt x="798" y="60"/>
                </a:lnTo>
                <a:lnTo>
                  <a:pt x="792" y="66"/>
                </a:lnTo>
                <a:lnTo>
                  <a:pt x="786" y="66"/>
                </a:lnTo>
                <a:lnTo>
                  <a:pt x="762" y="42"/>
                </a:lnTo>
                <a:lnTo>
                  <a:pt x="756" y="54"/>
                </a:lnTo>
                <a:lnTo>
                  <a:pt x="738" y="72"/>
                </a:lnTo>
                <a:lnTo>
                  <a:pt x="738" y="84"/>
                </a:lnTo>
                <a:lnTo>
                  <a:pt x="732" y="90"/>
                </a:lnTo>
                <a:lnTo>
                  <a:pt x="726" y="102"/>
                </a:lnTo>
                <a:lnTo>
                  <a:pt x="720" y="108"/>
                </a:lnTo>
                <a:lnTo>
                  <a:pt x="708" y="102"/>
                </a:lnTo>
                <a:lnTo>
                  <a:pt x="702" y="96"/>
                </a:lnTo>
                <a:lnTo>
                  <a:pt x="690" y="90"/>
                </a:lnTo>
                <a:lnTo>
                  <a:pt x="642" y="90"/>
                </a:lnTo>
                <a:lnTo>
                  <a:pt x="630" y="84"/>
                </a:lnTo>
                <a:lnTo>
                  <a:pt x="624" y="78"/>
                </a:lnTo>
                <a:lnTo>
                  <a:pt x="582" y="78"/>
                </a:lnTo>
                <a:lnTo>
                  <a:pt x="582" y="48"/>
                </a:lnTo>
                <a:lnTo>
                  <a:pt x="576" y="42"/>
                </a:lnTo>
                <a:lnTo>
                  <a:pt x="558" y="42"/>
                </a:lnTo>
                <a:lnTo>
                  <a:pt x="558" y="30"/>
                </a:lnTo>
                <a:lnTo>
                  <a:pt x="546" y="24"/>
                </a:lnTo>
                <a:lnTo>
                  <a:pt x="534" y="24"/>
                </a:lnTo>
                <a:lnTo>
                  <a:pt x="516" y="18"/>
                </a:lnTo>
                <a:lnTo>
                  <a:pt x="504" y="18"/>
                </a:lnTo>
                <a:lnTo>
                  <a:pt x="492" y="24"/>
                </a:lnTo>
                <a:lnTo>
                  <a:pt x="486" y="30"/>
                </a:lnTo>
                <a:lnTo>
                  <a:pt x="486" y="36"/>
                </a:lnTo>
                <a:lnTo>
                  <a:pt x="480" y="48"/>
                </a:lnTo>
                <a:lnTo>
                  <a:pt x="480" y="54"/>
                </a:lnTo>
                <a:lnTo>
                  <a:pt x="474" y="66"/>
                </a:lnTo>
                <a:lnTo>
                  <a:pt x="462" y="78"/>
                </a:lnTo>
                <a:lnTo>
                  <a:pt x="456" y="78"/>
                </a:lnTo>
                <a:lnTo>
                  <a:pt x="444" y="90"/>
                </a:lnTo>
                <a:lnTo>
                  <a:pt x="444" y="102"/>
                </a:lnTo>
                <a:lnTo>
                  <a:pt x="450" y="102"/>
                </a:lnTo>
                <a:lnTo>
                  <a:pt x="450" y="120"/>
                </a:lnTo>
                <a:lnTo>
                  <a:pt x="438" y="138"/>
                </a:lnTo>
                <a:lnTo>
                  <a:pt x="450" y="150"/>
                </a:lnTo>
                <a:lnTo>
                  <a:pt x="450" y="186"/>
                </a:lnTo>
                <a:lnTo>
                  <a:pt x="444" y="198"/>
                </a:lnTo>
                <a:lnTo>
                  <a:pt x="438" y="216"/>
                </a:lnTo>
                <a:lnTo>
                  <a:pt x="426" y="228"/>
                </a:lnTo>
                <a:lnTo>
                  <a:pt x="414" y="252"/>
                </a:lnTo>
                <a:lnTo>
                  <a:pt x="408" y="258"/>
                </a:lnTo>
                <a:lnTo>
                  <a:pt x="408" y="288"/>
                </a:lnTo>
                <a:lnTo>
                  <a:pt x="414" y="300"/>
                </a:lnTo>
                <a:lnTo>
                  <a:pt x="414" y="324"/>
                </a:lnTo>
                <a:lnTo>
                  <a:pt x="396" y="360"/>
                </a:lnTo>
                <a:lnTo>
                  <a:pt x="396" y="372"/>
                </a:lnTo>
                <a:lnTo>
                  <a:pt x="402" y="378"/>
                </a:lnTo>
                <a:lnTo>
                  <a:pt x="408" y="390"/>
                </a:lnTo>
                <a:lnTo>
                  <a:pt x="408" y="414"/>
                </a:lnTo>
                <a:lnTo>
                  <a:pt x="402" y="426"/>
                </a:lnTo>
                <a:lnTo>
                  <a:pt x="390" y="432"/>
                </a:lnTo>
                <a:lnTo>
                  <a:pt x="390" y="486"/>
                </a:lnTo>
                <a:lnTo>
                  <a:pt x="384" y="492"/>
                </a:lnTo>
                <a:lnTo>
                  <a:pt x="372" y="498"/>
                </a:lnTo>
                <a:lnTo>
                  <a:pt x="366" y="510"/>
                </a:lnTo>
                <a:lnTo>
                  <a:pt x="318" y="534"/>
                </a:lnTo>
                <a:lnTo>
                  <a:pt x="312" y="540"/>
                </a:lnTo>
                <a:lnTo>
                  <a:pt x="306" y="552"/>
                </a:lnTo>
                <a:lnTo>
                  <a:pt x="306" y="588"/>
                </a:lnTo>
                <a:lnTo>
                  <a:pt x="282" y="612"/>
                </a:lnTo>
                <a:lnTo>
                  <a:pt x="276" y="612"/>
                </a:lnTo>
                <a:lnTo>
                  <a:pt x="282" y="714"/>
                </a:lnTo>
                <a:lnTo>
                  <a:pt x="252" y="756"/>
                </a:lnTo>
                <a:lnTo>
                  <a:pt x="246" y="762"/>
                </a:lnTo>
                <a:lnTo>
                  <a:pt x="228" y="762"/>
                </a:lnTo>
                <a:lnTo>
                  <a:pt x="216" y="774"/>
                </a:lnTo>
                <a:lnTo>
                  <a:pt x="210" y="786"/>
                </a:lnTo>
                <a:lnTo>
                  <a:pt x="192" y="804"/>
                </a:lnTo>
                <a:lnTo>
                  <a:pt x="186" y="816"/>
                </a:lnTo>
                <a:lnTo>
                  <a:pt x="180" y="822"/>
                </a:lnTo>
                <a:lnTo>
                  <a:pt x="168" y="828"/>
                </a:lnTo>
                <a:lnTo>
                  <a:pt x="150" y="828"/>
                </a:lnTo>
                <a:lnTo>
                  <a:pt x="144" y="822"/>
                </a:lnTo>
                <a:lnTo>
                  <a:pt x="150" y="810"/>
                </a:lnTo>
                <a:lnTo>
                  <a:pt x="150" y="780"/>
                </a:lnTo>
                <a:lnTo>
                  <a:pt x="144" y="780"/>
                </a:lnTo>
                <a:lnTo>
                  <a:pt x="126" y="798"/>
                </a:lnTo>
                <a:lnTo>
                  <a:pt x="102" y="792"/>
                </a:lnTo>
                <a:lnTo>
                  <a:pt x="102" y="810"/>
                </a:lnTo>
                <a:lnTo>
                  <a:pt x="96" y="822"/>
                </a:lnTo>
                <a:lnTo>
                  <a:pt x="90" y="828"/>
                </a:lnTo>
                <a:lnTo>
                  <a:pt x="78" y="828"/>
                </a:lnTo>
                <a:lnTo>
                  <a:pt x="72" y="822"/>
                </a:lnTo>
                <a:lnTo>
                  <a:pt x="72" y="816"/>
                </a:lnTo>
                <a:lnTo>
                  <a:pt x="66" y="810"/>
                </a:lnTo>
                <a:lnTo>
                  <a:pt x="66" y="804"/>
                </a:lnTo>
                <a:lnTo>
                  <a:pt x="54" y="804"/>
                </a:lnTo>
                <a:lnTo>
                  <a:pt x="48" y="816"/>
                </a:lnTo>
                <a:lnTo>
                  <a:pt x="12" y="846"/>
                </a:lnTo>
                <a:lnTo>
                  <a:pt x="18" y="858"/>
                </a:lnTo>
                <a:lnTo>
                  <a:pt x="18" y="864"/>
                </a:lnTo>
                <a:lnTo>
                  <a:pt x="24" y="876"/>
                </a:lnTo>
                <a:lnTo>
                  <a:pt x="24" y="882"/>
                </a:lnTo>
                <a:lnTo>
                  <a:pt x="18" y="888"/>
                </a:lnTo>
                <a:lnTo>
                  <a:pt x="6" y="894"/>
                </a:lnTo>
                <a:lnTo>
                  <a:pt x="0" y="900"/>
                </a:lnTo>
                <a:lnTo>
                  <a:pt x="6" y="906"/>
                </a:lnTo>
                <a:lnTo>
                  <a:pt x="6" y="912"/>
                </a:lnTo>
                <a:lnTo>
                  <a:pt x="18" y="918"/>
                </a:lnTo>
                <a:lnTo>
                  <a:pt x="18" y="924"/>
                </a:lnTo>
                <a:lnTo>
                  <a:pt x="54" y="906"/>
                </a:lnTo>
                <a:lnTo>
                  <a:pt x="78" y="912"/>
                </a:lnTo>
                <a:lnTo>
                  <a:pt x="84" y="906"/>
                </a:lnTo>
                <a:lnTo>
                  <a:pt x="96" y="912"/>
                </a:lnTo>
                <a:lnTo>
                  <a:pt x="120" y="906"/>
                </a:lnTo>
                <a:lnTo>
                  <a:pt x="132" y="912"/>
                </a:lnTo>
                <a:lnTo>
                  <a:pt x="162" y="912"/>
                </a:lnTo>
                <a:lnTo>
                  <a:pt x="174" y="906"/>
                </a:lnTo>
                <a:lnTo>
                  <a:pt x="186" y="906"/>
                </a:lnTo>
                <a:lnTo>
                  <a:pt x="198" y="912"/>
                </a:lnTo>
                <a:lnTo>
                  <a:pt x="228" y="912"/>
                </a:lnTo>
                <a:lnTo>
                  <a:pt x="246" y="906"/>
                </a:lnTo>
                <a:lnTo>
                  <a:pt x="270" y="906"/>
                </a:lnTo>
                <a:lnTo>
                  <a:pt x="276" y="900"/>
                </a:lnTo>
                <a:lnTo>
                  <a:pt x="294" y="900"/>
                </a:lnTo>
                <a:lnTo>
                  <a:pt x="300" y="906"/>
                </a:lnTo>
                <a:lnTo>
                  <a:pt x="306" y="918"/>
                </a:lnTo>
                <a:lnTo>
                  <a:pt x="318" y="930"/>
                </a:lnTo>
                <a:lnTo>
                  <a:pt x="318" y="972"/>
                </a:lnTo>
                <a:lnTo>
                  <a:pt x="336" y="990"/>
                </a:lnTo>
                <a:lnTo>
                  <a:pt x="336" y="1014"/>
                </a:lnTo>
                <a:lnTo>
                  <a:pt x="330" y="1020"/>
                </a:lnTo>
                <a:lnTo>
                  <a:pt x="330" y="1026"/>
                </a:lnTo>
                <a:lnTo>
                  <a:pt x="336" y="1032"/>
                </a:lnTo>
                <a:lnTo>
                  <a:pt x="342" y="1032"/>
                </a:lnTo>
                <a:lnTo>
                  <a:pt x="354" y="1044"/>
                </a:lnTo>
                <a:lnTo>
                  <a:pt x="354" y="1056"/>
                </a:lnTo>
                <a:lnTo>
                  <a:pt x="360" y="1062"/>
                </a:lnTo>
                <a:lnTo>
                  <a:pt x="372" y="1086"/>
                </a:lnTo>
                <a:lnTo>
                  <a:pt x="402" y="1086"/>
                </a:lnTo>
                <a:lnTo>
                  <a:pt x="414" y="1092"/>
                </a:lnTo>
                <a:lnTo>
                  <a:pt x="420" y="1080"/>
                </a:lnTo>
                <a:lnTo>
                  <a:pt x="444" y="1080"/>
                </a:lnTo>
                <a:lnTo>
                  <a:pt x="456" y="1074"/>
                </a:lnTo>
                <a:lnTo>
                  <a:pt x="462" y="1080"/>
                </a:lnTo>
                <a:lnTo>
                  <a:pt x="504" y="1074"/>
                </a:lnTo>
                <a:lnTo>
                  <a:pt x="504" y="1056"/>
                </a:lnTo>
                <a:lnTo>
                  <a:pt x="510" y="1050"/>
                </a:lnTo>
                <a:lnTo>
                  <a:pt x="510" y="1044"/>
                </a:lnTo>
                <a:lnTo>
                  <a:pt x="522" y="1044"/>
                </a:lnTo>
                <a:lnTo>
                  <a:pt x="522" y="1032"/>
                </a:lnTo>
                <a:lnTo>
                  <a:pt x="516" y="1020"/>
                </a:lnTo>
                <a:lnTo>
                  <a:pt x="510" y="1014"/>
                </a:lnTo>
                <a:lnTo>
                  <a:pt x="510" y="1008"/>
                </a:lnTo>
                <a:lnTo>
                  <a:pt x="516" y="1002"/>
                </a:lnTo>
                <a:lnTo>
                  <a:pt x="564" y="1002"/>
                </a:lnTo>
                <a:lnTo>
                  <a:pt x="564" y="996"/>
                </a:lnTo>
                <a:lnTo>
                  <a:pt x="576" y="996"/>
                </a:lnTo>
                <a:lnTo>
                  <a:pt x="588" y="1002"/>
                </a:lnTo>
                <a:lnTo>
                  <a:pt x="588" y="1026"/>
                </a:lnTo>
                <a:lnTo>
                  <a:pt x="678" y="1026"/>
                </a:lnTo>
                <a:lnTo>
                  <a:pt x="678" y="1050"/>
                </a:lnTo>
                <a:lnTo>
                  <a:pt x="666" y="1068"/>
                </a:lnTo>
                <a:lnTo>
                  <a:pt x="672" y="1086"/>
                </a:lnTo>
                <a:lnTo>
                  <a:pt x="684" y="1098"/>
                </a:lnTo>
                <a:lnTo>
                  <a:pt x="690" y="1110"/>
                </a:lnTo>
                <a:lnTo>
                  <a:pt x="690" y="1122"/>
                </a:lnTo>
                <a:lnTo>
                  <a:pt x="684" y="1134"/>
                </a:lnTo>
                <a:lnTo>
                  <a:pt x="678" y="1140"/>
                </a:lnTo>
                <a:lnTo>
                  <a:pt x="684" y="1164"/>
                </a:lnTo>
                <a:lnTo>
                  <a:pt x="684" y="1176"/>
                </a:lnTo>
                <a:lnTo>
                  <a:pt x="678" y="1182"/>
                </a:lnTo>
                <a:lnTo>
                  <a:pt x="678" y="1194"/>
                </a:lnTo>
                <a:lnTo>
                  <a:pt x="684" y="1212"/>
                </a:lnTo>
                <a:lnTo>
                  <a:pt x="696" y="1230"/>
                </a:lnTo>
                <a:lnTo>
                  <a:pt x="708" y="1254"/>
                </a:lnTo>
                <a:lnTo>
                  <a:pt x="714" y="1260"/>
                </a:lnTo>
                <a:lnTo>
                  <a:pt x="714" y="1278"/>
                </a:lnTo>
                <a:lnTo>
                  <a:pt x="708" y="1290"/>
                </a:lnTo>
                <a:lnTo>
                  <a:pt x="708" y="1302"/>
                </a:lnTo>
                <a:lnTo>
                  <a:pt x="702" y="1308"/>
                </a:lnTo>
                <a:lnTo>
                  <a:pt x="702" y="1332"/>
                </a:lnTo>
                <a:lnTo>
                  <a:pt x="708" y="1338"/>
                </a:lnTo>
                <a:lnTo>
                  <a:pt x="714" y="1338"/>
                </a:lnTo>
                <a:lnTo>
                  <a:pt x="720" y="1344"/>
                </a:lnTo>
                <a:lnTo>
                  <a:pt x="726" y="1326"/>
                </a:lnTo>
                <a:lnTo>
                  <a:pt x="756" y="1332"/>
                </a:lnTo>
                <a:lnTo>
                  <a:pt x="780" y="1326"/>
                </a:lnTo>
                <a:lnTo>
                  <a:pt x="780" y="1314"/>
                </a:lnTo>
                <a:lnTo>
                  <a:pt x="792" y="1314"/>
                </a:lnTo>
                <a:lnTo>
                  <a:pt x="804" y="1326"/>
                </a:lnTo>
                <a:lnTo>
                  <a:pt x="828" y="1326"/>
                </a:lnTo>
                <a:lnTo>
                  <a:pt x="834" y="1308"/>
                </a:lnTo>
                <a:lnTo>
                  <a:pt x="840" y="1320"/>
                </a:lnTo>
                <a:lnTo>
                  <a:pt x="858" y="1320"/>
                </a:lnTo>
                <a:lnTo>
                  <a:pt x="858" y="1350"/>
                </a:lnTo>
                <a:lnTo>
                  <a:pt x="864" y="1356"/>
                </a:lnTo>
                <a:lnTo>
                  <a:pt x="882" y="1356"/>
                </a:lnTo>
                <a:lnTo>
                  <a:pt x="882" y="1350"/>
                </a:lnTo>
                <a:lnTo>
                  <a:pt x="876" y="1344"/>
                </a:lnTo>
                <a:lnTo>
                  <a:pt x="918" y="1338"/>
                </a:lnTo>
                <a:lnTo>
                  <a:pt x="918" y="1356"/>
                </a:lnTo>
                <a:lnTo>
                  <a:pt x="924" y="1368"/>
                </a:lnTo>
                <a:lnTo>
                  <a:pt x="930" y="1374"/>
                </a:lnTo>
                <a:lnTo>
                  <a:pt x="948" y="1386"/>
                </a:lnTo>
                <a:lnTo>
                  <a:pt x="984" y="1392"/>
                </a:lnTo>
                <a:lnTo>
                  <a:pt x="1014" y="1398"/>
                </a:lnTo>
                <a:lnTo>
                  <a:pt x="1032" y="1398"/>
                </a:lnTo>
                <a:lnTo>
                  <a:pt x="1032" y="1392"/>
                </a:lnTo>
                <a:lnTo>
                  <a:pt x="1038" y="1386"/>
                </a:lnTo>
                <a:lnTo>
                  <a:pt x="1038" y="1368"/>
                </a:lnTo>
                <a:lnTo>
                  <a:pt x="1044" y="1362"/>
                </a:lnTo>
                <a:lnTo>
                  <a:pt x="1050" y="1362"/>
                </a:lnTo>
                <a:lnTo>
                  <a:pt x="1062" y="1374"/>
                </a:lnTo>
                <a:lnTo>
                  <a:pt x="1062" y="1386"/>
                </a:lnTo>
                <a:lnTo>
                  <a:pt x="1068" y="1392"/>
                </a:lnTo>
                <a:lnTo>
                  <a:pt x="1080" y="1392"/>
                </a:lnTo>
                <a:lnTo>
                  <a:pt x="1080" y="1404"/>
                </a:lnTo>
                <a:lnTo>
                  <a:pt x="1074" y="1404"/>
                </a:lnTo>
                <a:lnTo>
                  <a:pt x="1074" y="1416"/>
                </a:lnTo>
                <a:lnTo>
                  <a:pt x="1104" y="1416"/>
                </a:lnTo>
                <a:lnTo>
                  <a:pt x="1110" y="1422"/>
                </a:lnTo>
                <a:lnTo>
                  <a:pt x="1110" y="1434"/>
                </a:lnTo>
                <a:lnTo>
                  <a:pt x="1122" y="1434"/>
                </a:lnTo>
                <a:lnTo>
                  <a:pt x="1128" y="1428"/>
                </a:lnTo>
                <a:lnTo>
                  <a:pt x="1134" y="1428"/>
                </a:lnTo>
                <a:lnTo>
                  <a:pt x="1140" y="1434"/>
                </a:lnTo>
                <a:lnTo>
                  <a:pt x="1146" y="1446"/>
                </a:lnTo>
                <a:lnTo>
                  <a:pt x="1146" y="1452"/>
                </a:lnTo>
                <a:lnTo>
                  <a:pt x="1152" y="1464"/>
                </a:lnTo>
                <a:lnTo>
                  <a:pt x="1164" y="1464"/>
                </a:lnTo>
                <a:lnTo>
                  <a:pt x="1176" y="1476"/>
                </a:lnTo>
                <a:lnTo>
                  <a:pt x="1176" y="1488"/>
                </a:lnTo>
                <a:lnTo>
                  <a:pt x="1182" y="1500"/>
                </a:lnTo>
                <a:lnTo>
                  <a:pt x="1182" y="1512"/>
                </a:lnTo>
                <a:lnTo>
                  <a:pt x="1200" y="1512"/>
                </a:lnTo>
                <a:lnTo>
                  <a:pt x="1218" y="1500"/>
                </a:lnTo>
                <a:lnTo>
                  <a:pt x="1224" y="1512"/>
                </a:lnTo>
                <a:lnTo>
                  <a:pt x="1224" y="1518"/>
                </a:lnTo>
                <a:lnTo>
                  <a:pt x="1230" y="1518"/>
                </a:lnTo>
                <a:lnTo>
                  <a:pt x="1236" y="1500"/>
                </a:lnTo>
                <a:lnTo>
                  <a:pt x="1242" y="1464"/>
                </a:lnTo>
                <a:lnTo>
                  <a:pt x="1242" y="1416"/>
                </a:lnTo>
                <a:lnTo>
                  <a:pt x="1218" y="1416"/>
                </a:lnTo>
                <a:lnTo>
                  <a:pt x="1218" y="1434"/>
                </a:lnTo>
                <a:lnTo>
                  <a:pt x="1212" y="1440"/>
                </a:lnTo>
                <a:lnTo>
                  <a:pt x="1206" y="1440"/>
                </a:lnTo>
                <a:lnTo>
                  <a:pt x="1194" y="1434"/>
                </a:lnTo>
                <a:lnTo>
                  <a:pt x="1164" y="1404"/>
                </a:lnTo>
                <a:lnTo>
                  <a:pt x="1158" y="1404"/>
                </a:lnTo>
                <a:lnTo>
                  <a:pt x="1158" y="1398"/>
                </a:lnTo>
                <a:lnTo>
                  <a:pt x="1152" y="1398"/>
                </a:lnTo>
                <a:lnTo>
                  <a:pt x="1140" y="1386"/>
                </a:lnTo>
                <a:lnTo>
                  <a:pt x="1140" y="1362"/>
                </a:lnTo>
                <a:lnTo>
                  <a:pt x="1146" y="1350"/>
                </a:lnTo>
                <a:lnTo>
                  <a:pt x="1152" y="1332"/>
                </a:lnTo>
                <a:lnTo>
                  <a:pt x="1158" y="1320"/>
                </a:lnTo>
                <a:lnTo>
                  <a:pt x="1170" y="1308"/>
                </a:lnTo>
                <a:lnTo>
                  <a:pt x="1170" y="1254"/>
                </a:lnTo>
                <a:lnTo>
                  <a:pt x="1164" y="1236"/>
                </a:lnTo>
                <a:lnTo>
                  <a:pt x="1164" y="1212"/>
                </a:lnTo>
                <a:lnTo>
                  <a:pt x="1158" y="1206"/>
                </a:lnTo>
                <a:lnTo>
                  <a:pt x="1158" y="1200"/>
                </a:lnTo>
                <a:lnTo>
                  <a:pt x="1152" y="1194"/>
                </a:lnTo>
                <a:lnTo>
                  <a:pt x="1152" y="1188"/>
                </a:lnTo>
                <a:lnTo>
                  <a:pt x="1140" y="1176"/>
                </a:lnTo>
                <a:lnTo>
                  <a:pt x="1146" y="1176"/>
                </a:lnTo>
                <a:lnTo>
                  <a:pt x="1152" y="1170"/>
                </a:lnTo>
                <a:lnTo>
                  <a:pt x="1164" y="1164"/>
                </a:lnTo>
                <a:lnTo>
                  <a:pt x="1182" y="1146"/>
                </a:lnTo>
                <a:lnTo>
                  <a:pt x="1182" y="1116"/>
                </a:lnTo>
                <a:lnTo>
                  <a:pt x="1194" y="1116"/>
                </a:lnTo>
                <a:lnTo>
                  <a:pt x="1212" y="1110"/>
                </a:lnTo>
                <a:lnTo>
                  <a:pt x="1230" y="1110"/>
                </a:lnTo>
                <a:lnTo>
                  <a:pt x="1242" y="1104"/>
                </a:lnTo>
                <a:lnTo>
                  <a:pt x="1260" y="1104"/>
                </a:lnTo>
                <a:lnTo>
                  <a:pt x="1284" y="1092"/>
                </a:lnTo>
                <a:lnTo>
                  <a:pt x="1290" y="1092"/>
                </a:lnTo>
                <a:lnTo>
                  <a:pt x="1290" y="1086"/>
                </a:lnTo>
                <a:lnTo>
                  <a:pt x="1284" y="1074"/>
                </a:lnTo>
                <a:lnTo>
                  <a:pt x="1272" y="1062"/>
                </a:lnTo>
                <a:lnTo>
                  <a:pt x="1272" y="1014"/>
                </a:lnTo>
                <a:lnTo>
                  <a:pt x="1248" y="1014"/>
                </a:lnTo>
                <a:lnTo>
                  <a:pt x="1248" y="1008"/>
                </a:lnTo>
                <a:lnTo>
                  <a:pt x="1242" y="996"/>
                </a:lnTo>
                <a:lnTo>
                  <a:pt x="1242" y="978"/>
                </a:lnTo>
                <a:lnTo>
                  <a:pt x="1236" y="972"/>
                </a:lnTo>
                <a:lnTo>
                  <a:pt x="1224" y="966"/>
                </a:lnTo>
                <a:lnTo>
                  <a:pt x="1218" y="960"/>
                </a:lnTo>
                <a:lnTo>
                  <a:pt x="1206" y="936"/>
                </a:lnTo>
                <a:lnTo>
                  <a:pt x="1206" y="906"/>
                </a:lnTo>
                <a:lnTo>
                  <a:pt x="1212" y="900"/>
                </a:lnTo>
                <a:lnTo>
                  <a:pt x="1212" y="876"/>
                </a:lnTo>
                <a:lnTo>
                  <a:pt x="1200" y="864"/>
                </a:lnTo>
                <a:lnTo>
                  <a:pt x="1194" y="852"/>
                </a:lnTo>
                <a:lnTo>
                  <a:pt x="1194" y="804"/>
                </a:lnTo>
                <a:lnTo>
                  <a:pt x="1200" y="780"/>
                </a:lnTo>
                <a:lnTo>
                  <a:pt x="1200" y="750"/>
                </a:lnTo>
                <a:lnTo>
                  <a:pt x="1212" y="738"/>
                </a:lnTo>
                <a:lnTo>
                  <a:pt x="1218" y="744"/>
                </a:lnTo>
                <a:lnTo>
                  <a:pt x="1218" y="732"/>
                </a:lnTo>
                <a:lnTo>
                  <a:pt x="1224" y="726"/>
                </a:lnTo>
                <a:lnTo>
                  <a:pt x="1224" y="696"/>
                </a:lnTo>
                <a:lnTo>
                  <a:pt x="1218" y="690"/>
                </a:lnTo>
                <a:lnTo>
                  <a:pt x="1206" y="684"/>
                </a:lnTo>
                <a:lnTo>
                  <a:pt x="1200" y="678"/>
                </a:lnTo>
                <a:lnTo>
                  <a:pt x="1188" y="648"/>
                </a:lnTo>
                <a:lnTo>
                  <a:pt x="1182" y="642"/>
                </a:lnTo>
                <a:lnTo>
                  <a:pt x="1176" y="642"/>
                </a:lnTo>
                <a:lnTo>
                  <a:pt x="1176" y="636"/>
                </a:lnTo>
                <a:lnTo>
                  <a:pt x="1182" y="624"/>
                </a:lnTo>
                <a:lnTo>
                  <a:pt x="1194" y="618"/>
                </a:lnTo>
                <a:lnTo>
                  <a:pt x="1206" y="606"/>
                </a:lnTo>
                <a:lnTo>
                  <a:pt x="1206" y="594"/>
                </a:lnTo>
                <a:lnTo>
                  <a:pt x="1200" y="588"/>
                </a:lnTo>
                <a:lnTo>
                  <a:pt x="1194" y="576"/>
                </a:lnTo>
                <a:lnTo>
                  <a:pt x="1194" y="570"/>
                </a:lnTo>
                <a:lnTo>
                  <a:pt x="1200" y="564"/>
                </a:lnTo>
                <a:lnTo>
                  <a:pt x="1224" y="552"/>
                </a:lnTo>
                <a:lnTo>
                  <a:pt x="1230" y="546"/>
                </a:lnTo>
                <a:lnTo>
                  <a:pt x="1236" y="546"/>
                </a:lnTo>
                <a:lnTo>
                  <a:pt x="1242" y="46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0" name="Puerto Rico"/>
          <p:cNvSpPr>
            <a:spLocks/>
          </p:cNvSpPr>
          <p:nvPr/>
        </p:nvSpPr>
        <p:spPr bwMode="gray">
          <a:xfrm>
            <a:off x="2124933" y="3663030"/>
            <a:ext cx="55563" cy="23813"/>
          </a:xfrm>
          <a:custGeom>
            <a:avLst/>
            <a:gdLst>
              <a:gd name="T0" fmla="*/ 2147483647 w 138"/>
              <a:gd name="T1" fmla="*/ 2147483647 h 60"/>
              <a:gd name="T2" fmla="*/ 2147483647 w 138"/>
              <a:gd name="T3" fmla="*/ 2147483647 h 60"/>
              <a:gd name="T4" fmla="*/ 2147483647 w 138"/>
              <a:gd name="T5" fmla="*/ 0 h 60"/>
              <a:gd name="T6" fmla="*/ 2147483647 w 138"/>
              <a:gd name="T7" fmla="*/ 0 h 60"/>
              <a:gd name="T8" fmla="*/ 2147483647 w 138"/>
              <a:gd name="T9" fmla="*/ 2147483647 h 60"/>
              <a:gd name="T10" fmla="*/ 0 w 138"/>
              <a:gd name="T11" fmla="*/ 2147483647 h 60"/>
              <a:gd name="T12" fmla="*/ 0 w 138"/>
              <a:gd name="T13" fmla="*/ 2147483647 h 60"/>
              <a:gd name="T14" fmla="*/ 2147483647 w 138"/>
              <a:gd name="T15" fmla="*/ 2147483647 h 60"/>
              <a:gd name="T16" fmla="*/ 2147483647 w 138"/>
              <a:gd name="T17" fmla="*/ 2147483647 h 60"/>
              <a:gd name="T18" fmla="*/ 2147483647 w 138"/>
              <a:gd name="T19" fmla="*/ 2147483647 h 60"/>
              <a:gd name="T20" fmla="*/ 2147483647 w 138"/>
              <a:gd name="T21" fmla="*/ 2147483647 h 60"/>
              <a:gd name="T22" fmla="*/ 2147483647 w 138"/>
              <a:gd name="T23" fmla="*/ 2147483647 h 60"/>
              <a:gd name="T24" fmla="*/ 2147483647 w 138"/>
              <a:gd name="T25" fmla="*/ 2147483647 h 60"/>
              <a:gd name="T26" fmla="*/ 2147483647 w 138"/>
              <a:gd name="T27" fmla="*/ 2147483647 h 60"/>
              <a:gd name="T28" fmla="*/ 2147483647 w 138"/>
              <a:gd name="T29" fmla="*/ 2147483647 h 60"/>
              <a:gd name="T30" fmla="*/ 2147483647 w 138"/>
              <a:gd name="T31" fmla="*/ 2147483647 h 60"/>
              <a:gd name="T32" fmla="*/ 2147483647 w 138"/>
              <a:gd name="T33" fmla="*/ 2147483647 h 60"/>
              <a:gd name="T34" fmla="*/ 2147483647 w 138"/>
              <a:gd name="T35" fmla="*/ 2147483647 h 6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38"/>
              <a:gd name="T55" fmla="*/ 0 h 60"/>
              <a:gd name="T56" fmla="*/ 138 w 138"/>
              <a:gd name="T57" fmla="*/ 60 h 6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38" h="60">
                <a:moveTo>
                  <a:pt x="84" y="12"/>
                </a:moveTo>
                <a:lnTo>
                  <a:pt x="72" y="12"/>
                </a:lnTo>
                <a:lnTo>
                  <a:pt x="36" y="0"/>
                </a:lnTo>
                <a:lnTo>
                  <a:pt x="12" y="0"/>
                </a:lnTo>
                <a:lnTo>
                  <a:pt x="6" y="12"/>
                </a:lnTo>
                <a:lnTo>
                  <a:pt x="0" y="18"/>
                </a:lnTo>
                <a:lnTo>
                  <a:pt x="0" y="48"/>
                </a:lnTo>
                <a:lnTo>
                  <a:pt x="36" y="60"/>
                </a:lnTo>
                <a:lnTo>
                  <a:pt x="48" y="48"/>
                </a:lnTo>
                <a:lnTo>
                  <a:pt x="102" y="48"/>
                </a:lnTo>
                <a:lnTo>
                  <a:pt x="120" y="36"/>
                </a:lnTo>
                <a:lnTo>
                  <a:pt x="132" y="30"/>
                </a:lnTo>
                <a:lnTo>
                  <a:pt x="138" y="18"/>
                </a:lnTo>
                <a:lnTo>
                  <a:pt x="138" y="12"/>
                </a:lnTo>
                <a:lnTo>
                  <a:pt x="132" y="6"/>
                </a:lnTo>
                <a:lnTo>
                  <a:pt x="114" y="6"/>
                </a:lnTo>
                <a:lnTo>
                  <a:pt x="102" y="12"/>
                </a:lnTo>
                <a:lnTo>
                  <a:pt x="84" y="1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1" name="Portugal"/>
          <p:cNvSpPr>
            <a:spLocks/>
          </p:cNvSpPr>
          <p:nvPr/>
        </p:nvSpPr>
        <p:spPr bwMode="gray">
          <a:xfrm>
            <a:off x="3785458" y="2896268"/>
            <a:ext cx="92075" cy="165100"/>
          </a:xfrm>
          <a:custGeom>
            <a:avLst/>
            <a:gdLst>
              <a:gd name="T0" fmla="*/ 2147483647 w 228"/>
              <a:gd name="T1" fmla="*/ 2147483647 h 414"/>
              <a:gd name="T2" fmla="*/ 2147483647 w 228"/>
              <a:gd name="T3" fmla="*/ 2147483647 h 414"/>
              <a:gd name="T4" fmla="*/ 2147483647 w 228"/>
              <a:gd name="T5" fmla="*/ 2147483647 h 414"/>
              <a:gd name="T6" fmla="*/ 2147483647 w 228"/>
              <a:gd name="T7" fmla="*/ 2147483647 h 414"/>
              <a:gd name="T8" fmla="*/ 2147483647 w 228"/>
              <a:gd name="T9" fmla="*/ 2147483647 h 414"/>
              <a:gd name="T10" fmla="*/ 2147483647 w 228"/>
              <a:gd name="T11" fmla="*/ 2147483647 h 414"/>
              <a:gd name="T12" fmla="*/ 2147483647 w 228"/>
              <a:gd name="T13" fmla="*/ 0 h 414"/>
              <a:gd name="T14" fmla="*/ 2147483647 w 228"/>
              <a:gd name="T15" fmla="*/ 2147483647 h 414"/>
              <a:gd name="T16" fmla="*/ 2147483647 w 228"/>
              <a:gd name="T17" fmla="*/ 2147483647 h 414"/>
              <a:gd name="T18" fmla="*/ 2147483647 w 228"/>
              <a:gd name="T19" fmla="*/ 2147483647 h 414"/>
              <a:gd name="T20" fmla="*/ 2147483647 w 228"/>
              <a:gd name="T21" fmla="*/ 2147483647 h 414"/>
              <a:gd name="T22" fmla="*/ 2147483647 w 228"/>
              <a:gd name="T23" fmla="*/ 2147483647 h 414"/>
              <a:gd name="T24" fmla="*/ 2147483647 w 228"/>
              <a:gd name="T25" fmla="*/ 2147483647 h 414"/>
              <a:gd name="T26" fmla="*/ 0 w 228"/>
              <a:gd name="T27" fmla="*/ 2147483647 h 414"/>
              <a:gd name="T28" fmla="*/ 2147483647 w 228"/>
              <a:gd name="T29" fmla="*/ 2147483647 h 414"/>
              <a:gd name="T30" fmla="*/ 2147483647 w 228"/>
              <a:gd name="T31" fmla="*/ 2147483647 h 414"/>
              <a:gd name="T32" fmla="*/ 2147483647 w 228"/>
              <a:gd name="T33" fmla="*/ 2147483647 h 414"/>
              <a:gd name="T34" fmla="*/ 2147483647 w 228"/>
              <a:gd name="T35" fmla="*/ 2147483647 h 414"/>
              <a:gd name="T36" fmla="*/ 2147483647 w 228"/>
              <a:gd name="T37" fmla="*/ 2147483647 h 414"/>
              <a:gd name="T38" fmla="*/ 2147483647 w 228"/>
              <a:gd name="T39" fmla="*/ 2147483647 h 414"/>
              <a:gd name="T40" fmla="*/ 2147483647 w 228"/>
              <a:gd name="T41" fmla="*/ 2147483647 h 414"/>
              <a:gd name="T42" fmla="*/ 2147483647 w 228"/>
              <a:gd name="T43" fmla="*/ 2147483647 h 414"/>
              <a:gd name="T44" fmla="*/ 2147483647 w 228"/>
              <a:gd name="T45" fmla="*/ 2147483647 h 414"/>
              <a:gd name="T46" fmla="*/ 2147483647 w 228"/>
              <a:gd name="T47" fmla="*/ 2147483647 h 414"/>
              <a:gd name="T48" fmla="*/ 2147483647 w 228"/>
              <a:gd name="T49" fmla="*/ 2147483647 h 414"/>
              <a:gd name="T50" fmla="*/ 2147483647 w 228"/>
              <a:gd name="T51" fmla="*/ 2147483647 h 414"/>
              <a:gd name="T52" fmla="*/ 2147483647 w 228"/>
              <a:gd name="T53" fmla="*/ 2147483647 h 414"/>
              <a:gd name="T54" fmla="*/ 2147483647 w 228"/>
              <a:gd name="T55" fmla="*/ 2147483647 h 414"/>
              <a:gd name="T56" fmla="*/ 2147483647 w 228"/>
              <a:gd name="T57" fmla="*/ 2147483647 h 414"/>
              <a:gd name="T58" fmla="*/ 2147483647 w 228"/>
              <a:gd name="T59" fmla="*/ 2147483647 h 414"/>
              <a:gd name="T60" fmla="*/ 2147483647 w 228"/>
              <a:gd name="T61" fmla="*/ 2147483647 h 414"/>
              <a:gd name="T62" fmla="*/ 2147483647 w 228"/>
              <a:gd name="T63" fmla="*/ 2147483647 h 414"/>
              <a:gd name="T64" fmla="*/ 2147483647 w 228"/>
              <a:gd name="T65" fmla="*/ 2147483647 h 414"/>
              <a:gd name="T66" fmla="*/ 2147483647 w 228"/>
              <a:gd name="T67" fmla="*/ 2147483647 h 414"/>
              <a:gd name="T68" fmla="*/ 2147483647 w 228"/>
              <a:gd name="T69" fmla="*/ 2147483647 h 414"/>
              <a:gd name="T70" fmla="*/ 2147483647 w 228"/>
              <a:gd name="T71" fmla="*/ 2147483647 h 414"/>
              <a:gd name="T72" fmla="*/ 2147483647 w 228"/>
              <a:gd name="T73" fmla="*/ 2147483647 h 414"/>
              <a:gd name="T74" fmla="*/ 2147483647 w 228"/>
              <a:gd name="T75" fmla="*/ 2147483647 h 414"/>
              <a:gd name="T76" fmla="*/ 2147483647 w 228"/>
              <a:gd name="T77" fmla="*/ 2147483647 h 414"/>
              <a:gd name="T78" fmla="*/ 2147483647 w 228"/>
              <a:gd name="T79" fmla="*/ 2147483647 h 414"/>
              <a:gd name="T80" fmla="*/ 2147483647 w 228"/>
              <a:gd name="T81" fmla="*/ 2147483647 h 414"/>
              <a:gd name="T82" fmla="*/ 2147483647 w 228"/>
              <a:gd name="T83" fmla="*/ 2147483647 h 41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8"/>
              <a:gd name="T127" fmla="*/ 0 h 414"/>
              <a:gd name="T128" fmla="*/ 228 w 228"/>
              <a:gd name="T129" fmla="*/ 414 h 41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8" h="414">
                <a:moveTo>
                  <a:pt x="210" y="30"/>
                </a:moveTo>
                <a:lnTo>
                  <a:pt x="210" y="12"/>
                </a:lnTo>
                <a:lnTo>
                  <a:pt x="156" y="12"/>
                </a:lnTo>
                <a:lnTo>
                  <a:pt x="156" y="18"/>
                </a:lnTo>
                <a:lnTo>
                  <a:pt x="150" y="24"/>
                </a:lnTo>
                <a:lnTo>
                  <a:pt x="138" y="24"/>
                </a:lnTo>
                <a:lnTo>
                  <a:pt x="132" y="18"/>
                </a:lnTo>
                <a:lnTo>
                  <a:pt x="114" y="18"/>
                </a:lnTo>
                <a:lnTo>
                  <a:pt x="108" y="24"/>
                </a:lnTo>
                <a:lnTo>
                  <a:pt x="96" y="24"/>
                </a:lnTo>
                <a:lnTo>
                  <a:pt x="96" y="18"/>
                </a:lnTo>
                <a:lnTo>
                  <a:pt x="102" y="18"/>
                </a:lnTo>
                <a:lnTo>
                  <a:pt x="114" y="6"/>
                </a:lnTo>
                <a:lnTo>
                  <a:pt x="114" y="0"/>
                </a:lnTo>
                <a:lnTo>
                  <a:pt x="90" y="0"/>
                </a:lnTo>
                <a:lnTo>
                  <a:pt x="66" y="12"/>
                </a:lnTo>
                <a:lnTo>
                  <a:pt x="60" y="18"/>
                </a:lnTo>
                <a:lnTo>
                  <a:pt x="60" y="36"/>
                </a:lnTo>
                <a:lnTo>
                  <a:pt x="66" y="60"/>
                </a:lnTo>
                <a:lnTo>
                  <a:pt x="66" y="78"/>
                </a:lnTo>
                <a:lnTo>
                  <a:pt x="60" y="108"/>
                </a:lnTo>
                <a:lnTo>
                  <a:pt x="48" y="138"/>
                </a:lnTo>
                <a:lnTo>
                  <a:pt x="30" y="174"/>
                </a:lnTo>
                <a:lnTo>
                  <a:pt x="12" y="222"/>
                </a:lnTo>
                <a:lnTo>
                  <a:pt x="6" y="234"/>
                </a:lnTo>
                <a:lnTo>
                  <a:pt x="6" y="240"/>
                </a:lnTo>
                <a:lnTo>
                  <a:pt x="0" y="252"/>
                </a:lnTo>
                <a:lnTo>
                  <a:pt x="0" y="264"/>
                </a:lnTo>
                <a:lnTo>
                  <a:pt x="18" y="282"/>
                </a:lnTo>
                <a:lnTo>
                  <a:pt x="30" y="288"/>
                </a:lnTo>
                <a:lnTo>
                  <a:pt x="42" y="342"/>
                </a:lnTo>
                <a:lnTo>
                  <a:pt x="42" y="348"/>
                </a:lnTo>
                <a:lnTo>
                  <a:pt x="36" y="354"/>
                </a:lnTo>
                <a:lnTo>
                  <a:pt x="36" y="366"/>
                </a:lnTo>
                <a:lnTo>
                  <a:pt x="30" y="384"/>
                </a:lnTo>
                <a:lnTo>
                  <a:pt x="24" y="396"/>
                </a:lnTo>
                <a:lnTo>
                  <a:pt x="24" y="408"/>
                </a:lnTo>
                <a:lnTo>
                  <a:pt x="48" y="408"/>
                </a:lnTo>
                <a:lnTo>
                  <a:pt x="60" y="402"/>
                </a:lnTo>
                <a:lnTo>
                  <a:pt x="72" y="402"/>
                </a:lnTo>
                <a:lnTo>
                  <a:pt x="84" y="414"/>
                </a:lnTo>
                <a:lnTo>
                  <a:pt x="96" y="414"/>
                </a:lnTo>
                <a:lnTo>
                  <a:pt x="108" y="408"/>
                </a:lnTo>
                <a:lnTo>
                  <a:pt x="114" y="402"/>
                </a:lnTo>
                <a:lnTo>
                  <a:pt x="120" y="402"/>
                </a:lnTo>
                <a:lnTo>
                  <a:pt x="126" y="396"/>
                </a:lnTo>
                <a:lnTo>
                  <a:pt x="126" y="348"/>
                </a:lnTo>
                <a:lnTo>
                  <a:pt x="132" y="342"/>
                </a:lnTo>
                <a:lnTo>
                  <a:pt x="138" y="330"/>
                </a:lnTo>
                <a:lnTo>
                  <a:pt x="150" y="330"/>
                </a:lnTo>
                <a:lnTo>
                  <a:pt x="162" y="318"/>
                </a:lnTo>
                <a:lnTo>
                  <a:pt x="162" y="312"/>
                </a:lnTo>
                <a:lnTo>
                  <a:pt x="150" y="312"/>
                </a:lnTo>
                <a:lnTo>
                  <a:pt x="144" y="306"/>
                </a:lnTo>
                <a:lnTo>
                  <a:pt x="138" y="294"/>
                </a:lnTo>
                <a:lnTo>
                  <a:pt x="138" y="288"/>
                </a:lnTo>
                <a:lnTo>
                  <a:pt x="132" y="282"/>
                </a:lnTo>
                <a:lnTo>
                  <a:pt x="132" y="276"/>
                </a:lnTo>
                <a:lnTo>
                  <a:pt x="144" y="264"/>
                </a:lnTo>
                <a:lnTo>
                  <a:pt x="156" y="258"/>
                </a:lnTo>
                <a:lnTo>
                  <a:pt x="168" y="246"/>
                </a:lnTo>
                <a:lnTo>
                  <a:pt x="168" y="240"/>
                </a:lnTo>
                <a:lnTo>
                  <a:pt x="156" y="234"/>
                </a:lnTo>
                <a:lnTo>
                  <a:pt x="150" y="228"/>
                </a:lnTo>
                <a:lnTo>
                  <a:pt x="150" y="216"/>
                </a:lnTo>
                <a:lnTo>
                  <a:pt x="126" y="192"/>
                </a:lnTo>
                <a:lnTo>
                  <a:pt x="162" y="192"/>
                </a:lnTo>
                <a:lnTo>
                  <a:pt x="174" y="180"/>
                </a:lnTo>
                <a:lnTo>
                  <a:pt x="174" y="168"/>
                </a:lnTo>
                <a:lnTo>
                  <a:pt x="168" y="162"/>
                </a:lnTo>
                <a:lnTo>
                  <a:pt x="168" y="150"/>
                </a:lnTo>
                <a:lnTo>
                  <a:pt x="174" y="144"/>
                </a:lnTo>
                <a:lnTo>
                  <a:pt x="180" y="144"/>
                </a:lnTo>
                <a:lnTo>
                  <a:pt x="180" y="126"/>
                </a:lnTo>
                <a:lnTo>
                  <a:pt x="186" y="108"/>
                </a:lnTo>
                <a:lnTo>
                  <a:pt x="186" y="96"/>
                </a:lnTo>
                <a:lnTo>
                  <a:pt x="180" y="90"/>
                </a:lnTo>
                <a:lnTo>
                  <a:pt x="174" y="90"/>
                </a:lnTo>
                <a:lnTo>
                  <a:pt x="174" y="84"/>
                </a:lnTo>
                <a:lnTo>
                  <a:pt x="180" y="78"/>
                </a:lnTo>
                <a:lnTo>
                  <a:pt x="204" y="66"/>
                </a:lnTo>
                <a:lnTo>
                  <a:pt x="228" y="42"/>
                </a:lnTo>
                <a:lnTo>
                  <a:pt x="228" y="36"/>
                </a:lnTo>
                <a:lnTo>
                  <a:pt x="216" y="30"/>
                </a:lnTo>
                <a:lnTo>
                  <a:pt x="210" y="3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2" name="Poland"/>
          <p:cNvSpPr>
            <a:spLocks/>
          </p:cNvSpPr>
          <p:nvPr/>
        </p:nvSpPr>
        <p:spPr bwMode="gray">
          <a:xfrm>
            <a:off x="4404583" y="2494630"/>
            <a:ext cx="250825" cy="180975"/>
          </a:xfrm>
          <a:custGeom>
            <a:avLst/>
            <a:gdLst>
              <a:gd name="T0" fmla="*/ 2147483647 w 624"/>
              <a:gd name="T1" fmla="*/ 2147483647 h 450"/>
              <a:gd name="T2" fmla="*/ 2147483647 w 624"/>
              <a:gd name="T3" fmla="*/ 2147483647 h 450"/>
              <a:gd name="T4" fmla="*/ 2147483647 w 624"/>
              <a:gd name="T5" fmla="*/ 2147483647 h 450"/>
              <a:gd name="T6" fmla="*/ 2147483647 w 624"/>
              <a:gd name="T7" fmla="*/ 2147483647 h 450"/>
              <a:gd name="T8" fmla="*/ 2147483647 w 624"/>
              <a:gd name="T9" fmla="*/ 2147483647 h 450"/>
              <a:gd name="T10" fmla="*/ 2147483647 w 624"/>
              <a:gd name="T11" fmla="*/ 2147483647 h 450"/>
              <a:gd name="T12" fmla="*/ 2147483647 w 624"/>
              <a:gd name="T13" fmla="*/ 2147483647 h 450"/>
              <a:gd name="T14" fmla="*/ 2147483647 w 624"/>
              <a:gd name="T15" fmla="*/ 2147483647 h 450"/>
              <a:gd name="T16" fmla="*/ 2147483647 w 624"/>
              <a:gd name="T17" fmla="*/ 2147483647 h 450"/>
              <a:gd name="T18" fmla="*/ 2147483647 w 624"/>
              <a:gd name="T19" fmla="*/ 2147483647 h 450"/>
              <a:gd name="T20" fmla="*/ 2147483647 w 624"/>
              <a:gd name="T21" fmla="*/ 2147483647 h 450"/>
              <a:gd name="T22" fmla="*/ 2147483647 w 624"/>
              <a:gd name="T23" fmla="*/ 2147483647 h 450"/>
              <a:gd name="T24" fmla="*/ 2147483647 w 624"/>
              <a:gd name="T25" fmla="*/ 2147483647 h 450"/>
              <a:gd name="T26" fmla="*/ 2147483647 w 624"/>
              <a:gd name="T27" fmla="*/ 2147483647 h 450"/>
              <a:gd name="T28" fmla="*/ 2147483647 w 624"/>
              <a:gd name="T29" fmla="*/ 2147483647 h 450"/>
              <a:gd name="T30" fmla="*/ 2147483647 w 624"/>
              <a:gd name="T31" fmla="*/ 2147483647 h 450"/>
              <a:gd name="T32" fmla="*/ 2147483647 w 624"/>
              <a:gd name="T33" fmla="*/ 2147483647 h 450"/>
              <a:gd name="T34" fmla="*/ 2147483647 w 624"/>
              <a:gd name="T35" fmla="*/ 2147483647 h 450"/>
              <a:gd name="T36" fmla="*/ 2147483647 w 624"/>
              <a:gd name="T37" fmla="*/ 2147483647 h 450"/>
              <a:gd name="T38" fmla="*/ 2147483647 w 624"/>
              <a:gd name="T39" fmla="*/ 2147483647 h 450"/>
              <a:gd name="T40" fmla="*/ 2147483647 w 624"/>
              <a:gd name="T41" fmla="*/ 2147483647 h 450"/>
              <a:gd name="T42" fmla="*/ 2147483647 w 624"/>
              <a:gd name="T43" fmla="*/ 2147483647 h 450"/>
              <a:gd name="T44" fmla="*/ 2147483647 w 624"/>
              <a:gd name="T45" fmla="*/ 2147483647 h 450"/>
              <a:gd name="T46" fmla="*/ 2147483647 w 624"/>
              <a:gd name="T47" fmla="*/ 2147483647 h 450"/>
              <a:gd name="T48" fmla="*/ 2147483647 w 624"/>
              <a:gd name="T49" fmla="*/ 2147483647 h 450"/>
              <a:gd name="T50" fmla="*/ 2147483647 w 624"/>
              <a:gd name="T51" fmla="*/ 2147483647 h 450"/>
              <a:gd name="T52" fmla="*/ 2147483647 w 624"/>
              <a:gd name="T53" fmla="*/ 2147483647 h 450"/>
              <a:gd name="T54" fmla="*/ 2147483647 w 624"/>
              <a:gd name="T55" fmla="*/ 2147483647 h 450"/>
              <a:gd name="T56" fmla="*/ 2147483647 w 624"/>
              <a:gd name="T57" fmla="*/ 2147483647 h 450"/>
              <a:gd name="T58" fmla="*/ 0 w 624"/>
              <a:gd name="T59" fmla="*/ 2147483647 h 450"/>
              <a:gd name="T60" fmla="*/ 2147483647 w 624"/>
              <a:gd name="T61" fmla="*/ 2147483647 h 450"/>
              <a:gd name="T62" fmla="*/ 2147483647 w 624"/>
              <a:gd name="T63" fmla="*/ 2147483647 h 450"/>
              <a:gd name="T64" fmla="*/ 2147483647 w 624"/>
              <a:gd name="T65" fmla="*/ 2147483647 h 450"/>
              <a:gd name="T66" fmla="*/ 2147483647 w 624"/>
              <a:gd name="T67" fmla="*/ 2147483647 h 450"/>
              <a:gd name="T68" fmla="*/ 2147483647 w 624"/>
              <a:gd name="T69" fmla="*/ 2147483647 h 450"/>
              <a:gd name="T70" fmla="*/ 2147483647 w 624"/>
              <a:gd name="T71" fmla="*/ 2147483647 h 450"/>
              <a:gd name="T72" fmla="*/ 2147483647 w 624"/>
              <a:gd name="T73" fmla="*/ 2147483647 h 450"/>
              <a:gd name="T74" fmla="*/ 2147483647 w 624"/>
              <a:gd name="T75" fmla="*/ 2147483647 h 450"/>
              <a:gd name="T76" fmla="*/ 2147483647 w 624"/>
              <a:gd name="T77" fmla="*/ 2147483647 h 450"/>
              <a:gd name="T78" fmla="*/ 2147483647 w 624"/>
              <a:gd name="T79" fmla="*/ 2147483647 h 450"/>
              <a:gd name="T80" fmla="*/ 2147483647 w 624"/>
              <a:gd name="T81" fmla="*/ 2147483647 h 450"/>
              <a:gd name="T82" fmla="*/ 2147483647 w 624"/>
              <a:gd name="T83" fmla="*/ 2147483647 h 450"/>
              <a:gd name="T84" fmla="*/ 2147483647 w 624"/>
              <a:gd name="T85" fmla="*/ 2147483647 h 450"/>
              <a:gd name="T86" fmla="*/ 2147483647 w 624"/>
              <a:gd name="T87" fmla="*/ 2147483647 h 450"/>
              <a:gd name="T88" fmla="*/ 2147483647 w 624"/>
              <a:gd name="T89" fmla="*/ 2147483647 h 450"/>
              <a:gd name="T90" fmla="*/ 2147483647 w 624"/>
              <a:gd name="T91" fmla="*/ 2147483647 h 450"/>
              <a:gd name="T92" fmla="*/ 2147483647 w 624"/>
              <a:gd name="T93" fmla="*/ 2147483647 h 450"/>
              <a:gd name="T94" fmla="*/ 2147483647 w 624"/>
              <a:gd name="T95" fmla="*/ 2147483647 h 450"/>
              <a:gd name="T96" fmla="*/ 2147483647 w 624"/>
              <a:gd name="T97" fmla="*/ 2147483647 h 450"/>
              <a:gd name="T98" fmla="*/ 2147483647 w 624"/>
              <a:gd name="T99" fmla="*/ 2147483647 h 450"/>
              <a:gd name="T100" fmla="*/ 2147483647 w 624"/>
              <a:gd name="T101" fmla="*/ 2147483647 h 450"/>
              <a:gd name="T102" fmla="*/ 2147483647 w 624"/>
              <a:gd name="T103" fmla="*/ 2147483647 h 450"/>
              <a:gd name="T104" fmla="*/ 2147483647 w 624"/>
              <a:gd name="T105" fmla="*/ 2147483647 h 450"/>
              <a:gd name="T106" fmla="*/ 2147483647 w 624"/>
              <a:gd name="T107" fmla="*/ 2147483647 h 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624"/>
              <a:gd name="T163" fmla="*/ 0 h 450"/>
              <a:gd name="T164" fmla="*/ 624 w 624"/>
              <a:gd name="T165" fmla="*/ 450 h 45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624" h="450">
                <a:moveTo>
                  <a:pt x="426" y="426"/>
                </a:moveTo>
                <a:lnTo>
                  <a:pt x="432" y="426"/>
                </a:lnTo>
                <a:lnTo>
                  <a:pt x="444" y="420"/>
                </a:lnTo>
                <a:lnTo>
                  <a:pt x="450" y="414"/>
                </a:lnTo>
                <a:lnTo>
                  <a:pt x="474" y="414"/>
                </a:lnTo>
                <a:lnTo>
                  <a:pt x="498" y="438"/>
                </a:lnTo>
                <a:lnTo>
                  <a:pt x="528" y="438"/>
                </a:lnTo>
                <a:lnTo>
                  <a:pt x="528" y="450"/>
                </a:lnTo>
                <a:lnTo>
                  <a:pt x="552" y="450"/>
                </a:lnTo>
                <a:lnTo>
                  <a:pt x="540" y="438"/>
                </a:lnTo>
                <a:lnTo>
                  <a:pt x="540" y="396"/>
                </a:lnTo>
                <a:lnTo>
                  <a:pt x="594" y="348"/>
                </a:lnTo>
                <a:lnTo>
                  <a:pt x="606" y="348"/>
                </a:lnTo>
                <a:lnTo>
                  <a:pt x="612" y="342"/>
                </a:lnTo>
                <a:lnTo>
                  <a:pt x="618" y="342"/>
                </a:lnTo>
                <a:lnTo>
                  <a:pt x="624" y="336"/>
                </a:lnTo>
                <a:lnTo>
                  <a:pt x="618" y="330"/>
                </a:lnTo>
                <a:lnTo>
                  <a:pt x="618" y="324"/>
                </a:lnTo>
                <a:lnTo>
                  <a:pt x="612" y="318"/>
                </a:lnTo>
                <a:lnTo>
                  <a:pt x="618" y="306"/>
                </a:lnTo>
                <a:lnTo>
                  <a:pt x="612" y="300"/>
                </a:lnTo>
                <a:lnTo>
                  <a:pt x="600" y="294"/>
                </a:lnTo>
                <a:lnTo>
                  <a:pt x="600" y="288"/>
                </a:lnTo>
                <a:lnTo>
                  <a:pt x="582" y="270"/>
                </a:lnTo>
                <a:lnTo>
                  <a:pt x="576" y="252"/>
                </a:lnTo>
                <a:lnTo>
                  <a:pt x="582" y="252"/>
                </a:lnTo>
                <a:lnTo>
                  <a:pt x="576" y="240"/>
                </a:lnTo>
                <a:lnTo>
                  <a:pt x="576" y="210"/>
                </a:lnTo>
                <a:lnTo>
                  <a:pt x="564" y="198"/>
                </a:lnTo>
                <a:lnTo>
                  <a:pt x="558" y="198"/>
                </a:lnTo>
                <a:lnTo>
                  <a:pt x="552" y="192"/>
                </a:lnTo>
                <a:lnTo>
                  <a:pt x="552" y="186"/>
                </a:lnTo>
                <a:lnTo>
                  <a:pt x="564" y="186"/>
                </a:lnTo>
                <a:lnTo>
                  <a:pt x="564" y="168"/>
                </a:lnTo>
                <a:lnTo>
                  <a:pt x="588" y="162"/>
                </a:lnTo>
                <a:lnTo>
                  <a:pt x="588" y="150"/>
                </a:lnTo>
                <a:lnTo>
                  <a:pt x="594" y="144"/>
                </a:lnTo>
                <a:lnTo>
                  <a:pt x="594" y="138"/>
                </a:lnTo>
                <a:lnTo>
                  <a:pt x="588" y="132"/>
                </a:lnTo>
                <a:lnTo>
                  <a:pt x="576" y="108"/>
                </a:lnTo>
                <a:lnTo>
                  <a:pt x="570" y="102"/>
                </a:lnTo>
                <a:lnTo>
                  <a:pt x="570" y="90"/>
                </a:lnTo>
                <a:lnTo>
                  <a:pt x="564" y="84"/>
                </a:lnTo>
                <a:lnTo>
                  <a:pt x="558" y="72"/>
                </a:lnTo>
                <a:lnTo>
                  <a:pt x="558" y="48"/>
                </a:lnTo>
                <a:lnTo>
                  <a:pt x="546" y="42"/>
                </a:lnTo>
                <a:lnTo>
                  <a:pt x="540" y="42"/>
                </a:lnTo>
                <a:lnTo>
                  <a:pt x="522" y="36"/>
                </a:lnTo>
                <a:lnTo>
                  <a:pt x="498" y="36"/>
                </a:lnTo>
                <a:lnTo>
                  <a:pt x="498" y="42"/>
                </a:lnTo>
                <a:lnTo>
                  <a:pt x="408" y="42"/>
                </a:lnTo>
                <a:lnTo>
                  <a:pt x="402" y="36"/>
                </a:lnTo>
                <a:lnTo>
                  <a:pt x="390" y="36"/>
                </a:lnTo>
                <a:lnTo>
                  <a:pt x="384" y="30"/>
                </a:lnTo>
                <a:lnTo>
                  <a:pt x="360" y="30"/>
                </a:lnTo>
                <a:lnTo>
                  <a:pt x="354" y="36"/>
                </a:lnTo>
                <a:lnTo>
                  <a:pt x="348" y="36"/>
                </a:lnTo>
                <a:lnTo>
                  <a:pt x="342" y="30"/>
                </a:lnTo>
                <a:lnTo>
                  <a:pt x="312" y="30"/>
                </a:lnTo>
                <a:lnTo>
                  <a:pt x="300" y="36"/>
                </a:lnTo>
                <a:lnTo>
                  <a:pt x="282" y="36"/>
                </a:lnTo>
                <a:lnTo>
                  <a:pt x="276" y="30"/>
                </a:lnTo>
                <a:lnTo>
                  <a:pt x="270" y="18"/>
                </a:lnTo>
                <a:lnTo>
                  <a:pt x="264" y="12"/>
                </a:lnTo>
                <a:lnTo>
                  <a:pt x="264" y="6"/>
                </a:lnTo>
                <a:lnTo>
                  <a:pt x="258" y="6"/>
                </a:lnTo>
                <a:lnTo>
                  <a:pt x="252" y="0"/>
                </a:lnTo>
                <a:lnTo>
                  <a:pt x="210" y="0"/>
                </a:lnTo>
                <a:lnTo>
                  <a:pt x="192" y="6"/>
                </a:lnTo>
                <a:lnTo>
                  <a:pt x="180" y="12"/>
                </a:lnTo>
                <a:lnTo>
                  <a:pt x="162" y="12"/>
                </a:lnTo>
                <a:lnTo>
                  <a:pt x="150" y="18"/>
                </a:lnTo>
                <a:lnTo>
                  <a:pt x="144" y="24"/>
                </a:lnTo>
                <a:lnTo>
                  <a:pt x="138" y="24"/>
                </a:lnTo>
                <a:lnTo>
                  <a:pt x="120" y="42"/>
                </a:lnTo>
                <a:lnTo>
                  <a:pt x="60" y="48"/>
                </a:lnTo>
                <a:lnTo>
                  <a:pt x="54" y="48"/>
                </a:lnTo>
                <a:lnTo>
                  <a:pt x="48" y="54"/>
                </a:lnTo>
                <a:lnTo>
                  <a:pt x="24" y="66"/>
                </a:lnTo>
                <a:lnTo>
                  <a:pt x="18" y="66"/>
                </a:lnTo>
                <a:lnTo>
                  <a:pt x="12" y="72"/>
                </a:lnTo>
                <a:lnTo>
                  <a:pt x="18" y="78"/>
                </a:lnTo>
                <a:lnTo>
                  <a:pt x="18" y="96"/>
                </a:lnTo>
                <a:lnTo>
                  <a:pt x="6" y="90"/>
                </a:lnTo>
                <a:lnTo>
                  <a:pt x="6" y="108"/>
                </a:lnTo>
                <a:lnTo>
                  <a:pt x="12" y="108"/>
                </a:lnTo>
                <a:lnTo>
                  <a:pt x="18" y="114"/>
                </a:lnTo>
                <a:lnTo>
                  <a:pt x="18" y="132"/>
                </a:lnTo>
                <a:lnTo>
                  <a:pt x="6" y="144"/>
                </a:lnTo>
                <a:lnTo>
                  <a:pt x="0" y="144"/>
                </a:lnTo>
                <a:lnTo>
                  <a:pt x="0" y="156"/>
                </a:lnTo>
                <a:lnTo>
                  <a:pt x="6" y="162"/>
                </a:lnTo>
                <a:lnTo>
                  <a:pt x="12" y="162"/>
                </a:lnTo>
                <a:lnTo>
                  <a:pt x="18" y="168"/>
                </a:lnTo>
                <a:lnTo>
                  <a:pt x="30" y="168"/>
                </a:lnTo>
                <a:lnTo>
                  <a:pt x="30" y="186"/>
                </a:lnTo>
                <a:lnTo>
                  <a:pt x="24" y="186"/>
                </a:lnTo>
                <a:lnTo>
                  <a:pt x="24" y="198"/>
                </a:lnTo>
                <a:lnTo>
                  <a:pt x="36" y="198"/>
                </a:lnTo>
                <a:lnTo>
                  <a:pt x="36" y="204"/>
                </a:lnTo>
                <a:lnTo>
                  <a:pt x="30" y="210"/>
                </a:lnTo>
                <a:lnTo>
                  <a:pt x="36" y="210"/>
                </a:lnTo>
                <a:lnTo>
                  <a:pt x="42" y="216"/>
                </a:lnTo>
                <a:lnTo>
                  <a:pt x="36" y="222"/>
                </a:lnTo>
                <a:lnTo>
                  <a:pt x="24" y="228"/>
                </a:lnTo>
                <a:lnTo>
                  <a:pt x="24" y="234"/>
                </a:lnTo>
                <a:lnTo>
                  <a:pt x="30" y="240"/>
                </a:lnTo>
                <a:lnTo>
                  <a:pt x="36" y="240"/>
                </a:lnTo>
                <a:lnTo>
                  <a:pt x="42" y="246"/>
                </a:lnTo>
                <a:lnTo>
                  <a:pt x="42" y="264"/>
                </a:lnTo>
                <a:lnTo>
                  <a:pt x="48" y="258"/>
                </a:lnTo>
                <a:lnTo>
                  <a:pt x="54" y="258"/>
                </a:lnTo>
                <a:lnTo>
                  <a:pt x="54" y="270"/>
                </a:lnTo>
                <a:lnTo>
                  <a:pt x="48" y="276"/>
                </a:lnTo>
                <a:lnTo>
                  <a:pt x="60" y="276"/>
                </a:lnTo>
                <a:lnTo>
                  <a:pt x="60" y="282"/>
                </a:lnTo>
                <a:lnTo>
                  <a:pt x="54" y="282"/>
                </a:lnTo>
                <a:lnTo>
                  <a:pt x="54" y="294"/>
                </a:lnTo>
                <a:lnTo>
                  <a:pt x="72" y="294"/>
                </a:lnTo>
                <a:lnTo>
                  <a:pt x="78" y="312"/>
                </a:lnTo>
                <a:lnTo>
                  <a:pt x="96" y="312"/>
                </a:lnTo>
                <a:lnTo>
                  <a:pt x="108" y="318"/>
                </a:lnTo>
                <a:lnTo>
                  <a:pt x="114" y="318"/>
                </a:lnTo>
                <a:lnTo>
                  <a:pt x="114" y="324"/>
                </a:lnTo>
                <a:lnTo>
                  <a:pt x="138" y="324"/>
                </a:lnTo>
                <a:lnTo>
                  <a:pt x="144" y="330"/>
                </a:lnTo>
                <a:lnTo>
                  <a:pt x="132" y="336"/>
                </a:lnTo>
                <a:lnTo>
                  <a:pt x="144" y="342"/>
                </a:lnTo>
                <a:lnTo>
                  <a:pt x="144" y="354"/>
                </a:lnTo>
                <a:lnTo>
                  <a:pt x="150" y="354"/>
                </a:lnTo>
                <a:lnTo>
                  <a:pt x="156" y="360"/>
                </a:lnTo>
                <a:lnTo>
                  <a:pt x="174" y="360"/>
                </a:lnTo>
                <a:lnTo>
                  <a:pt x="174" y="354"/>
                </a:lnTo>
                <a:lnTo>
                  <a:pt x="180" y="354"/>
                </a:lnTo>
                <a:lnTo>
                  <a:pt x="192" y="348"/>
                </a:lnTo>
                <a:lnTo>
                  <a:pt x="210" y="348"/>
                </a:lnTo>
                <a:lnTo>
                  <a:pt x="204" y="354"/>
                </a:lnTo>
                <a:lnTo>
                  <a:pt x="222" y="354"/>
                </a:lnTo>
                <a:lnTo>
                  <a:pt x="228" y="360"/>
                </a:lnTo>
                <a:lnTo>
                  <a:pt x="234" y="372"/>
                </a:lnTo>
                <a:lnTo>
                  <a:pt x="240" y="378"/>
                </a:lnTo>
                <a:lnTo>
                  <a:pt x="246" y="366"/>
                </a:lnTo>
                <a:lnTo>
                  <a:pt x="252" y="372"/>
                </a:lnTo>
                <a:lnTo>
                  <a:pt x="252" y="378"/>
                </a:lnTo>
                <a:lnTo>
                  <a:pt x="270" y="378"/>
                </a:lnTo>
                <a:lnTo>
                  <a:pt x="282" y="384"/>
                </a:lnTo>
                <a:lnTo>
                  <a:pt x="282" y="390"/>
                </a:lnTo>
                <a:lnTo>
                  <a:pt x="288" y="402"/>
                </a:lnTo>
                <a:lnTo>
                  <a:pt x="306" y="420"/>
                </a:lnTo>
                <a:lnTo>
                  <a:pt x="318" y="420"/>
                </a:lnTo>
                <a:lnTo>
                  <a:pt x="330" y="408"/>
                </a:lnTo>
                <a:lnTo>
                  <a:pt x="342" y="408"/>
                </a:lnTo>
                <a:lnTo>
                  <a:pt x="354" y="420"/>
                </a:lnTo>
                <a:lnTo>
                  <a:pt x="360" y="420"/>
                </a:lnTo>
                <a:lnTo>
                  <a:pt x="360" y="426"/>
                </a:lnTo>
                <a:lnTo>
                  <a:pt x="366" y="432"/>
                </a:lnTo>
                <a:lnTo>
                  <a:pt x="378" y="432"/>
                </a:lnTo>
                <a:lnTo>
                  <a:pt x="384" y="426"/>
                </a:lnTo>
                <a:lnTo>
                  <a:pt x="384" y="420"/>
                </a:lnTo>
                <a:lnTo>
                  <a:pt x="414" y="420"/>
                </a:lnTo>
                <a:lnTo>
                  <a:pt x="420" y="426"/>
                </a:lnTo>
                <a:lnTo>
                  <a:pt x="426" y="42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3" name="Philippines"/>
          <p:cNvSpPr>
            <a:spLocks noEditPoints="1"/>
          </p:cNvSpPr>
          <p:nvPr/>
        </p:nvSpPr>
        <p:spPr bwMode="gray">
          <a:xfrm>
            <a:off x="7365271" y="3651918"/>
            <a:ext cx="287337" cy="484187"/>
          </a:xfrm>
          <a:custGeom>
            <a:avLst/>
            <a:gdLst>
              <a:gd name="T0" fmla="*/ 2147483647 w 714"/>
              <a:gd name="T1" fmla="*/ 2147483647 h 1200"/>
              <a:gd name="T2" fmla="*/ 2147483647 w 714"/>
              <a:gd name="T3" fmla="*/ 2147483647 h 1200"/>
              <a:gd name="T4" fmla="*/ 2147483647 w 714"/>
              <a:gd name="T5" fmla="*/ 2147483647 h 1200"/>
              <a:gd name="T6" fmla="*/ 2147483647 w 714"/>
              <a:gd name="T7" fmla="*/ 2147483647 h 1200"/>
              <a:gd name="T8" fmla="*/ 2147483647 w 714"/>
              <a:gd name="T9" fmla="*/ 2147483647 h 1200"/>
              <a:gd name="T10" fmla="*/ 2147483647 w 714"/>
              <a:gd name="T11" fmla="*/ 2147483647 h 1200"/>
              <a:gd name="T12" fmla="*/ 2147483647 w 714"/>
              <a:gd name="T13" fmla="*/ 2147483647 h 1200"/>
              <a:gd name="T14" fmla="*/ 2147483647 w 714"/>
              <a:gd name="T15" fmla="*/ 2147483647 h 1200"/>
              <a:gd name="T16" fmla="*/ 2147483647 w 714"/>
              <a:gd name="T17" fmla="*/ 2147483647 h 1200"/>
              <a:gd name="T18" fmla="*/ 2147483647 w 714"/>
              <a:gd name="T19" fmla="*/ 2147483647 h 1200"/>
              <a:gd name="T20" fmla="*/ 2147483647 w 714"/>
              <a:gd name="T21" fmla="*/ 2147483647 h 1200"/>
              <a:gd name="T22" fmla="*/ 2147483647 w 714"/>
              <a:gd name="T23" fmla="*/ 2147483647 h 1200"/>
              <a:gd name="T24" fmla="*/ 2147483647 w 714"/>
              <a:gd name="T25" fmla="*/ 2147483647 h 1200"/>
              <a:gd name="T26" fmla="*/ 2147483647 w 714"/>
              <a:gd name="T27" fmla="*/ 2147483647 h 1200"/>
              <a:gd name="T28" fmla="*/ 2147483647 w 714"/>
              <a:gd name="T29" fmla="*/ 2147483647 h 1200"/>
              <a:gd name="T30" fmla="*/ 2147483647 w 714"/>
              <a:gd name="T31" fmla="*/ 2147483647 h 1200"/>
              <a:gd name="T32" fmla="*/ 2147483647 w 714"/>
              <a:gd name="T33" fmla="*/ 2147483647 h 1200"/>
              <a:gd name="T34" fmla="*/ 2147483647 w 714"/>
              <a:gd name="T35" fmla="*/ 2147483647 h 1200"/>
              <a:gd name="T36" fmla="*/ 2147483647 w 714"/>
              <a:gd name="T37" fmla="*/ 2147483647 h 1200"/>
              <a:gd name="T38" fmla="*/ 2147483647 w 714"/>
              <a:gd name="T39" fmla="*/ 2147483647 h 1200"/>
              <a:gd name="T40" fmla="*/ 2147483647 w 714"/>
              <a:gd name="T41" fmla="*/ 2147483647 h 1200"/>
              <a:gd name="T42" fmla="*/ 2147483647 w 714"/>
              <a:gd name="T43" fmla="*/ 2147483647 h 1200"/>
              <a:gd name="T44" fmla="*/ 2147483647 w 714"/>
              <a:gd name="T45" fmla="*/ 2147483647 h 1200"/>
              <a:gd name="T46" fmla="*/ 2147483647 w 714"/>
              <a:gd name="T47" fmla="*/ 2147483647 h 1200"/>
              <a:gd name="T48" fmla="*/ 2147483647 w 714"/>
              <a:gd name="T49" fmla="*/ 2147483647 h 1200"/>
              <a:gd name="T50" fmla="*/ 2147483647 w 714"/>
              <a:gd name="T51" fmla="*/ 2147483647 h 1200"/>
              <a:gd name="T52" fmla="*/ 2147483647 w 714"/>
              <a:gd name="T53" fmla="*/ 2147483647 h 1200"/>
              <a:gd name="T54" fmla="*/ 2147483647 w 714"/>
              <a:gd name="T55" fmla="*/ 2147483647 h 1200"/>
              <a:gd name="T56" fmla="*/ 2147483647 w 714"/>
              <a:gd name="T57" fmla="*/ 2147483647 h 1200"/>
              <a:gd name="T58" fmla="*/ 2147483647 w 714"/>
              <a:gd name="T59" fmla="*/ 2147483647 h 1200"/>
              <a:gd name="T60" fmla="*/ 2147483647 w 714"/>
              <a:gd name="T61" fmla="*/ 2147483647 h 1200"/>
              <a:gd name="T62" fmla="*/ 2147483647 w 714"/>
              <a:gd name="T63" fmla="*/ 2147483647 h 1200"/>
              <a:gd name="T64" fmla="*/ 2147483647 w 714"/>
              <a:gd name="T65" fmla="*/ 2147483647 h 1200"/>
              <a:gd name="T66" fmla="*/ 2147483647 w 714"/>
              <a:gd name="T67" fmla="*/ 2147483647 h 1200"/>
              <a:gd name="T68" fmla="*/ 2147483647 w 714"/>
              <a:gd name="T69" fmla="*/ 2147483647 h 1200"/>
              <a:gd name="T70" fmla="*/ 2147483647 w 714"/>
              <a:gd name="T71" fmla="*/ 2147483647 h 1200"/>
              <a:gd name="T72" fmla="*/ 2147483647 w 714"/>
              <a:gd name="T73" fmla="*/ 2147483647 h 1200"/>
              <a:gd name="T74" fmla="*/ 2147483647 w 714"/>
              <a:gd name="T75" fmla="*/ 2147483647 h 1200"/>
              <a:gd name="T76" fmla="*/ 2147483647 w 714"/>
              <a:gd name="T77" fmla="*/ 2147483647 h 1200"/>
              <a:gd name="T78" fmla="*/ 2147483647 w 714"/>
              <a:gd name="T79" fmla="*/ 0 h 1200"/>
              <a:gd name="T80" fmla="*/ 2147483647 w 714"/>
              <a:gd name="T81" fmla="*/ 2147483647 h 1200"/>
              <a:gd name="T82" fmla="*/ 2147483647 w 714"/>
              <a:gd name="T83" fmla="*/ 2147483647 h 1200"/>
              <a:gd name="T84" fmla="*/ 2147483647 w 714"/>
              <a:gd name="T85" fmla="*/ 2147483647 h 1200"/>
              <a:gd name="T86" fmla="*/ 2147483647 w 714"/>
              <a:gd name="T87" fmla="*/ 2147483647 h 1200"/>
              <a:gd name="T88" fmla="*/ 2147483647 w 714"/>
              <a:gd name="T89" fmla="*/ 2147483647 h 1200"/>
              <a:gd name="T90" fmla="*/ 2147483647 w 714"/>
              <a:gd name="T91" fmla="*/ 2147483647 h 1200"/>
              <a:gd name="T92" fmla="*/ 2147483647 w 714"/>
              <a:gd name="T93" fmla="*/ 2147483647 h 1200"/>
              <a:gd name="T94" fmla="*/ 2147483647 w 714"/>
              <a:gd name="T95" fmla="*/ 2147483647 h 1200"/>
              <a:gd name="T96" fmla="*/ 2147483647 w 714"/>
              <a:gd name="T97" fmla="*/ 2147483647 h 1200"/>
              <a:gd name="T98" fmla="*/ 2147483647 w 714"/>
              <a:gd name="T99" fmla="*/ 2147483647 h 1200"/>
              <a:gd name="T100" fmla="*/ 2147483647 w 714"/>
              <a:gd name="T101" fmla="*/ 2147483647 h 1200"/>
              <a:gd name="T102" fmla="*/ 2147483647 w 714"/>
              <a:gd name="T103" fmla="*/ 2147483647 h 1200"/>
              <a:gd name="T104" fmla="*/ 2147483647 w 714"/>
              <a:gd name="T105" fmla="*/ 2147483647 h 1200"/>
              <a:gd name="T106" fmla="*/ 2147483647 w 714"/>
              <a:gd name="T107" fmla="*/ 2147483647 h 1200"/>
              <a:gd name="T108" fmla="*/ 2147483647 w 714"/>
              <a:gd name="T109" fmla="*/ 2147483647 h 1200"/>
              <a:gd name="T110" fmla="*/ 2147483647 w 714"/>
              <a:gd name="T111" fmla="*/ 2147483647 h 1200"/>
              <a:gd name="T112" fmla="*/ 2147483647 w 714"/>
              <a:gd name="T113" fmla="*/ 2147483647 h 1200"/>
              <a:gd name="T114" fmla="*/ 2147483647 w 714"/>
              <a:gd name="T115" fmla="*/ 2147483647 h 1200"/>
              <a:gd name="T116" fmla="*/ 2147483647 w 714"/>
              <a:gd name="T117" fmla="*/ 2147483647 h 120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714"/>
              <a:gd name="T178" fmla="*/ 0 h 1200"/>
              <a:gd name="T179" fmla="*/ 714 w 714"/>
              <a:gd name="T180" fmla="*/ 1200 h 120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714" h="1200">
                <a:moveTo>
                  <a:pt x="702" y="1140"/>
                </a:moveTo>
                <a:lnTo>
                  <a:pt x="690" y="1170"/>
                </a:lnTo>
                <a:lnTo>
                  <a:pt x="696" y="1200"/>
                </a:lnTo>
                <a:lnTo>
                  <a:pt x="714" y="1182"/>
                </a:lnTo>
                <a:lnTo>
                  <a:pt x="714" y="1140"/>
                </a:lnTo>
                <a:lnTo>
                  <a:pt x="702" y="1140"/>
                </a:lnTo>
                <a:close/>
                <a:moveTo>
                  <a:pt x="582" y="1176"/>
                </a:moveTo>
                <a:lnTo>
                  <a:pt x="600" y="1140"/>
                </a:lnTo>
                <a:lnTo>
                  <a:pt x="576" y="1134"/>
                </a:lnTo>
                <a:lnTo>
                  <a:pt x="582" y="1176"/>
                </a:lnTo>
                <a:close/>
                <a:moveTo>
                  <a:pt x="246" y="1038"/>
                </a:moveTo>
                <a:lnTo>
                  <a:pt x="264" y="1050"/>
                </a:lnTo>
                <a:lnTo>
                  <a:pt x="282" y="1020"/>
                </a:lnTo>
                <a:lnTo>
                  <a:pt x="258" y="1008"/>
                </a:lnTo>
                <a:lnTo>
                  <a:pt x="246" y="1038"/>
                </a:lnTo>
                <a:close/>
                <a:moveTo>
                  <a:pt x="504" y="558"/>
                </a:moveTo>
                <a:lnTo>
                  <a:pt x="540" y="576"/>
                </a:lnTo>
                <a:lnTo>
                  <a:pt x="540" y="582"/>
                </a:lnTo>
                <a:lnTo>
                  <a:pt x="534" y="588"/>
                </a:lnTo>
                <a:lnTo>
                  <a:pt x="504" y="588"/>
                </a:lnTo>
                <a:lnTo>
                  <a:pt x="570" y="642"/>
                </a:lnTo>
                <a:lnTo>
                  <a:pt x="570" y="618"/>
                </a:lnTo>
                <a:lnTo>
                  <a:pt x="600" y="624"/>
                </a:lnTo>
                <a:lnTo>
                  <a:pt x="576" y="588"/>
                </a:lnTo>
                <a:lnTo>
                  <a:pt x="576" y="582"/>
                </a:lnTo>
                <a:lnTo>
                  <a:pt x="570" y="576"/>
                </a:lnTo>
                <a:lnTo>
                  <a:pt x="570" y="558"/>
                </a:lnTo>
                <a:lnTo>
                  <a:pt x="564" y="546"/>
                </a:lnTo>
                <a:lnTo>
                  <a:pt x="534" y="516"/>
                </a:lnTo>
                <a:lnTo>
                  <a:pt x="522" y="510"/>
                </a:lnTo>
                <a:lnTo>
                  <a:pt x="504" y="504"/>
                </a:lnTo>
                <a:lnTo>
                  <a:pt x="492" y="498"/>
                </a:lnTo>
                <a:lnTo>
                  <a:pt x="474" y="498"/>
                </a:lnTo>
                <a:lnTo>
                  <a:pt x="468" y="504"/>
                </a:lnTo>
                <a:lnTo>
                  <a:pt x="468" y="528"/>
                </a:lnTo>
                <a:lnTo>
                  <a:pt x="492" y="552"/>
                </a:lnTo>
                <a:lnTo>
                  <a:pt x="504" y="558"/>
                </a:lnTo>
                <a:close/>
                <a:moveTo>
                  <a:pt x="462" y="666"/>
                </a:moveTo>
                <a:lnTo>
                  <a:pt x="474" y="750"/>
                </a:lnTo>
                <a:lnTo>
                  <a:pt x="486" y="672"/>
                </a:lnTo>
                <a:lnTo>
                  <a:pt x="462" y="618"/>
                </a:lnTo>
                <a:lnTo>
                  <a:pt x="438" y="618"/>
                </a:lnTo>
                <a:lnTo>
                  <a:pt x="462" y="666"/>
                </a:lnTo>
                <a:close/>
                <a:moveTo>
                  <a:pt x="492" y="738"/>
                </a:moveTo>
                <a:lnTo>
                  <a:pt x="522" y="738"/>
                </a:lnTo>
                <a:lnTo>
                  <a:pt x="528" y="708"/>
                </a:lnTo>
                <a:lnTo>
                  <a:pt x="498" y="702"/>
                </a:lnTo>
                <a:lnTo>
                  <a:pt x="492" y="738"/>
                </a:lnTo>
                <a:close/>
                <a:moveTo>
                  <a:pt x="570" y="660"/>
                </a:moveTo>
                <a:lnTo>
                  <a:pt x="546" y="648"/>
                </a:lnTo>
                <a:lnTo>
                  <a:pt x="528" y="630"/>
                </a:lnTo>
                <a:lnTo>
                  <a:pt x="528" y="624"/>
                </a:lnTo>
                <a:lnTo>
                  <a:pt x="522" y="618"/>
                </a:lnTo>
                <a:lnTo>
                  <a:pt x="486" y="618"/>
                </a:lnTo>
                <a:lnTo>
                  <a:pt x="492" y="660"/>
                </a:lnTo>
                <a:lnTo>
                  <a:pt x="510" y="654"/>
                </a:lnTo>
                <a:lnTo>
                  <a:pt x="522" y="678"/>
                </a:lnTo>
                <a:lnTo>
                  <a:pt x="570" y="714"/>
                </a:lnTo>
                <a:lnTo>
                  <a:pt x="570" y="660"/>
                </a:lnTo>
                <a:close/>
                <a:moveTo>
                  <a:pt x="162" y="600"/>
                </a:moveTo>
                <a:lnTo>
                  <a:pt x="144" y="582"/>
                </a:lnTo>
                <a:lnTo>
                  <a:pt x="138" y="606"/>
                </a:lnTo>
                <a:lnTo>
                  <a:pt x="132" y="618"/>
                </a:lnTo>
                <a:lnTo>
                  <a:pt x="126" y="624"/>
                </a:lnTo>
                <a:lnTo>
                  <a:pt x="120" y="642"/>
                </a:lnTo>
                <a:lnTo>
                  <a:pt x="120" y="654"/>
                </a:lnTo>
                <a:lnTo>
                  <a:pt x="126" y="660"/>
                </a:lnTo>
                <a:lnTo>
                  <a:pt x="138" y="666"/>
                </a:lnTo>
                <a:lnTo>
                  <a:pt x="150" y="678"/>
                </a:lnTo>
                <a:lnTo>
                  <a:pt x="144" y="684"/>
                </a:lnTo>
                <a:lnTo>
                  <a:pt x="120" y="696"/>
                </a:lnTo>
                <a:lnTo>
                  <a:pt x="114" y="702"/>
                </a:lnTo>
                <a:lnTo>
                  <a:pt x="102" y="708"/>
                </a:lnTo>
                <a:lnTo>
                  <a:pt x="96" y="732"/>
                </a:lnTo>
                <a:lnTo>
                  <a:pt x="72" y="750"/>
                </a:lnTo>
                <a:lnTo>
                  <a:pt x="72" y="762"/>
                </a:lnTo>
                <a:lnTo>
                  <a:pt x="60" y="774"/>
                </a:lnTo>
                <a:lnTo>
                  <a:pt x="48" y="780"/>
                </a:lnTo>
                <a:lnTo>
                  <a:pt x="42" y="786"/>
                </a:lnTo>
                <a:lnTo>
                  <a:pt x="30" y="792"/>
                </a:lnTo>
                <a:lnTo>
                  <a:pt x="24" y="798"/>
                </a:lnTo>
                <a:lnTo>
                  <a:pt x="18" y="798"/>
                </a:lnTo>
                <a:lnTo>
                  <a:pt x="18" y="804"/>
                </a:lnTo>
                <a:lnTo>
                  <a:pt x="12" y="810"/>
                </a:lnTo>
                <a:lnTo>
                  <a:pt x="0" y="834"/>
                </a:lnTo>
                <a:lnTo>
                  <a:pt x="0" y="864"/>
                </a:lnTo>
                <a:lnTo>
                  <a:pt x="30" y="834"/>
                </a:lnTo>
                <a:lnTo>
                  <a:pt x="30" y="816"/>
                </a:lnTo>
                <a:lnTo>
                  <a:pt x="36" y="810"/>
                </a:lnTo>
                <a:lnTo>
                  <a:pt x="42" y="810"/>
                </a:lnTo>
                <a:lnTo>
                  <a:pt x="78" y="798"/>
                </a:lnTo>
                <a:lnTo>
                  <a:pt x="84" y="792"/>
                </a:lnTo>
                <a:lnTo>
                  <a:pt x="84" y="762"/>
                </a:lnTo>
                <a:lnTo>
                  <a:pt x="90" y="750"/>
                </a:lnTo>
                <a:lnTo>
                  <a:pt x="96" y="744"/>
                </a:lnTo>
                <a:lnTo>
                  <a:pt x="114" y="738"/>
                </a:lnTo>
                <a:lnTo>
                  <a:pt x="126" y="732"/>
                </a:lnTo>
                <a:lnTo>
                  <a:pt x="144" y="720"/>
                </a:lnTo>
                <a:lnTo>
                  <a:pt x="162" y="714"/>
                </a:lnTo>
                <a:lnTo>
                  <a:pt x="168" y="702"/>
                </a:lnTo>
                <a:lnTo>
                  <a:pt x="174" y="696"/>
                </a:lnTo>
                <a:lnTo>
                  <a:pt x="174" y="684"/>
                </a:lnTo>
                <a:lnTo>
                  <a:pt x="156" y="648"/>
                </a:lnTo>
                <a:lnTo>
                  <a:pt x="156" y="624"/>
                </a:lnTo>
                <a:lnTo>
                  <a:pt x="162" y="612"/>
                </a:lnTo>
                <a:lnTo>
                  <a:pt x="162" y="600"/>
                </a:lnTo>
                <a:close/>
                <a:moveTo>
                  <a:pt x="330" y="1026"/>
                </a:moveTo>
                <a:lnTo>
                  <a:pt x="372" y="1056"/>
                </a:lnTo>
                <a:lnTo>
                  <a:pt x="372" y="1020"/>
                </a:lnTo>
                <a:lnTo>
                  <a:pt x="348" y="1002"/>
                </a:lnTo>
                <a:lnTo>
                  <a:pt x="330" y="1026"/>
                </a:lnTo>
                <a:close/>
                <a:moveTo>
                  <a:pt x="660" y="840"/>
                </a:moveTo>
                <a:lnTo>
                  <a:pt x="660" y="816"/>
                </a:lnTo>
                <a:lnTo>
                  <a:pt x="654" y="804"/>
                </a:lnTo>
                <a:lnTo>
                  <a:pt x="654" y="792"/>
                </a:lnTo>
                <a:lnTo>
                  <a:pt x="642" y="780"/>
                </a:lnTo>
                <a:lnTo>
                  <a:pt x="630" y="774"/>
                </a:lnTo>
                <a:lnTo>
                  <a:pt x="600" y="744"/>
                </a:lnTo>
                <a:lnTo>
                  <a:pt x="588" y="738"/>
                </a:lnTo>
                <a:lnTo>
                  <a:pt x="582" y="738"/>
                </a:lnTo>
                <a:lnTo>
                  <a:pt x="576" y="744"/>
                </a:lnTo>
                <a:lnTo>
                  <a:pt x="582" y="750"/>
                </a:lnTo>
                <a:lnTo>
                  <a:pt x="588" y="762"/>
                </a:lnTo>
                <a:lnTo>
                  <a:pt x="594" y="768"/>
                </a:lnTo>
                <a:lnTo>
                  <a:pt x="606" y="774"/>
                </a:lnTo>
                <a:lnTo>
                  <a:pt x="606" y="786"/>
                </a:lnTo>
                <a:lnTo>
                  <a:pt x="600" y="786"/>
                </a:lnTo>
                <a:lnTo>
                  <a:pt x="588" y="792"/>
                </a:lnTo>
                <a:lnTo>
                  <a:pt x="570" y="792"/>
                </a:lnTo>
                <a:lnTo>
                  <a:pt x="558" y="798"/>
                </a:lnTo>
                <a:lnTo>
                  <a:pt x="546" y="798"/>
                </a:lnTo>
                <a:lnTo>
                  <a:pt x="546" y="828"/>
                </a:lnTo>
                <a:lnTo>
                  <a:pt x="528" y="828"/>
                </a:lnTo>
                <a:lnTo>
                  <a:pt x="522" y="846"/>
                </a:lnTo>
                <a:lnTo>
                  <a:pt x="498" y="864"/>
                </a:lnTo>
                <a:lnTo>
                  <a:pt x="492" y="864"/>
                </a:lnTo>
                <a:lnTo>
                  <a:pt x="486" y="858"/>
                </a:lnTo>
                <a:lnTo>
                  <a:pt x="474" y="852"/>
                </a:lnTo>
                <a:lnTo>
                  <a:pt x="462" y="852"/>
                </a:lnTo>
                <a:lnTo>
                  <a:pt x="450" y="846"/>
                </a:lnTo>
                <a:lnTo>
                  <a:pt x="438" y="858"/>
                </a:lnTo>
                <a:lnTo>
                  <a:pt x="432" y="870"/>
                </a:lnTo>
                <a:lnTo>
                  <a:pt x="420" y="882"/>
                </a:lnTo>
                <a:lnTo>
                  <a:pt x="414" y="894"/>
                </a:lnTo>
                <a:lnTo>
                  <a:pt x="408" y="900"/>
                </a:lnTo>
                <a:lnTo>
                  <a:pt x="408" y="906"/>
                </a:lnTo>
                <a:lnTo>
                  <a:pt x="408" y="900"/>
                </a:lnTo>
                <a:lnTo>
                  <a:pt x="396" y="888"/>
                </a:lnTo>
                <a:lnTo>
                  <a:pt x="384" y="888"/>
                </a:lnTo>
                <a:lnTo>
                  <a:pt x="378" y="900"/>
                </a:lnTo>
                <a:lnTo>
                  <a:pt x="378" y="912"/>
                </a:lnTo>
                <a:lnTo>
                  <a:pt x="372" y="924"/>
                </a:lnTo>
                <a:lnTo>
                  <a:pt x="366" y="930"/>
                </a:lnTo>
                <a:lnTo>
                  <a:pt x="360" y="942"/>
                </a:lnTo>
                <a:lnTo>
                  <a:pt x="384" y="960"/>
                </a:lnTo>
                <a:lnTo>
                  <a:pt x="402" y="942"/>
                </a:lnTo>
                <a:lnTo>
                  <a:pt x="414" y="966"/>
                </a:lnTo>
                <a:lnTo>
                  <a:pt x="420" y="960"/>
                </a:lnTo>
                <a:lnTo>
                  <a:pt x="432" y="954"/>
                </a:lnTo>
                <a:lnTo>
                  <a:pt x="450" y="936"/>
                </a:lnTo>
                <a:lnTo>
                  <a:pt x="462" y="930"/>
                </a:lnTo>
                <a:lnTo>
                  <a:pt x="474" y="930"/>
                </a:lnTo>
                <a:lnTo>
                  <a:pt x="498" y="954"/>
                </a:lnTo>
                <a:lnTo>
                  <a:pt x="510" y="960"/>
                </a:lnTo>
                <a:lnTo>
                  <a:pt x="492" y="978"/>
                </a:lnTo>
                <a:lnTo>
                  <a:pt x="492" y="990"/>
                </a:lnTo>
                <a:lnTo>
                  <a:pt x="510" y="1026"/>
                </a:lnTo>
                <a:lnTo>
                  <a:pt x="522" y="1044"/>
                </a:lnTo>
                <a:lnTo>
                  <a:pt x="534" y="1056"/>
                </a:lnTo>
                <a:lnTo>
                  <a:pt x="546" y="1062"/>
                </a:lnTo>
                <a:lnTo>
                  <a:pt x="558" y="1062"/>
                </a:lnTo>
                <a:lnTo>
                  <a:pt x="570" y="1068"/>
                </a:lnTo>
                <a:lnTo>
                  <a:pt x="582" y="1068"/>
                </a:lnTo>
                <a:lnTo>
                  <a:pt x="606" y="1050"/>
                </a:lnTo>
                <a:lnTo>
                  <a:pt x="606" y="1074"/>
                </a:lnTo>
                <a:lnTo>
                  <a:pt x="630" y="1074"/>
                </a:lnTo>
                <a:lnTo>
                  <a:pt x="630" y="1038"/>
                </a:lnTo>
                <a:lnTo>
                  <a:pt x="624" y="1032"/>
                </a:lnTo>
                <a:lnTo>
                  <a:pt x="606" y="996"/>
                </a:lnTo>
                <a:lnTo>
                  <a:pt x="606" y="984"/>
                </a:lnTo>
                <a:lnTo>
                  <a:pt x="612" y="972"/>
                </a:lnTo>
                <a:lnTo>
                  <a:pt x="624" y="960"/>
                </a:lnTo>
                <a:lnTo>
                  <a:pt x="654" y="1014"/>
                </a:lnTo>
                <a:lnTo>
                  <a:pt x="654" y="1008"/>
                </a:lnTo>
                <a:lnTo>
                  <a:pt x="660" y="1002"/>
                </a:lnTo>
                <a:lnTo>
                  <a:pt x="672" y="978"/>
                </a:lnTo>
                <a:lnTo>
                  <a:pt x="678" y="960"/>
                </a:lnTo>
                <a:lnTo>
                  <a:pt x="678" y="936"/>
                </a:lnTo>
                <a:lnTo>
                  <a:pt x="672" y="918"/>
                </a:lnTo>
                <a:lnTo>
                  <a:pt x="666" y="912"/>
                </a:lnTo>
                <a:lnTo>
                  <a:pt x="660" y="900"/>
                </a:lnTo>
                <a:lnTo>
                  <a:pt x="660" y="840"/>
                </a:lnTo>
                <a:close/>
                <a:moveTo>
                  <a:pt x="330" y="384"/>
                </a:moveTo>
                <a:lnTo>
                  <a:pt x="348" y="384"/>
                </a:lnTo>
                <a:lnTo>
                  <a:pt x="354" y="390"/>
                </a:lnTo>
                <a:lnTo>
                  <a:pt x="366" y="396"/>
                </a:lnTo>
                <a:lnTo>
                  <a:pt x="366" y="408"/>
                </a:lnTo>
                <a:lnTo>
                  <a:pt x="372" y="420"/>
                </a:lnTo>
                <a:lnTo>
                  <a:pt x="384" y="438"/>
                </a:lnTo>
                <a:lnTo>
                  <a:pt x="396" y="450"/>
                </a:lnTo>
                <a:lnTo>
                  <a:pt x="414" y="462"/>
                </a:lnTo>
                <a:lnTo>
                  <a:pt x="432" y="462"/>
                </a:lnTo>
                <a:lnTo>
                  <a:pt x="444" y="438"/>
                </a:lnTo>
                <a:lnTo>
                  <a:pt x="444" y="426"/>
                </a:lnTo>
                <a:lnTo>
                  <a:pt x="432" y="402"/>
                </a:lnTo>
                <a:lnTo>
                  <a:pt x="420" y="396"/>
                </a:lnTo>
                <a:lnTo>
                  <a:pt x="408" y="396"/>
                </a:lnTo>
                <a:lnTo>
                  <a:pt x="408" y="390"/>
                </a:lnTo>
                <a:lnTo>
                  <a:pt x="414" y="384"/>
                </a:lnTo>
                <a:lnTo>
                  <a:pt x="414" y="378"/>
                </a:lnTo>
                <a:lnTo>
                  <a:pt x="420" y="372"/>
                </a:lnTo>
                <a:lnTo>
                  <a:pt x="408" y="372"/>
                </a:lnTo>
                <a:lnTo>
                  <a:pt x="396" y="366"/>
                </a:lnTo>
                <a:lnTo>
                  <a:pt x="390" y="360"/>
                </a:lnTo>
                <a:lnTo>
                  <a:pt x="372" y="360"/>
                </a:lnTo>
                <a:lnTo>
                  <a:pt x="366" y="366"/>
                </a:lnTo>
                <a:lnTo>
                  <a:pt x="354" y="372"/>
                </a:lnTo>
                <a:lnTo>
                  <a:pt x="342" y="360"/>
                </a:lnTo>
                <a:lnTo>
                  <a:pt x="330" y="354"/>
                </a:lnTo>
                <a:lnTo>
                  <a:pt x="312" y="354"/>
                </a:lnTo>
                <a:lnTo>
                  <a:pt x="300" y="366"/>
                </a:lnTo>
                <a:lnTo>
                  <a:pt x="288" y="372"/>
                </a:lnTo>
                <a:lnTo>
                  <a:pt x="282" y="372"/>
                </a:lnTo>
                <a:lnTo>
                  <a:pt x="264" y="354"/>
                </a:lnTo>
                <a:lnTo>
                  <a:pt x="258" y="342"/>
                </a:lnTo>
                <a:lnTo>
                  <a:pt x="258" y="252"/>
                </a:lnTo>
                <a:lnTo>
                  <a:pt x="270" y="228"/>
                </a:lnTo>
                <a:lnTo>
                  <a:pt x="270" y="222"/>
                </a:lnTo>
                <a:lnTo>
                  <a:pt x="288" y="204"/>
                </a:lnTo>
                <a:lnTo>
                  <a:pt x="288" y="174"/>
                </a:lnTo>
                <a:lnTo>
                  <a:pt x="276" y="150"/>
                </a:lnTo>
                <a:lnTo>
                  <a:pt x="276" y="126"/>
                </a:lnTo>
                <a:lnTo>
                  <a:pt x="282" y="108"/>
                </a:lnTo>
                <a:lnTo>
                  <a:pt x="282" y="72"/>
                </a:lnTo>
                <a:lnTo>
                  <a:pt x="264" y="54"/>
                </a:lnTo>
                <a:lnTo>
                  <a:pt x="264" y="36"/>
                </a:lnTo>
                <a:lnTo>
                  <a:pt x="258" y="30"/>
                </a:lnTo>
                <a:lnTo>
                  <a:pt x="258" y="6"/>
                </a:lnTo>
                <a:lnTo>
                  <a:pt x="252" y="0"/>
                </a:lnTo>
                <a:lnTo>
                  <a:pt x="240" y="0"/>
                </a:lnTo>
                <a:lnTo>
                  <a:pt x="234" y="6"/>
                </a:lnTo>
                <a:lnTo>
                  <a:pt x="234" y="12"/>
                </a:lnTo>
                <a:lnTo>
                  <a:pt x="228" y="18"/>
                </a:lnTo>
                <a:lnTo>
                  <a:pt x="216" y="24"/>
                </a:lnTo>
                <a:lnTo>
                  <a:pt x="204" y="24"/>
                </a:lnTo>
                <a:lnTo>
                  <a:pt x="192" y="18"/>
                </a:lnTo>
                <a:lnTo>
                  <a:pt x="186" y="12"/>
                </a:lnTo>
                <a:lnTo>
                  <a:pt x="174" y="12"/>
                </a:lnTo>
                <a:lnTo>
                  <a:pt x="162" y="18"/>
                </a:lnTo>
                <a:lnTo>
                  <a:pt x="162" y="36"/>
                </a:lnTo>
                <a:lnTo>
                  <a:pt x="156" y="42"/>
                </a:lnTo>
                <a:lnTo>
                  <a:pt x="156" y="48"/>
                </a:lnTo>
                <a:lnTo>
                  <a:pt x="144" y="72"/>
                </a:lnTo>
                <a:lnTo>
                  <a:pt x="132" y="84"/>
                </a:lnTo>
                <a:lnTo>
                  <a:pt x="132" y="96"/>
                </a:lnTo>
                <a:lnTo>
                  <a:pt x="138" y="102"/>
                </a:lnTo>
                <a:lnTo>
                  <a:pt x="144" y="114"/>
                </a:lnTo>
                <a:lnTo>
                  <a:pt x="150" y="132"/>
                </a:lnTo>
                <a:lnTo>
                  <a:pt x="156" y="138"/>
                </a:lnTo>
                <a:lnTo>
                  <a:pt x="156" y="150"/>
                </a:lnTo>
                <a:lnTo>
                  <a:pt x="150" y="162"/>
                </a:lnTo>
                <a:lnTo>
                  <a:pt x="150" y="168"/>
                </a:lnTo>
                <a:lnTo>
                  <a:pt x="144" y="174"/>
                </a:lnTo>
                <a:lnTo>
                  <a:pt x="138" y="186"/>
                </a:lnTo>
                <a:lnTo>
                  <a:pt x="138" y="198"/>
                </a:lnTo>
                <a:lnTo>
                  <a:pt x="150" y="210"/>
                </a:lnTo>
                <a:lnTo>
                  <a:pt x="150" y="216"/>
                </a:lnTo>
                <a:lnTo>
                  <a:pt x="144" y="222"/>
                </a:lnTo>
                <a:lnTo>
                  <a:pt x="138" y="222"/>
                </a:lnTo>
                <a:lnTo>
                  <a:pt x="126" y="228"/>
                </a:lnTo>
                <a:lnTo>
                  <a:pt x="120" y="228"/>
                </a:lnTo>
                <a:lnTo>
                  <a:pt x="120" y="210"/>
                </a:lnTo>
                <a:lnTo>
                  <a:pt x="114" y="204"/>
                </a:lnTo>
                <a:lnTo>
                  <a:pt x="114" y="252"/>
                </a:lnTo>
                <a:lnTo>
                  <a:pt x="150" y="306"/>
                </a:lnTo>
                <a:lnTo>
                  <a:pt x="174" y="330"/>
                </a:lnTo>
                <a:lnTo>
                  <a:pt x="186" y="348"/>
                </a:lnTo>
                <a:lnTo>
                  <a:pt x="204" y="384"/>
                </a:lnTo>
                <a:lnTo>
                  <a:pt x="216" y="402"/>
                </a:lnTo>
                <a:lnTo>
                  <a:pt x="228" y="408"/>
                </a:lnTo>
                <a:lnTo>
                  <a:pt x="252" y="408"/>
                </a:lnTo>
                <a:lnTo>
                  <a:pt x="258" y="396"/>
                </a:lnTo>
                <a:lnTo>
                  <a:pt x="270" y="390"/>
                </a:lnTo>
                <a:lnTo>
                  <a:pt x="276" y="384"/>
                </a:lnTo>
                <a:lnTo>
                  <a:pt x="288" y="384"/>
                </a:lnTo>
                <a:lnTo>
                  <a:pt x="294" y="396"/>
                </a:lnTo>
                <a:lnTo>
                  <a:pt x="306" y="402"/>
                </a:lnTo>
                <a:lnTo>
                  <a:pt x="324" y="420"/>
                </a:lnTo>
                <a:lnTo>
                  <a:pt x="342" y="420"/>
                </a:lnTo>
                <a:lnTo>
                  <a:pt x="342" y="402"/>
                </a:lnTo>
                <a:lnTo>
                  <a:pt x="336" y="396"/>
                </a:lnTo>
                <a:lnTo>
                  <a:pt x="330" y="384"/>
                </a:lnTo>
                <a:close/>
                <a:moveTo>
                  <a:pt x="258" y="432"/>
                </a:moveTo>
                <a:lnTo>
                  <a:pt x="246" y="426"/>
                </a:lnTo>
                <a:lnTo>
                  <a:pt x="204" y="426"/>
                </a:lnTo>
                <a:lnTo>
                  <a:pt x="234" y="468"/>
                </a:lnTo>
                <a:lnTo>
                  <a:pt x="258" y="534"/>
                </a:lnTo>
                <a:lnTo>
                  <a:pt x="270" y="528"/>
                </a:lnTo>
                <a:lnTo>
                  <a:pt x="276" y="516"/>
                </a:lnTo>
                <a:lnTo>
                  <a:pt x="282" y="510"/>
                </a:lnTo>
                <a:lnTo>
                  <a:pt x="282" y="486"/>
                </a:lnTo>
                <a:lnTo>
                  <a:pt x="276" y="480"/>
                </a:lnTo>
                <a:lnTo>
                  <a:pt x="270" y="468"/>
                </a:lnTo>
                <a:lnTo>
                  <a:pt x="270" y="450"/>
                </a:lnTo>
                <a:lnTo>
                  <a:pt x="264" y="438"/>
                </a:lnTo>
                <a:lnTo>
                  <a:pt x="258" y="432"/>
                </a:lnTo>
                <a:close/>
                <a:moveTo>
                  <a:pt x="330" y="648"/>
                </a:moveTo>
                <a:lnTo>
                  <a:pt x="336" y="660"/>
                </a:lnTo>
                <a:lnTo>
                  <a:pt x="354" y="678"/>
                </a:lnTo>
                <a:lnTo>
                  <a:pt x="360" y="672"/>
                </a:lnTo>
                <a:lnTo>
                  <a:pt x="372" y="666"/>
                </a:lnTo>
                <a:lnTo>
                  <a:pt x="378" y="660"/>
                </a:lnTo>
                <a:lnTo>
                  <a:pt x="384" y="660"/>
                </a:lnTo>
                <a:lnTo>
                  <a:pt x="390" y="666"/>
                </a:lnTo>
                <a:lnTo>
                  <a:pt x="390" y="696"/>
                </a:lnTo>
                <a:lnTo>
                  <a:pt x="402" y="708"/>
                </a:lnTo>
                <a:lnTo>
                  <a:pt x="396" y="720"/>
                </a:lnTo>
                <a:lnTo>
                  <a:pt x="390" y="726"/>
                </a:lnTo>
                <a:lnTo>
                  <a:pt x="372" y="762"/>
                </a:lnTo>
                <a:lnTo>
                  <a:pt x="372" y="786"/>
                </a:lnTo>
                <a:lnTo>
                  <a:pt x="378" y="792"/>
                </a:lnTo>
                <a:lnTo>
                  <a:pt x="384" y="804"/>
                </a:lnTo>
                <a:lnTo>
                  <a:pt x="396" y="804"/>
                </a:lnTo>
                <a:lnTo>
                  <a:pt x="408" y="798"/>
                </a:lnTo>
                <a:lnTo>
                  <a:pt x="420" y="798"/>
                </a:lnTo>
                <a:lnTo>
                  <a:pt x="432" y="792"/>
                </a:lnTo>
                <a:lnTo>
                  <a:pt x="438" y="786"/>
                </a:lnTo>
                <a:lnTo>
                  <a:pt x="438" y="768"/>
                </a:lnTo>
                <a:lnTo>
                  <a:pt x="432" y="756"/>
                </a:lnTo>
                <a:lnTo>
                  <a:pt x="426" y="738"/>
                </a:lnTo>
                <a:lnTo>
                  <a:pt x="426" y="726"/>
                </a:lnTo>
                <a:lnTo>
                  <a:pt x="432" y="714"/>
                </a:lnTo>
                <a:lnTo>
                  <a:pt x="444" y="678"/>
                </a:lnTo>
                <a:lnTo>
                  <a:pt x="444" y="660"/>
                </a:lnTo>
                <a:lnTo>
                  <a:pt x="438" y="648"/>
                </a:lnTo>
                <a:lnTo>
                  <a:pt x="432" y="642"/>
                </a:lnTo>
                <a:lnTo>
                  <a:pt x="426" y="642"/>
                </a:lnTo>
                <a:lnTo>
                  <a:pt x="414" y="654"/>
                </a:lnTo>
                <a:lnTo>
                  <a:pt x="402" y="660"/>
                </a:lnTo>
                <a:lnTo>
                  <a:pt x="396" y="660"/>
                </a:lnTo>
                <a:lnTo>
                  <a:pt x="396" y="648"/>
                </a:lnTo>
                <a:lnTo>
                  <a:pt x="408" y="624"/>
                </a:lnTo>
                <a:lnTo>
                  <a:pt x="408" y="612"/>
                </a:lnTo>
                <a:lnTo>
                  <a:pt x="414" y="600"/>
                </a:lnTo>
                <a:lnTo>
                  <a:pt x="414" y="594"/>
                </a:lnTo>
                <a:lnTo>
                  <a:pt x="408" y="588"/>
                </a:lnTo>
                <a:lnTo>
                  <a:pt x="372" y="570"/>
                </a:lnTo>
                <a:lnTo>
                  <a:pt x="366" y="564"/>
                </a:lnTo>
                <a:lnTo>
                  <a:pt x="330" y="564"/>
                </a:lnTo>
                <a:lnTo>
                  <a:pt x="324" y="570"/>
                </a:lnTo>
                <a:lnTo>
                  <a:pt x="324" y="576"/>
                </a:lnTo>
                <a:lnTo>
                  <a:pt x="330" y="582"/>
                </a:lnTo>
                <a:lnTo>
                  <a:pt x="336" y="582"/>
                </a:lnTo>
                <a:lnTo>
                  <a:pt x="342" y="594"/>
                </a:lnTo>
                <a:lnTo>
                  <a:pt x="342" y="600"/>
                </a:lnTo>
                <a:lnTo>
                  <a:pt x="336" y="606"/>
                </a:lnTo>
                <a:lnTo>
                  <a:pt x="336" y="618"/>
                </a:lnTo>
                <a:lnTo>
                  <a:pt x="330" y="630"/>
                </a:lnTo>
                <a:lnTo>
                  <a:pt x="330" y="64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4" name="Peru"/>
          <p:cNvSpPr>
            <a:spLocks/>
          </p:cNvSpPr>
          <p:nvPr/>
        </p:nvSpPr>
        <p:spPr bwMode="gray">
          <a:xfrm>
            <a:off x="1688371" y="4258343"/>
            <a:ext cx="377825" cy="600075"/>
          </a:xfrm>
          <a:custGeom>
            <a:avLst/>
            <a:gdLst>
              <a:gd name="T0" fmla="*/ 2147483647 w 942"/>
              <a:gd name="T1" fmla="*/ 2147483647 h 1488"/>
              <a:gd name="T2" fmla="*/ 2147483647 w 942"/>
              <a:gd name="T3" fmla="*/ 2147483647 h 1488"/>
              <a:gd name="T4" fmla="*/ 2147483647 w 942"/>
              <a:gd name="T5" fmla="*/ 2147483647 h 1488"/>
              <a:gd name="T6" fmla="*/ 2147483647 w 942"/>
              <a:gd name="T7" fmla="*/ 2147483647 h 1488"/>
              <a:gd name="T8" fmla="*/ 2147483647 w 942"/>
              <a:gd name="T9" fmla="*/ 2147483647 h 1488"/>
              <a:gd name="T10" fmla="*/ 2147483647 w 942"/>
              <a:gd name="T11" fmla="*/ 2147483647 h 1488"/>
              <a:gd name="T12" fmla="*/ 2147483647 w 942"/>
              <a:gd name="T13" fmla="*/ 2147483647 h 1488"/>
              <a:gd name="T14" fmla="*/ 2147483647 w 942"/>
              <a:gd name="T15" fmla="*/ 2147483647 h 1488"/>
              <a:gd name="T16" fmla="*/ 2147483647 w 942"/>
              <a:gd name="T17" fmla="*/ 2147483647 h 1488"/>
              <a:gd name="T18" fmla="*/ 2147483647 w 942"/>
              <a:gd name="T19" fmla="*/ 2147483647 h 1488"/>
              <a:gd name="T20" fmla="*/ 2147483647 w 942"/>
              <a:gd name="T21" fmla="*/ 2147483647 h 1488"/>
              <a:gd name="T22" fmla="*/ 2147483647 w 942"/>
              <a:gd name="T23" fmla="*/ 2147483647 h 1488"/>
              <a:gd name="T24" fmla="*/ 2147483647 w 942"/>
              <a:gd name="T25" fmla="*/ 2147483647 h 1488"/>
              <a:gd name="T26" fmla="*/ 2147483647 w 942"/>
              <a:gd name="T27" fmla="*/ 2147483647 h 1488"/>
              <a:gd name="T28" fmla="*/ 2147483647 w 942"/>
              <a:gd name="T29" fmla="*/ 2147483647 h 1488"/>
              <a:gd name="T30" fmla="*/ 2147483647 w 942"/>
              <a:gd name="T31" fmla="*/ 2147483647 h 1488"/>
              <a:gd name="T32" fmla="*/ 2147483647 w 942"/>
              <a:gd name="T33" fmla="*/ 2147483647 h 1488"/>
              <a:gd name="T34" fmla="*/ 2147483647 w 942"/>
              <a:gd name="T35" fmla="*/ 2147483647 h 1488"/>
              <a:gd name="T36" fmla="*/ 2147483647 w 942"/>
              <a:gd name="T37" fmla="*/ 2147483647 h 1488"/>
              <a:gd name="T38" fmla="*/ 2147483647 w 942"/>
              <a:gd name="T39" fmla="*/ 2147483647 h 1488"/>
              <a:gd name="T40" fmla="*/ 2147483647 w 942"/>
              <a:gd name="T41" fmla="*/ 2147483647 h 1488"/>
              <a:gd name="T42" fmla="*/ 2147483647 w 942"/>
              <a:gd name="T43" fmla="*/ 2147483647 h 1488"/>
              <a:gd name="T44" fmla="*/ 2147483647 w 942"/>
              <a:gd name="T45" fmla="*/ 2147483647 h 1488"/>
              <a:gd name="T46" fmla="*/ 2147483647 w 942"/>
              <a:gd name="T47" fmla="*/ 2147483647 h 1488"/>
              <a:gd name="T48" fmla="*/ 2147483647 w 942"/>
              <a:gd name="T49" fmla="*/ 2147483647 h 1488"/>
              <a:gd name="T50" fmla="*/ 2147483647 w 942"/>
              <a:gd name="T51" fmla="*/ 2147483647 h 1488"/>
              <a:gd name="T52" fmla="*/ 2147483647 w 942"/>
              <a:gd name="T53" fmla="*/ 2147483647 h 1488"/>
              <a:gd name="T54" fmla="*/ 2147483647 w 942"/>
              <a:gd name="T55" fmla="*/ 2147483647 h 1488"/>
              <a:gd name="T56" fmla="*/ 2147483647 w 942"/>
              <a:gd name="T57" fmla="*/ 2147483647 h 1488"/>
              <a:gd name="T58" fmla="*/ 2147483647 w 942"/>
              <a:gd name="T59" fmla="*/ 2147483647 h 1488"/>
              <a:gd name="T60" fmla="*/ 2147483647 w 942"/>
              <a:gd name="T61" fmla="*/ 2147483647 h 1488"/>
              <a:gd name="T62" fmla="*/ 2147483647 w 942"/>
              <a:gd name="T63" fmla="*/ 0 h 1488"/>
              <a:gd name="T64" fmla="*/ 2147483647 w 942"/>
              <a:gd name="T65" fmla="*/ 2147483647 h 1488"/>
              <a:gd name="T66" fmla="*/ 2147483647 w 942"/>
              <a:gd name="T67" fmla="*/ 2147483647 h 1488"/>
              <a:gd name="T68" fmla="*/ 2147483647 w 942"/>
              <a:gd name="T69" fmla="*/ 2147483647 h 1488"/>
              <a:gd name="T70" fmla="*/ 2147483647 w 942"/>
              <a:gd name="T71" fmla="*/ 2147483647 h 1488"/>
              <a:gd name="T72" fmla="*/ 2147483647 w 942"/>
              <a:gd name="T73" fmla="*/ 2147483647 h 1488"/>
              <a:gd name="T74" fmla="*/ 2147483647 w 942"/>
              <a:gd name="T75" fmla="*/ 2147483647 h 1488"/>
              <a:gd name="T76" fmla="*/ 2147483647 w 942"/>
              <a:gd name="T77" fmla="*/ 2147483647 h 1488"/>
              <a:gd name="T78" fmla="*/ 2147483647 w 942"/>
              <a:gd name="T79" fmla="*/ 2147483647 h 1488"/>
              <a:gd name="T80" fmla="*/ 2147483647 w 942"/>
              <a:gd name="T81" fmla="*/ 2147483647 h 1488"/>
              <a:gd name="T82" fmla="*/ 2147483647 w 942"/>
              <a:gd name="T83" fmla="*/ 2147483647 h 1488"/>
              <a:gd name="T84" fmla="*/ 0 w 942"/>
              <a:gd name="T85" fmla="*/ 2147483647 h 1488"/>
              <a:gd name="T86" fmla="*/ 2147483647 w 942"/>
              <a:gd name="T87" fmla="*/ 2147483647 h 1488"/>
              <a:gd name="T88" fmla="*/ 2147483647 w 942"/>
              <a:gd name="T89" fmla="*/ 2147483647 h 1488"/>
              <a:gd name="T90" fmla="*/ 2147483647 w 942"/>
              <a:gd name="T91" fmla="*/ 2147483647 h 1488"/>
              <a:gd name="T92" fmla="*/ 2147483647 w 942"/>
              <a:gd name="T93" fmla="*/ 2147483647 h 1488"/>
              <a:gd name="T94" fmla="*/ 2147483647 w 942"/>
              <a:gd name="T95" fmla="*/ 2147483647 h 1488"/>
              <a:gd name="T96" fmla="*/ 2147483647 w 942"/>
              <a:gd name="T97" fmla="*/ 2147483647 h 1488"/>
              <a:gd name="T98" fmla="*/ 2147483647 w 942"/>
              <a:gd name="T99" fmla="*/ 2147483647 h 1488"/>
              <a:gd name="T100" fmla="*/ 2147483647 w 942"/>
              <a:gd name="T101" fmla="*/ 2147483647 h 1488"/>
              <a:gd name="T102" fmla="*/ 2147483647 w 942"/>
              <a:gd name="T103" fmla="*/ 2147483647 h 1488"/>
              <a:gd name="T104" fmla="*/ 2147483647 w 942"/>
              <a:gd name="T105" fmla="*/ 2147483647 h 1488"/>
              <a:gd name="T106" fmla="*/ 2147483647 w 942"/>
              <a:gd name="T107" fmla="*/ 2147483647 h 1488"/>
              <a:gd name="T108" fmla="*/ 2147483647 w 942"/>
              <a:gd name="T109" fmla="*/ 2147483647 h 1488"/>
              <a:gd name="T110" fmla="*/ 2147483647 w 942"/>
              <a:gd name="T111" fmla="*/ 2147483647 h 1488"/>
              <a:gd name="T112" fmla="*/ 2147483647 w 942"/>
              <a:gd name="T113" fmla="*/ 2147483647 h 1488"/>
              <a:gd name="T114" fmla="*/ 2147483647 w 942"/>
              <a:gd name="T115" fmla="*/ 2147483647 h 1488"/>
              <a:gd name="T116" fmla="*/ 2147483647 w 942"/>
              <a:gd name="T117" fmla="*/ 2147483647 h 1488"/>
              <a:gd name="T118" fmla="*/ 2147483647 w 942"/>
              <a:gd name="T119" fmla="*/ 2147483647 h 1488"/>
              <a:gd name="T120" fmla="*/ 2147483647 w 942"/>
              <a:gd name="T121" fmla="*/ 2147483647 h 148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42"/>
              <a:gd name="T184" fmla="*/ 0 h 1488"/>
              <a:gd name="T185" fmla="*/ 942 w 942"/>
              <a:gd name="T186" fmla="*/ 1488 h 148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42" h="1488">
                <a:moveTo>
                  <a:pt x="930" y="1320"/>
                </a:moveTo>
                <a:lnTo>
                  <a:pt x="924" y="1314"/>
                </a:lnTo>
                <a:lnTo>
                  <a:pt x="912" y="1308"/>
                </a:lnTo>
                <a:lnTo>
                  <a:pt x="888" y="1284"/>
                </a:lnTo>
                <a:lnTo>
                  <a:pt x="864" y="1284"/>
                </a:lnTo>
                <a:lnTo>
                  <a:pt x="858" y="1278"/>
                </a:lnTo>
                <a:lnTo>
                  <a:pt x="870" y="1260"/>
                </a:lnTo>
                <a:lnTo>
                  <a:pt x="870" y="1230"/>
                </a:lnTo>
                <a:lnTo>
                  <a:pt x="882" y="1230"/>
                </a:lnTo>
                <a:lnTo>
                  <a:pt x="906" y="1254"/>
                </a:lnTo>
                <a:lnTo>
                  <a:pt x="918" y="1236"/>
                </a:lnTo>
                <a:lnTo>
                  <a:pt x="918" y="1230"/>
                </a:lnTo>
                <a:lnTo>
                  <a:pt x="912" y="1224"/>
                </a:lnTo>
                <a:lnTo>
                  <a:pt x="906" y="1212"/>
                </a:lnTo>
                <a:lnTo>
                  <a:pt x="900" y="1194"/>
                </a:lnTo>
                <a:lnTo>
                  <a:pt x="912" y="1170"/>
                </a:lnTo>
                <a:lnTo>
                  <a:pt x="924" y="1158"/>
                </a:lnTo>
                <a:lnTo>
                  <a:pt x="930" y="1146"/>
                </a:lnTo>
                <a:lnTo>
                  <a:pt x="930" y="1140"/>
                </a:lnTo>
                <a:lnTo>
                  <a:pt x="924" y="1128"/>
                </a:lnTo>
                <a:lnTo>
                  <a:pt x="912" y="1116"/>
                </a:lnTo>
                <a:lnTo>
                  <a:pt x="906" y="1116"/>
                </a:lnTo>
                <a:lnTo>
                  <a:pt x="924" y="1086"/>
                </a:lnTo>
                <a:lnTo>
                  <a:pt x="912" y="1038"/>
                </a:lnTo>
                <a:lnTo>
                  <a:pt x="918" y="1032"/>
                </a:lnTo>
                <a:lnTo>
                  <a:pt x="924" y="1020"/>
                </a:lnTo>
                <a:lnTo>
                  <a:pt x="930" y="1014"/>
                </a:lnTo>
                <a:lnTo>
                  <a:pt x="930" y="1002"/>
                </a:lnTo>
                <a:lnTo>
                  <a:pt x="918" y="978"/>
                </a:lnTo>
                <a:lnTo>
                  <a:pt x="906" y="960"/>
                </a:lnTo>
                <a:lnTo>
                  <a:pt x="894" y="948"/>
                </a:lnTo>
                <a:lnTo>
                  <a:pt x="882" y="930"/>
                </a:lnTo>
                <a:lnTo>
                  <a:pt x="870" y="918"/>
                </a:lnTo>
                <a:lnTo>
                  <a:pt x="864" y="900"/>
                </a:lnTo>
                <a:lnTo>
                  <a:pt x="864" y="882"/>
                </a:lnTo>
                <a:lnTo>
                  <a:pt x="828" y="882"/>
                </a:lnTo>
                <a:lnTo>
                  <a:pt x="822" y="888"/>
                </a:lnTo>
                <a:lnTo>
                  <a:pt x="816" y="888"/>
                </a:lnTo>
                <a:lnTo>
                  <a:pt x="816" y="894"/>
                </a:lnTo>
                <a:lnTo>
                  <a:pt x="804" y="894"/>
                </a:lnTo>
                <a:lnTo>
                  <a:pt x="798" y="888"/>
                </a:lnTo>
                <a:lnTo>
                  <a:pt x="798" y="882"/>
                </a:lnTo>
                <a:lnTo>
                  <a:pt x="786" y="888"/>
                </a:lnTo>
                <a:lnTo>
                  <a:pt x="786" y="858"/>
                </a:lnTo>
                <a:lnTo>
                  <a:pt x="780" y="840"/>
                </a:lnTo>
                <a:lnTo>
                  <a:pt x="780" y="828"/>
                </a:lnTo>
                <a:lnTo>
                  <a:pt x="786" y="816"/>
                </a:lnTo>
                <a:lnTo>
                  <a:pt x="786" y="804"/>
                </a:lnTo>
                <a:lnTo>
                  <a:pt x="792" y="798"/>
                </a:lnTo>
                <a:lnTo>
                  <a:pt x="792" y="780"/>
                </a:lnTo>
                <a:lnTo>
                  <a:pt x="786" y="768"/>
                </a:lnTo>
                <a:lnTo>
                  <a:pt x="786" y="756"/>
                </a:lnTo>
                <a:lnTo>
                  <a:pt x="732" y="804"/>
                </a:lnTo>
                <a:lnTo>
                  <a:pt x="672" y="810"/>
                </a:lnTo>
                <a:lnTo>
                  <a:pt x="672" y="804"/>
                </a:lnTo>
                <a:lnTo>
                  <a:pt x="666" y="798"/>
                </a:lnTo>
                <a:lnTo>
                  <a:pt x="660" y="786"/>
                </a:lnTo>
                <a:lnTo>
                  <a:pt x="660" y="774"/>
                </a:lnTo>
                <a:lnTo>
                  <a:pt x="654" y="768"/>
                </a:lnTo>
                <a:lnTo>
                  <a:pt x="648" y="768"/>
                </a:lnTo>
                <a:lnTo>
                  <a:pt x="636" y="762"/>
                </a:lnTo>
                <a:lnTo>
                  <a:pt x="594" y="762"/>
                </a:lnTo>
                <a:lnTo>
                  <a:pt x="600" y="756"/>
                </a:lnTo>
                <a:lnTo>
                  <a:pt x="612" y="750"/>
                </a:lnTo>
                <a:lnTo>
                  <a:pt x="618" y="738"/>
                </a:lnTo>
                <a:lnTo>
                  <a:pt x="624" y="732"/>
                </a:lnTo>
                <a:lnTo>
                  <a:pt x="600" y="708"/>
                </a:lnTo>
                <a:lnTo>
                  <a:pt x="588" y="702"/>
                </a:lnTo>
                <a:lnTo>
                  <a:pt x="576" y="690"/>
                </a:lnTo>
                <a:lnTo>
                  <a:pt x="564" y="666"/>
                </a:lnTo>
                <a:lnTo>
                  <a:pt x="558" y="660"/>
                </a:lnTo>
                <a:lnTo>
                  <a:pt x="558" y="654"/>
                </a:lnTo>
                <a:lnTo>
                  <a:pt x="552" y="630"/>
                </a:lnTo>
                <a:lnTo>
                  <a:pt x="540" y="624"/>
                </a:lnTo>
                <a:lnTo>
                  <a:pt x="534" y="618"/>
                </a:lnTo>
                <a:lnTo>
                  <a:pt x="534" y="606"/>
                </a:lnTo>
                <a:lnTo>
                  <a:pt x="540" y="600"/>
                </a:lnTo>
                <a:lnTo>
                  <a:pt x="552" y="594"/>
                </a:lnTo>
                <a:lnTo>
                  <a:pt x="546" y="588"/>
                </a:lnTo>
                <a:lnTo>
                  <a:pt x="546" y="564"/>
                </a:lnTo>
                <a:lnTo>
                  <a:pt x="552" y="552"/>
                </a:lnTo>
                <a:lnTo>
                  <a:pt x="582" y="522"/>
                </a:lnTo>
                <a:lnTo>
                  <a:pt x="588" y="528"/>
                </a:lnTo>
                <a:lnTo>
                  <a:pt x="594" y="528"/>
                </a:lnTo>
                <a:lnTo>
                  <a:pt x="588" y="522"/>
                </a:lnTo>
                <a:lnTo>
                  <a:pt x="588" y="504"/>
                </a:lnTo>
                <a:lnTo>
                  <a:pt x="582" y="498"/>
                </a:lnTo>
                <a:lnTo>
                  <a:pt x="582" y="486"/>
                </a:lnTo>
                <a:lnTo>
                  <a:pt x="600" y="468"/>
                </a:lnTo>
                <a:lnTo>
                  <a:pt x="600" y="414"/>
                </a:lnTo>
                <a:lnTo>
                  <a:pt x="624" y="414"/>
                </a:lnTo>
                <a:lnTo>
                  <a:pt x="624" y="408"/>
                </a:lnTo>
                <a:lnTo>
                  <a:pt x="630" y="402"/>
                </a:lnTo>
                <a:lnTo>
                  <a:pt x="630" y="396"/>
                </a:lnTo>
                <a:lnTo>
                  <a:pt x="642" y="384"/>
                </a:lnTo>
                <a:lnTo>
                  <a:pt x="654" y="378"/>
                </a:lnTo>
                <a:lnTo>
                  <a:pt x="660" y="372"/>
                </a:lnTo>
                <a:lnTo>
                  <a:pt x="672" y="366"/>
                </a:lnTo>
                <a:lnTo>
                  <a:pt x="702" y="366"/>
                </a:lnTo>
                <a:lnTo>
                  <a:pt x="708" y="354"/>
                </a:lnTo>
                <a:lnTo>
                  <a:pt x="738" y="360"/>
                </a:lnTo>
                <a:lnTo>
                  <a:pt x="744" y="354"/>
                </a:lnTo>
                <a:lnTo>
                  <a:pt x="750" y="342"/>
                </a:lnTo>
                <a:lnTo>
                  <a:pt x="756" y="336"/>
                </a:lnTo>
                <a:lnTo>
                  <a:pt x="774" y="336"/>
                </a:lnTo>
                <a:lnTo>
                  <a:pt x="786" y="348"/>
                </a:lnTo>
                <a:lnTo>
                  <a:pt x="786" y="354"/>
                </a:lnTo>
                <a:lnTo>
                  <a:pt x="804" y="354"/>
                </a:lnTo>
                <a:lnTo>
                  <a:pt x="816" y="342"/>
                </a:lnTo>
                <a:lnTo>
                  <a:pt x="798" y="330"/>
                </a:lnTo>
                <a:lnTo>
                  <a:pt x="786" y="312"/>
                </a:lnTo>
                <a:lnTo>
                  <a:pt x="768" y="312"/>
                </a:lnTo>
                <a:lnTo>
                  <a:pt x="762" y="306"/>
                </a:lnTo>
                <a:lnTo>
                  <a:pt x="762" y="288"/>
                </a:lnTo>
                <a:lnTo>
                  <a:pt x="774" y="264"/>
                </a:lnTo>
                <a:lnTo>
                  <a:pt x="774" y="258"/>
                </a:lnTo>
                <a:lnTo>
                  <a:pt x="780" y="252"/>
                </a:lnTo>
                <a:lnTo>
                  <a:pt x="786" y="252"/>
                </a:lnTo>
                <a:lnTo>
                  <a:pt x="792" y="246"/>
                </a:lnTo>
                <a:lnTo>
                  <a:pt x="798" y="234"/>
                </a:lnTo>
                <a:lnTo>
                  <a:pt x="798" y="216"/>
                </a:lnTo>
                <a:lnTo>
                  <a:pt x="792" y="210"/>
                </a:lnTo>
                <a:lnTo>
                  <a:pt x="780" y="204"/>
                </a:lnTo>
                <a:lnTo>
                  <a:pt x="756" y="204"/>
                </a:lnTo>
                <a:lnTo>
                  <a:pt x="750" y="198"/>
                </a:lnTo>
                <a:lnTo>
                  <a:pt x="744" y="186"/>
                </a:lnTo>
                <a:lnTo>
                  <a:pt x="744" y="180"/>
                </a:lnTo>
                <a:lnTo>
                  <a:pt x="732" y="180"/>
                </a:lnTo>
                <a:lnTo>
                  <a:pt x="726" y="186"/>
                </a:lnTo>
                <a:lnTo>
                  <a:pt x="714" y="192"/>
                </a:lnTo>
                <a:lnTo>
                  <a:pt x="702" y="192"/>
                </a:lnTo>
                <a:lnTo>
                  <a:pt x="696" y="186"/>
                </a:lnTo>
                <a:lnTo>
                  <a:pt x="690" y="186"/>
                </a:lnTo>
                <a:lnTo>
                  <a:pt x="684" y="180"/>
                </a:lnTo>
                <a:lnTo>
                  <a:pt x="660" y="180"/>
                </a:lnTo>
                <a:lnTo>
                  <a:pt x="648" y="192"/>
                </a:lnTo>
                <a:lnTo>
                  <a:pt x="648" y="204"/>
                </a:lnTo>
                <a:lnTo>
                  <a:pt x="612" y="204"/>
                </a:lnTo>
                <a:lnTo>
                  <a:pt x="588" y="198"/>
                </a:lnTo>
                <a:lnTo>
                  <a:pt x="576" y="192"/>
                </a:lnTo>
                <a:lnTo>
                  <a:pt x="576" y="168"/>
                </a:lnTo>
                <a:lnTo>
                  <a:pt x="582" y="162"/>
                </a:lnTo>
                <a:lnTo>
                  <a:pt x="582" y="156"/>
                </a:lnTo>
                <a:lnTo>
                  <a:pt x="576" y="150"/>
                </a:lnTo>
                <a:lnTo>
                  <a:pt x="564" y="144"/>
                </a:lnTo>
                <a:lnTo>
                  <a:pt x="552" y="144"/>
                </a:lnTo>
                <a:lnTo>
                  <a:pt x="552" y="138"/>
                </a:lnTo>
                <a:lnTo>
                  <a:pt x="546" y="132"/>
                </a:lnTo>
                <a:lnTo>
                  <a:pt x="546" y="108"/>
                </a:lnTo>
                <a:lnTo>
                  <a:pt x="540" y="102"/>
                </a:lnTo>
                <a:lnTo>
                  <a:pt x="528" y="102"/>
                </a:lnTo>
                <a:lnTo>
                  <a:pt x="516" y="84"/>
                </a:lnTo>
                <a:lnTo>
                  <a:pt x="498" y="84"/>
                </a:lnTo>
                <a:lnTo>
                  <a:pt x="486" y="48"/>
                </a:lnTo>
                <a:lnTo>
                  <a:pt x="480" y="42"/>
                </a:lnTo>
                <a:lnTo>
                  <a:pt x="468" y="36"/>
                </a:lnTo>
                <a:lnTo>
                  <a:pt x="450" y="18"/>
                </a:lnTo>
                <a:lnTo>
                  <a:pt x="438" y="12"/>
                </a:lnTo>
                <a:lnTo>
                  <a:pt x="426" y="0"/>
                </a:lnTo>
                <a:lnTo>
                  <a:pt x="396" y="0"/>
                </a:lnTo>
                <a:lnTo>
                  <a:pt x="414" y="0"/>
                </a:lnTo>
                <a:lnTo>
                  <a:pt x="414" y="24"/>
                </a:lnTo>
                <a:lnTo>
                  <a:pt x="408" y="24"/>
                </a:lnTo>
                <a:lnTo>
                  <a:pt x="408" y="30"/>
                </a:lnTo>
                <a:lnTo>
                  <a:pt x="402" y="30"/>
                </a:lnTo>
                <a:lnTo>
                  <a:pt x="426" y="48"/>
                </a:lnTo>
                <a:lnTo>
                  <a:pt x="426" y="78"/>
                </a:lnTo>
                <a:lnTo>
                  <a:pt x="414" y="84"/>
                </a:lnTo>
                <a:lnTo>
                  <a:pt x="402" y="126"/>
                </a:lnTo>
                <a:lnTo>
                  <a:pt x="396" y="138"/>
                </a:lnTo>
                <a:lnTo>
                  <a:pt x="384" y="150"/>
                </a:lnTo>
                <a:lnTo>
                  <a:pt x="378" y="162"/>
                </a:lnTo>
                <a:lnTo>
                  <a:pt x="366" y="174"/>
                </a:lnTo>
                <a:lnTo>
                  <a:pt x="354" y="192"/>
                </a:lnTo>
                <a:lnTo>
                  <a:pt x="336" y="204"/>
                </a:lnTo>
                <a:lnTo>
                  <a:pt x="276" y="234"/>
                </a:lnTo>
                <a:lnTo>
                  <a:pt x="258" y="240"/>
                </a:lnTo>
                <a:lnTo>
                  <a:pt x="240" y="252"/>
                </a:lnTo>
                <a:lnTo>
                  <a:pt x="222" y="270"/>
                </a:lnTo>
                <a:lnTo>
                  <a:pt x="222" y="276"/>
                </a:lnTo>
                <a:lnTo>
                  <a:pt x="210" y="282"/>
                </a:lnTo>
                <a:lnTo>
                  <a:pt x="210" y="300"/>
                </a:lnTo>
                <a:lnTo>
                  <a:pt x="198" y="312"/>
                </a:lnTo>
                <a:lnTo>
                  <a:pt x="198" y="336"/>
                </a:lnTo>
                <a:lnTo>
                  <a:pt x="192" y="348"/>
                </a:lnTo>
                <a:lnTo>
                  <a:pt x="192" y="378"/>
                </a:lnTo>
                <a:lnTo>
                  <a:pt x="174" y="378"/>
                </a:lnTo>
                <a:lnTo>
                  <a:pt x="168" y="384"/>
                </a:lnTo>
                <a:lnTo>
                  <a:pt x="168" y="390"/>
                </a:lnTo>
                <a:lnTo>
                  <a:pt x="162" y="396"/>
                </a:lnTo>
                <a:lnTo>
                  <a:pt x="162" y="402"/>
                </a:lnTo>
                <a:lnTo>
                  <a:pt x="144" y="402"/>
                </a:lnTo>
                <a:lnTo>
                  <a:pt x="138" y="390"/>
                </a:lnTo>
                <a:lnTo>
                  <a:pt x="138" y="372"/>
                </a:lnTo>
                <a:lnTo>
                  <a:pt x="132" y="366"/>
                </a:lnTo>
                <a:lnTo>
                  <a:pt x="132" y="360"/>
                </a:lnTo>
                <a:lnTo>
                  <a:pt x="102" y="360"/>
                </a:lnTo>
                <a:lnTo>
                  <a:pt x="90" y="348"/>
                </a:lnTo>
                <a:lnTo>
                  <a:pt x="78" y="360"/>
                </a:lnTo>
                <a:lnTo>
                  <a:pt x="66" y="366"/>
                </a:lnTo>
                <a:lnTo>
                  <a:pt x="60" y="366"/>
                </a:lnTo>
                <a:lnTo>
                  <a:pt x="54" y="360"/>
                </a:lnTo>
                <a:lnTo>
                  <a:pt x="66" y="348"/>
                </a:lnTo>
                <a:lnTo>
                  <a:pt x="54" y="336"/>
                </a:lnTo>
                <a:lnTo>
                  <a:pt x="60" y="330"/>
                </a:lnTo>
                <a:lnTo>
                  <a:pt x="66" y="318"/>
                </a:lnTo>
                <a:lnTo>
                  <a:pt x="78" y="312"/>
                </a:lnTo>
                <a:lnTo>
                  <a:pt x="84" y="300"/>
                </a:lnTo>
                <a:lnTo>
                  <a:pt x="90" y="294"/>
                </a:lnTo>
                <a:lnTo>
                  <a:pt x="90" y="288"/>
                </a:lnTo>
                <a:lnTo>
                  <a:pt x="84" y="288"/>
                </a:lnTo>
                <a:lnTo>
                  <a:pt x="72" y="282"/>
                </a:lnTo>
                <a:lnTo>
                  <a:pt x="66" y="282"/>
                </a:lnTo>
                <a:lnTo>
                  <a:pt x="6" y="342"/>
                </a:lnTo>
                <a:lnTo>
                  <a:pt x="0" y="354"/>
                </a:lnTo>
                <a:lnTo>
                  <a:pt x="0" y="390"/>
                </a:lnTo>
                <a:lnTo>
                  <a:pt x="6" y="396"/>
                </a:lnTo>
                <a:lnTo>
                  <a:pt x="18" y="396"/>
                </a:lnTo>
                <a:lnTo>
                  <a:pt x="12" y="420"/>
                </a:lnTo>
                <a:lnTo>
                  <a:pt x="36" y="444"/>
                </a:lnTo>
                <a:lnTo>
                  <a:pt x="36" y="462"/>
                </a:lnTo>
                <a:lnTo>
                  <a:pt x="12" y="486"/>
                </a:lnTo>
                <a:lnTo>
                  <a:pt x="12" y="492"/>
                </a:lnTo>
                <a:lnTo>
                  <a:pt x="18" y="504"/>
                </a:lnTo>
                <a:lnTo>
                  <a:pt x="24" y="510"/>
                </a:lnTo>
                <a:lnTo>
                  <a:pt x="36" y="516"/>
                </a:lnTo>
                <a:lnTo>
                  <a:pt x="54" y="522"/>
                </a:lnTo>
                <a:lnTo>
                  <a:pt x="66" y="522"/>
                </a:lnTo>
                <a:lnTo>
                  <a:pt x="108" y="564"/>
                </a:lnTo>
                <a:lnTo>
                  <a:pt x="114" y="576"/>
                </a:lnTo>
                <a:lnTo>
                  <a:pt x="132" y="594"/>
                </a:lnTo>
                <a:lnTo>
                  <a:pt x="138" y="612"/>
                </a:lnTo>
                <a:lnTo>
                  <a:pt x="144" y="624"/>
                </a:lnTo>
                <a:lnTo>
                  <a:pt x="144" y="642"/>
                </a:lnTo>
                <a:lnTo>
                  <a:pt x="150" y="648"/>
                </a:lnTo>
                <a:lnTo>
                  <a:pt x="156" y="660"/>
                </a:lnTo>
                <a:lnTo>
                  <a:pt x="168" y="666"/>
                </a:lnTo>
                <a:lnTo>
                  <a:pt x="174" y="678"/>
                </a:lnTo>
                <a:lnTo>
                  <a:pt x="192" y="696"/>
                </a:lnTo>
                <a:lnTo>
                  <a:pt x="204" y="720"/>
                </a:lnTo>
                <a:lnTo>
                  <a:pt x="216" y="732"/>
                </a:lnTo>
                <a:lnTo>
                  <a:pt x="222" y="744"/>
                </a:lnTo>
                <a:lnTo>
                  <a:pt x="234" y="762"/>
                </a:lnTo>
                <a:lnTo>
                  <a:pt x="240" y="768"/>
                </a:lnTo>
                <a:lnTo>
                  <a:pt x="246" y="780"/>
                </a:lnTo>
                <a:lnTo>
                  <a:pt x="252" y="822"/>
                </a:lnTo>
                <a:lnTo>
                  <a:pt x="252" y="828"/>
                </a:lnTo>
                <a:lnTo>
                  <a:pt x="258" y="834"/>
                </a:lnTo>
                <a:lnTo>
                  <a:pt x="264" y="846"/>
                </a:lnTo>
                <a:lnTo>
                  <a:pt x="270" y="864"/>
                </a:lnTo>
                <a:lnTo>
                  <a:pt x="282" y="876"/>
                </a:lnTo>
                <a:lnTo>
                  <a:pt x="288" y="894"/>
                </a:lnTo>
                <a:lnTo>
                  <a:pt x="294" y="906"/>
                </a:lnTo>
                <a:lnTo>
                  <a:pt x="294" y="918"/>
                </a:lnTo>
                <a:lnTo>
                  <a:pt x="300" y="924"/>
                </a:lnTo>
                <a:lnTo>
                  <a:pt x="312" y="924"/>
                </a:lnTo>
                <a:lnTo>
                  <a:pt x="324" y="936"/>
                </a:lnTo>
                <a:lnTo>
                  <a:pt x="324" y="948"/>
                </a:lnTo>
                <a:lnTo>
                  <a:pt x="330" y="954"/>
                </a:lnTo>
                <a:lnTo>
                  <a:pt x="330" y="966"/>
                </a:lnTo>
                <a:lnTo>
                  <a:pt x="336" y="984"/>
                </a:lnTo>
                <a:lnTo>
                  <a:pt x="360" y="1014"/>
                </a:lnTo>
                <a:lnTo>
                  <a:pt x="378" y="1050"/>
                </a:lnTo>
                <a:lnTo>
                  <a:pt x="396" y="1074"/>
                </a:lnTo>
                <a:lnTo>
                  <a:pt x="402" y="1086"/>
                </a:lnTo>
                <a:lnTo>
                  <a:pt x="408" y="1104"/>
                </a:lnTo>
                <a:lnTo>
                  <a:pt x="408" y="1116"/>
                </a:lnTo>
                <a:lnTo>
                  <a:pt x="402" y="1128"/>
                </a:lnTo>
                <a:lnTo>
                  <a:pt x="402" y="1146"/>
                </a:lnTo>
                <a:lnTo>
                  <a:pt x="414" y="1158"/>
                </a:lnTo>
                <a:lnTo>
                  <a:pt x="420" y="1170"/>
                </a:lnTo>
                <a:lnTo>
                  <a:pt x="444" y="1194"/>
                </a:lnTo>
                <a:lnTo>
                  <a:pt x="456" y="1200"/>
                </a:lnTo>
                <a:lnTo>
                  <a:pt x="468" y="1212"/>
                </a:lnTo>
                <a:lnTo>
                  <a:pt x="474" y="1224"/>
                </a:lnTo>
                <a:lnTo>
                  <a:pt x="498" y="1248"/>
                </a:lnTo>
                <a:lnTo>
                  <a:pt x="516" y="1260"/>
                </a:lnTo>
                <a:lnTo>
                  <a:pt x="546" y="1278"/>
                </a:lnTo>
                <a:lnTo>
                  <a:pt x="576" y="1290"/>
                </a:lnTo>
                <a:lnTo>
                  <a:pt x="600" y="1302"/>
                </a:lnTo>
                <a:lnTo>
                  <a:pt x="642" y="1320"/>
                </a:lnTo>
                <a:lnTo>
                  <a:pt x="696" y="1350"/>
                </a:lnTo>
                <a:lnTo>
                  <a:pt x="708" y="1362"/>
                </a:lnTo>
                <a:lnTo>
                  <a:pt x="726" y="1374"/>
                </a:lnTo>
                <a:lnTo>
                  <a:pt x="738" y="1380"/>
                </a:lnTo>
                <a:lnTo>
                  <a:pt x="750" y="1392"/>
                </a:lnTo>
                <a:lnTo>
                  <a:pt x="774" y="1404"/>
                </a:lnTo>
                <a:lnTo>
                  <a:pt x="780" y="1428"/>
                </a:lnTo>
                <a:lnTo>
                  <a:pt x="792" y="1434"/>
                </a:lnTo>
                <a:lnTo>
                  <a:pt x="798" y="1446"/>
                </a:lnTo>
                <a:lnTo>
                  <a:pt x="810" y="1452"/>
                </a:lnTo>
                <a:lnTo>
                  <a:pt x="816" y="1458"/>
                </a:lnTo>
                <a:lnTo>
                  <a:pt x="840" y="1470"/>
                </a:lnTo>
                <a:lnTo>
                  <a:pt x="846" y="1482"/>
                </a:lnTo>
                <a:lnTo>
                  <a:pt x="858" y="1488"/>
                </a:lnTo>
                <a:lnTo>
                  <a:pt x="894" y="1464"/>
                </a:lnTo>
                <a:lnTo>
                  <a:pt x="900" y="1458"/>
                </a:lnTo>
                <a:lnTo>
                  <a:pt x="900" y="1440"/>
                </a:lnTo>
                <a:lnTo>
                  <a:pt x="894" y="1428"/>
                </a:lnTo>
                <a:lnTo>
                  <a:pt x="912" y="1416"/>
                </a:lnTo>
                <a:lnTo>
                  <a:pt x="900" y="1392"/>
                </a:lnTo>
                <a:lnTo>
                  <a:pt x="918" y="1374"/>
                </a:lnTo>
                <a:lnTo>
                  <a:pt x="930" y="1368"/>
                </a:lnTo>
                <a:lnTo>
                  <a:pt x="942" y="1344"/>
                </a:lnTo>
                <a:lnTo>
                  <a:pt x="942" y="1332"/>
                </a:lnTo>
                <a:lnTo>
                  <a:pt x="930" y="132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5" name="Paraguay"/>
          <p:cNvSpPr>
            <a:spLocks/>
          </p:cNvSpPr>
          <p:nvPr/>
        </p:nvSpPr>
        <p:spPr bwMode="gray">
          <a:xfrm>
            <a:off x="2266221" y="4883818"/>
            <a:ext cx="241300" cy="273050"/>
          </a:xfrm>
          <a:custGeom>
            <a:avLst/>
            <a:gdLst>
              <a:gd name="T0" fmla="*/ 2147483647 w 600"/>
              <a:gd name="T1" fmla="*/ 2147483647 h 678"/>
              <a:gd name="T2" fmla="*/ 2147483647 w 600"/>
              <a:gd name="T3" fmla="*/ 2147483647 h 678"/>
              <a:gd name="T4" fmla="*/ 2147483647 w 600"/>
              <a:gd name="T5" fmla="*/ 2147483647 h 678"/>
              <a:gd name="T6" fmla="*/ 2147483647 w 600"/>
              <a:gd name="T7" fmla="*/ 2147483647 h 678"/>
              <a:gd name="T8" fmla="*/ 2147483647 w 600"/>
              <a:gd name="T9" fmla="*/ 2147483647 h 678"/>
              <a:gd name="T10" fmla="*/ 2147483647 w 600"/>
              <a:gd name="T11" fmla="*/ 2147483647 h 678"/>
              <a:gd name="T12" fmla="*/ 2147483647 w 600"/>
              <a:gd name="T13" fmla="*/ 2147483647 h 678"/>
              <a:gd name="T14" fmla="*/ 2147483647 w 600"/>
              <a:gd name="T15" fmla="*/ 2147483647 h 678"/>
              <a:gd name="T16" fmla="*/ 2147483647 w 600"/>
              <a:gd name="T17" fmla="*/ 2147483647 h 678"/>
              <a:gd name="T18" fmla="*/ 2147483647 w 600"/>
              <a:gd name="T19" fmla="*/ 2147483647 h 678"/>
              <a:gd name="T20" fmla="*/ 2147483647 w 600"/>
              <a:gd name="T21" fmla="*/ 2147483647 h 678"/>
              <a:gd name="T22" fmla="*/ 2147483647 w 600"/>
              <a:gd name="T23" fmla="*/ 2147483647 h 678"/>
              <a:gd name="T24" fmla="*/ 2147483647 w 600"/>
              <a:gd name="T25" fmla="*/ 2147483647 h 678"/>
              <a:gd name="T26" fmla="*/ 2147483647 w 600"/>
              <a:gd name="T27" fmla="*/ 2147483647 h 678"/>
              <a:gd name="T28" fmla="*/ 2147483647 w 600"/>
              <a:gd name="T29" fmla="*/ 2147483647 h 678"/>
              <a:gd name="T30" fmla="*/ 2147483647 w 600"/>
              <a:gd name="T31" fmla="*/ 2147483647 h 678"/>
              <a:gd name="T32" fmla="*/ 2147483647 w 600"/>
              <a:gd name="T33" fmla="*/ 2147483647 h 678"/>
              <a:gd name="T34" fmla="*/ 2147483647 w 600"/>
              <a:gd name="T35" fmla="*/ 2147483647 h 678"/>
              <a:gd name="T36" fmla="*/ 2147483647 w 600"/>
              <a:gd name="T37" fmla="*/ 2147483647 h 678"/>
              <a:gd name="T38" fmla="*/ 2147483647 w 600"/>
              <a:gd name="T39" fmla="*/ 2147483647 h 678"/>
              <a:gd name="T40" fmla="*/ 2147483647 w 600"/>
              <a:gd name="T41" fmla="*/ 2147483647 h 678"/>
              <a:gd name="T42" fmla="*/ 2147483647 w 600"/>
              <a:gd name="T43" fmla="*/ 2147483647 h 678"/>
              <a:gd name="T44" fmla="*/ 2147483647 w 600"/>
              <a:gd name="T45" fmla="*/ 2147483647 h 678"/>
              <a:gd name="T46" fmla="*/ 2147483647 w 600"/>
              <a:gd name="T47" fmla="*/ 2147483647 h 678"/>
              <a:gd name="T48" fmla="*/ 2147483647 w 600"/>
              <a:gd name="T49" fmla="*/ 2147483647 h 678"/>
              <a:gd name="T50" fmla="*/ 2147483647 w 600"/>
              <a:gd name="T51" fmla="*/ 2147483647 h 678"/>
              <a:gd name="T52" fmla="*/ 2147483647 w 600"/>
              <a:gd name="T53" fmla="*/ 0 h 678"/>
              <a:gd name="T54" fmla="*/ 2147483647 w 600"/>
              <a:gd name="T55" fmla="*/ 2147483647 h 678"/>
              <a:gd name="T56" fmla="*/ 2147483647 w 600"/>
              <a:gd name="T57" fmla="*/ 2147483647 h 678"/>
              <a:gd name="T58" fmla="*/ 0 w 600"/>
              <a:gd name="T59" fmla="*/ 2147483647 h 678"/>
              <a:gd name="T60" fmla="*/ 2147483647 w 600"/>
              <a:gd name="T61" fmla="*/ 2147483647 h 678"/>
              <a:gd name="T62" fmla="*/ 2147483647 w 600"/>
              <a:gd name="T63" fmla="*/ 2147483647 h 678"/>
              <a:gd name="T64" fmla="*/ 2147483647 w 600"/>
              <a:gd name="T65" fmla="*/ 2147483647 h 678"/>
              <a:gd name="T66" fmla="*/ 2147483647 w 600"/>
              <a:gd name="T67" fmla="*/ 2147483647 h 678"/>
              <a:gd name="T68" fmla="*/ 2147483647 w 600"/>
              <a:gd name="T69" fmla="*/ 2147483647 h 678"/>
              <a:gd name="T70" fmla="*/ 2147483647 w 600"/>
              <a:gd name="T71" fmla="*/ 2147483647 h 678"/>
              <a:gd name="T72" fmla="*/ 2147483647 w 600"/>
              <a:gd name="T73" fmla="*/ 2147483647 h 678"/>
              <a:gd name="T74" fmla="*/ 2147483647 w 600"/>
              <a:gd name="T75" fmla="*/ 2147483647 h 678"/>
              <a:gd name="T76" fmla="*/ 2147483647 w 600"/>
              <a:gd name="T77" fmla="*/ 2147483647 h 678"/>
              <a:gd name="T78" fmla="*/ 2147483647 w 600"/>
              <a:gd name="T79" fmla="*/ 2147483647 h 678"/>
              <a:gd name="T80" fmla="*/ 2147483647 w 600"/>
              <a:gd name="T81" fmla="*/ 2147483647 h 678"/>
              <a:gd name="T82" fmla="*/ 2147483647 w 600"/>
              <a:gd name="T83" fmla="*/ 2147483647 h 678"/>
              <a:gd name="T84" fmla="*/ 2147483647 w 600"/>
              <a:gd name="T85" fmla="*/ 2147483647 h 678"/>
              <a:gd name="T86" fmla="*/ 2147483647 w 600"/>
              <a:gd name="T87" fmla="*/ 2147483647 h 678"/>
              <a:gd name="T88" fmla="*/ 2147483647 w 600"/>
              <a:gd name="T89" fmla="*/ 2147483647 h 678"/>
              <a:gd name="T90" fmla="*/ 2147483647 w 600"/>
              <a:gd name="T91" fmla="*/ 2147483647 h 678"/>
              <a:gd name="T92" fmla="*/ 2147483647 w 600"/>
              <a:gd name="T93" fmla="*/ 2147483647 h 678"/>
              <a:gd name="T94" fmla="*/ 2147483647 w 600"/>
              <a:gd name="T95" fmla="*/ 2147483647 h 678"/>
              <a:gd name="T96" fmla="*/ 2147483647 w 600"/>
              <a:gd name="T97" fmla="*/ 2147483647 h 678"/>
              <a:gd name="T98" fmla="*/ 2147483647 w 600"/>
              <a:gd name="T99" fmla="*/ 2147483647 h 678"/>
              <a:gd name="T100" fmla="*/ 2147483647 w 600"/>
              <a:gd name="T101" fmla="*/ 2147483647 h 678"/>
              <a:gd name="T102" fmla="*/ 2147483647 w 600"/>
              <a:gd name="T103" fmla="*/ 2147483647 h 678"/>
              <a:gd name="T104" fmla="*/ 2147483647 w 600"/>
              <a:gd name="T105" fmla="*/ 2147483647 h 678"/>
              <a:gd name="T106" fmla="*/ 2147483647 w 600"/>
              <a:gd name="T107" fmla="*/ 2147483647 h 678"/>
              <a:gd name="T108" fmla="*/ 2147483647 w 600"/>
              <a:gd name="T109" fmla="*/ 2147483647 h 678"/>
              <a:gd name="T110" fmla="*/ 2147483647 w 600"/>
              <a:gd name="T111" fmla="*/ 2147483647 h 678"/>
              <a:gd name="T112" fmla="*/ 2147483647 w 600"/>
              <a:gd name="T113" fmla="*/ 2147483647 h 678"/>
              <a:gd name="T114" fmla="*/ 2147483647 w 600"/>
              <a:gd name="T115" fmla="*/ 2147483647 h 678"/>
              <a:gd name="T116" fmla="*/ 2147483647 w 600"/>
              <a:gd name="T117" fmla="*/ 2147483647 h 678"/>
              <a:gd name="T118" fmla="*/ 2147483647 w 600"/>
              <a:gd name="T119" fmla="*/ 2147483647 h 67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00"/>
              <a:gd name="T181" fmla="*/ 0 h 678"/>
              <a:gd name="T182" fmla="*/ 600 w 600"/>
              <a:gd name="T183" fmla="*/ 678 h 67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00" h="678">
                <a:moveTo>
                  <a:pt x="480" y="660"/>
                </a:moveTo>
                <a:lnTo>
                  <a:pt x="492" y="678"/>
                </a:lnTo>
                <a:lnTo>
                  <a:pt x="492" y="660"/>
                </a:lnTo>
                <a:lnTo>
                  <a:pt x="498" y="654"/>
                </a:lnTo>
                <a:lnTo>
                  <a:pt x="510" y="654"/>
                </a:lnTo>
                <a:lnTo>
                  <a:pt x="516" y="660"/>
                </a:lnTo>
                <a:lnTo>
                  <a:pt x="516" y="666"/>
                </a:lnTo>
                <a:lnTo>
                  <a:pt x="522" y="660"/>
                </a:lnTo>
                <a:lnTo>
                  <a:pt x="534" y="636"/>
                </a:lnTo>
                <a:lnTo>
                  <a:pt x="546" y="624"/>
                </a:lnTo>
                <a:lnTo>
                  <a:pt x="552" y="624"/>
                </a:lnTo>
                <a:lnTo>
                  <a:pt x="558" y="618"/>
                </a:lnTo>
                <a:lnTo>
                  <a:pt x="570" y="612"/>
                </a:lnTo>
                <a:lnTo>
                  <a:pt x="576" y="600"/>
                </a:lnTo>
                <a:lnTo>
                  <a:pt x="588" y="594"/>
                </a:lnTo>
                <a:lnTo>
                  <a:pt x="588" y="516"/>
                </a:lnTo>
                <a:lnTo>
                  <a:pt x="582" y="498"/>
                </a:lnTo>
                <a:lnTo>
                  <a:pt x="582" y="486"/>
                </a:lnTo>
                <a:lnTo>
                  <a:pt x="588" y="474"/>
                </a:lnTo>
                <a:lnTo>
                  <a:pt x="588" y="468"/>
                </a:lnTo>
                <a:lnTo>
                  <a:pt x="594" y="462"/>
                </a:lnTo>
                <a:lnTo>
                  <a:pt x="594" y="432"/>
                </a:lnTo>
                <a:lnTo>
                  <a:pt x="600" y="414"/>
                </a:lnTo>
                <a:lnTo>
                  <a:pt x="600" y="396"/>
                </a:lnTo>
                <a:lnTo>
                  <a:pt x="594" y="384"/>
                </a:lnTo>
                <a:lnTo>
                  <a:pt x="582" y="372"/>
                </a:lnTo>
                <a:lnTo>
                  <a:pt x="570" y="366"/>
                </a:lnTo>
                <a:lnTo>
                  <a:pt x="558" y="366"/>
                </a:lnTo>
                <a:lnTo>
                  <a:pt x="540" y="384"/>
                </a:lnTo>
                <a:lnTo>
                  <a:pt x="528" y="384"/>
                </a:lnTo>
                <a:lnTo>
                  <a:pt x="516" y="378"/>
                </a:lnTo>
                <a:lnTo>
                  <a:pt x="504" y="354"/>
                </a:lnTo>
                <a:lnTo>
                  <a:pt x="504" y="336"/>
                </a:lnTo>
                <a:lnTo>
                  <a:pt x="498" y="318"/>
                </a:lnTo>
                <a:lnTo>
                  <a:pt x="498" y="294"/>
                </a:lnTo>
                <a:lnTo>
                  <a:pt x="492" y="276"/>
                </a:lnTo>
                <a:lnTo>
                  <a:pt x="492" y="252"/>
                </a:lnTo>
                <a:lnTo>
                  <a:pt x="486" y="246"/>
                </a:lnTo>
                <a:lnTo>
                  <a:pt x="474" y="240"/>
                </a:lnTo>
                <a:lnTo>
                  <a:pt x="402" y="240"/>
                </a:lnTo>
                <a:lnTo>
                  <a:pt x="360" y="234"/>
                </a:lnTo>
                <a:lnTo>
                  <a:pt x="324" y="222"/>
                </a:lnTo>
                <a:lnTo>
                  <a:pt x="318" y="216"/>
                </a:lnTo>
                <a:lnTo>
                  <a:pt x="312" y="204"/>
                </a:lnTo>
                <a:lnTo>
                  <a:pt x="312" y="162"/>
                </a:lnTo>
                <a:lnTo>
                  <a:pt x="318" y="150"/>
                </a:lnTo>
                <a:lnTo>
                  <a:pt x="318" y="132"/>
                </a:lnTo>
                <a:lnTo>
                  <a:pt x="306" y="132"/>
                </a:lnTo>
                <a:lnTo>
                  <a:pt x="306" y="96"/>
                </a:lnTo>
                <a:lnTo>
                  <a:pt x="294" y="90"/>
                </a:lnTo>
                <a:lnTo>
                  <a:pt x="288" y="84"/>
                </a:lnTo>
                <a:lnTo>
                  <a:pt x="288" y="78"/>
                </a:lnTo>
                <a:lnTo>
                  <a:pt x="270" y="42"/>
                </a:lnTo>
                <a:lnTo>
                  <a:pt x="216" y="0"/>
                </a:lnTo>
                <a:lnTo>
                  <a:pt x="138" y="12"/>
                </a:lnTo>
                <a:lnTo>
                  <a:pt x="36" y="30"/>
                </a:lnTo>
                <a:lnTo>
                  <a:pt x="30" y="60"/>
                </a:lnTo>
                <a:lnTo>
                  <a:pt x="18" y="72"/>
                </a:lnTo>
                <a:lnTo>
                  <a:pt x="6" y="78"/>
                </a:lnTo>
                <a:lnTo>
                  <a:pt x="0" y="84"/>
                </a:lnTo>
                <a:lnTo>
                  <a:pt x="0" y="96"/>
                </a:lnTo>
                <a:lnTo>
                  <a:pt x="12" y="120"/>
                </a:lnTo>
                <a:lnTo>
                  <a:pt x="12" y="126"/>
                </a:lnTo>
                <a:lnTo>
                  <a:pt x="18" y="132"/>
                </a:lnTo>
                <a:lnTo>
                  <a:pt x="18" y="156"/>
                </a:lnTo>
                <a:lnTo>
                  <a:pt x="6" y="228"/>
                </a:lnTo>
                <a:lnTo>
                  <a:pt x="6" y="246"/>
                </a:lnTo>
                <a:lnTo>
                  <a:pt x="24" y="264"/>
                </a:lnTo>
                <a:lnTo>
                  <a:pt x="24" y="270"/>
                </a:lnTo>
                <a:lnTo>
                  <a:pt x="30" y="276"/>
                </a:lnTo>
                <a:lnTo>
                  <a:pt x="36" y="288"/>
                </a:lnTo>
                <a:lnTo>
                  <a:pt x="48" y="294"/>
                </a:lnTo>
                <a:lnTo>
                  <a:pt x="54" y="306"/>
                </a:lnTo>
                <a:lnTo>
                  <a:pt x="60" y="312"/>
                </a:lnTo>
                <a:lnTo>
                  <a:pt x="84" y="324"/>
                </a:lnTo>
                <a:lnTo>
                  <a:pt x="102" y="342"/>
                </a:lnTo>
                <a:lnTo>
                  <a:pt x="114" y="348"/>
                </a:lnTo>
                <a:lnTo>
                  <a:pt x="120" y="366"/>
                </a:lnTo>
                <a:lnTo>
                  <a:pt x="126" y="366"/>
                </a:lnTo>
                <a:lnTo>
                  <a:pt x="132" y="372"/>
                </a:lnTo>
                <a:lnTo>
                  <a:pt x="168" y="390"/>
                </a:lnTo>
                <a:lnTo>
                  <a:pt x="198" y="390"/>
                </a:lnTo>
                <a:lnTo>
                  <a:pt x="210" y="396"/>
                </a:lnTo>
                <a:lnTo>
                  <a:pt x="216" y="402"/>
                </a:lnTo>
                <a:lnTo>
                  <a:pt x="228" y="408"/>
                </a:lnTo>
                <a:lnTo>
                  <a:pt x="234" y="414"/>
                </a:lnTo>
                <a:lnTo>
                  <a:pt x="240" y="414"/>
                </a:lnTo>
                <a:lnTo>
                  <a:pt x="246" y="420"/>
                </a:lnTo>
                <a:lnTo>
                  <a:pt x="258" y="426"/>
                </a:lnTo>
                <a:lnTo>
                  <a:pt x="276" y="438"/>
                </a:lnTo>
                <a:lnTo>
                  <a:pt x="312" y="456"/>
                </a:lnTo>
                <a:lnTo>
                  <a:pt x="318" y="462"/>
                </a:lnTo>
                <a:lnTo>
                  <a:pt x="330" y="462"/>
                </a:lnTo>
                <a:lnTo>
                  <a:pt x="342" y="468"/>
                </a:lnTo>
                <a:lnTo>
                  <a:pt x="360" y="474"/>
                </a:lnTo>
                <a:lnTo>
                  <a:pt x="372" y="480"/>
                </a:lnTo>
                <a:lnTo>
                  <a:pt x="378" y="486"/>
                </a:lnTo>
                <a:lnTo>
                  <a:pt x="372" y="492"/>
                </a:lnTo>
                <a:lnTo>
                  <a:pt x="372" y="504"/>
                </a:lnTo>
                <a:lnTo>
                  <a:pt x="366" y="510"/>
                </a:lnTo>
                <a:lnTo>
                  <a:pt x="360" y="522"/>
                </a:lnTo>
                <a:lnTo>
                  <a:pt x="366" y="528"/>
                </a:lnTo>
                <a:lnTo>
                  <a:pt x="372" y="540"/>
                </a:lnTo>
                <a:lnTo>
                  <a:pt x="372" y="546"/>
                </a:lnTo>
                <a:lnTo>
                  <a:pt x="366" y="552"/>
                </a:lnTo>
                <a:lnTo>
                  <a:pt x="348" y="552"/>
                </a:lnTo>
                <a:lnTo>
                  <a:pt x="348" y="588"/>
                </a:lnTo>
                <a:lnTo>
                  <a:pt x="342" y="594"/>
                </a:lnTo>
                <a:lnTo>
                  <a:pt x="336" y="606"/>
                </a:lnTo>
                <a:lnTo>
                  <a:pt x="330" y="612"/>
                </a:lnTo>
                <a:lnTo>
                  <a:pt x="324" y="624"/>
                </a:lnTo>
                <a:lnTo>
                  <a:pt x="324" y="636"/>
                </a:lnTo>
                <a:lnTo>
                  <a:pt x="330" y="642"/>
                </a:lnTo>
                <a:lnTo>
                  <a:pt x="354" y="642"/>
                </a:lnTo>
                <a:lnTo>
                  <a:pt x="366" y="636"/>
                </a:lnTo>
                <a:lnTo>
                  <a:pt x="372" y="636"/>
                </a:lnTo>
                <a:lnTo>
                  <a:pt x="384" y="642"/>
                </a:lnTo>
                <a:lnTo>
                  <a:pt x="390" y="648"/>
                </a:lnTo>
                <a:lnTo>
                  <a:pt x="402" y="654"/>
                </a:lnTo>
                <a:lnTo>
                  <a:pt x="420" y="660"/>
                </a:lnTo>
                <a:lnTo>
                  <a:pt x="480" y="66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6" name="Papua New Guinea"/>
          <p:cNvSpPr>
            <a:spLocks noEditPoints="1"/>
          </p:cNvSpPr>
          <p:nvPr/>
        </p:nvSpPr>
        <p:spPr bwMode="gray">
          <a:xfrm>
            <a:off x="8038371" y="4320255"/>
            <a:ext cx="438150" cy="292100"/>
          </a:xfrm>
          <a:custGeom>
            <a:avLst/>
            <a:gdLst>
              <a:gd name="T0" fmla="*/ 2147483647 w 1086"/>
              <a:gd name="T1" fmla="*/ 2147483647 h 726"/>
              <a:gd name="T2" fmla="*/ 2147483647 w 1086"/>
              <a:gd name="T3" fmla="*/ 2147483647 h 726"/>
              <a:gd name="T4" fmla="*/ 2147483647 w 1086"/>
              <a:gd name="T5" fmla="*/ 2147483647 h 726"/>
              <a:gd name="T6" fmla="*/ 2147483647 w 1086"/>
              <a:gd name="T7" fmla="*/ 2147483647 h 726"/>
              <a:gd name="T8" fmla="*/ 2147483647 w 1086"/>
              <a:gd name="T9" fmla="*/ 2147483647 h 726"/>
              <a:gd name="T10" fmla="*/ 2147483647 w 1086"/>
              <a:gd name="T11" fmla="*/ 2147483647 h 726"/>
              <a:gd name="T12" fmla="*/ 2147483647 w 1086"/>
              <a:gd name="T13" fmla="*/ 2147483647 h 726"/>
              <a:gd name="T14" fmla="*/ 2147483647 w 1086"/>
              <a:gd name="T15" fmla="*/ 2147483647 h 726"/>
              <a:gd name="T16" fmla="*/ 2147483647 w 1086"/>
              <a:gd name="T17" fmla="*/ 2147483647 h 726"/>
              <a:gd name="T18" fmla="*/ 2147483647 w 1086"/>
              <a:gd name="T19" fmla="*/ 2147483647 h 726"/>
              <a:gd name="T20" fmla="*/ 2147483647 w 1086"/>
              <a:gd name="T21" fmla="*/ 2147483647 h 726"/>
              <a:gd name="T22" fmla="*/ 2147483647 w 1086"/>
              <a:gd name="T23" fmla="*/ 2147483647 h 726"/>
              <a:gd name="T24" fmla="*/ 2147483647 w 1086"/>
              <a:gd name="T25" fmla="*/ 2147483647 h 726"/>
              <a:gd name="T26" fmla="*/ 2147483647 w 1086"/>
              <a:gd name="T27" fmla="*/ 2147483647 h 726"/>
              <a:gd name="T28" fmla="*/ 2147483647 w 1086"/>
              <a:gd name="T29" fmla="*/ 2147483647 h 726"/>
              <a:gd name="T30" fmla="*/ 2147483647 w 1086"/>
              <a:gd name="T31" fmla="*/ 2147483647 h 726"/>
              <a:gd name="T32" fmla="*/ 2147483647 w 1086"/>
              <a:gd name="T33" fmla="*/ 2147483647 h 726"/>
              <a:gd name="T34" fmla="*/ 2147483647 w 1086"/>
              <a:gd name="T35" fmla="*/ 2147483647 h 726"/>
              <a:gd name="T36" fmla="*/ 2147483647 w 1086"/>
              <a:gd name="T37" fmla="*/ 2147483647 h 726"/>
              <a:gd name="T38" fmla="*/ 2147483647 w 1086"/>
              <a:gd name="T39" fmla="*/ 2147483647 h 726"/>
              <a:gd name="T40" fmla="*/ 2147483647 w 1086"/>
              <a:gd name="T41" fmla="*/ 2147483647 h 726"/>
              <a:gd name="T42" fmla="*/ 2147483647 w 1086"/>
              <a:gd name="T43" fmla="*/ 2147483647 h 726"/>
              <a:gd name="T44" fmla="*/ 2147483647 w 1086"/>
              <a:gd name="T45" fmla="*/ 2147483647 h 726"/>
              <a:gd name="T46" fmla="*/ 2147483647 w 1086"/>
              <a:gd name="T47" fmla="*/ 2147483647 h 726"/>
              <a:gd name="T48" fmla="*/ 2147483647 w 1086"/>
              <a:gd name="T49" fmla="*/ 2147483647 h 726"/>
              <a:gd name="T50" fmla="*/ 2147483647 w 1086"/>
              <a:gd name="T51" fmla="*/ 2147483647 h 726"/>
              <a:gd name="T52" fmla="*/ 2147483647 w 1086"/>
              <a:gd name="T53" fmla="*/ 2147483647 h 726"/>
              <a:gd name="T54" fmla="*/ 2147483647 w 1086"/>
              <a:gd name="T55" fmla="*/ 2147483647 h 726"/>
              <a:gd name="T56" fmla="*/ 2147483647 w 1086"/>
              <a:gd name="T57" fmla="*/ 2147483647 h 726"/>
              <a:gd name="T58" fmla="*/ 2147483647 w 1086"/>
              <a:gd name="T59" fmla="*/ 2147483647 h 726"/>
              <a:gd name="T60" fmla="*/ 2147483647 w 1086"/>
              <a:gd name="T61" fmla="*/ 2147483647 h 726"/>
              <a:gd name="T62" fmla="*/ 2147483647 w 1086"/>
              <a:gd name="T63" fmla="*/ 2147483647 h 726"/>
              <a:gd name="T64" fmla="*/ 2147483647 w 1086"/>
              <a:gd name="T65" fmla="*/ 2147483647 h 726"/>
              <a:gd name="T66" fmla="*/ 2147483647 w 1086"/>
              <a:gd name="T67" fmla="*/ 2147483647 h 726"/>
              <a:gd name="T68" fmla="*/ 2147483647 w 1086"/>
              <a:gd name="T69" fmla="*/ 2147483647 h 726"/>
              <a:gd name="T70" fmla="*/ 2147483647 w 1086"/>
              <a:gd name="T71" fmla="*/ 2147483647 h 726"/>
              <a:gd name="T72" fmla="*/ 2147483647 w 1086"/>
              <a:gd name="T73" fmla="*/ 2147483647 h 726"/>
              <a:gd name="T74" fmla="*/ 2147483647 w 1086"/>
              <a:gd name="T75" fmla="*/ 2147483647 h 726"/>
              <a:gd name="T76" fmla="*/ 2147483647 w 1086"/>
              <a:gd name="T77" fmla="*/ 2147483647 h 726"/>
              <a:gd name="T78" fmla="*/ 2147483647 w 1086"/>
              <a:gd name="T79" fmla="*/ 2147483647 h 726"/>
              <a:gd name="T80" fmla="*/ 2147483647 w 1086"/>
              <a:gd name="T81" fmla="*/ 2147483647 h 726"/>
              <a:gd name="T82" fmla="*/ 2147483647 w 1086"/>
              <a:gd name="T83" fmla="*/ 2147483647 h 726"/>
              <a:gd name="T84" fmla="*/ 2147483647 w 1086"/>
              <a:gd name="T85" fmla="*/ 2147483647 h 726"/>
              <a:gd name="T86" fmla="*/ 2147483647 w 1086"/>
              <a:gd name="T87" fmla="*/ 2147483647 h 726"/>
              <a:gd name="T88" fmla="*/ 2147483647 w 1086"/>
              <a:gd name="T89" fmla="*/ 2147483647 h 726"/>
              <a:gd name="T90" fmla="*/ 2147483647 w 1086"/>
              <a:gd name="T91" fmla="*/ 2147483647 h 726"/>
              <a:gd name="T92" fmla="*/ 2147483647 w 1086"/>
              <a:gd name="T93" fmla="*/ 2147483647 h 726"/>
              <a:gd name="T94" fmla="*/ 2147483647 w 1086"/>
              <a:gd name="T95" fmla="*/ 2147483647 h 726"/>
              <a:gd name="T96" fmla="*/ 2147483647 w 1086"/>
              <a:gd name="T97" fmla="*/ 2147483647 h 726"/>
              <a:gd name="T98" fmla="*/ 2147483647 w 1086"/>
              <a:gd name="T99" fmla="*/ 2147483647 h 726"/>
              <a:gd name="T100" fmla="*/ 2147483647 w 1086"/>
              <a:gd name="T101" fmla="*/ 2147483647 h 726"/>
              <a:gd name="T102" fmla="*/ 2147483647 w 1086"/>
              <a:gd name="T103" fmla="*/ 2147483647 h 726"/>
              <a:gd name="T104" fmla="*/ 2147483647 w 1086"/>
              <a:gd name="T105" fmla="*/ 2147483647 h 726"/>
              <a:gd name="T106" fmla="*/ 2147483647 w 1086"/>
              <a:gd name="T107" fmla="*/ 2147483647 h 726"/>
              <a:gd name="T108" fmla="*/ 2147483647 w 1086"/>
              <a:gd name="T109" fmla="*/ 2147483647 h 726"/>
              <a:gd name="T110" fmla="*/ 2147483647 w 1086"/>
              <a:gd name="T111" fmla="*/ 2147483647 h 726"/>
              <a:gd name="T112" fmla="*/ 2147483647 w 1086"/>
              <a:gd name="T113" fmla="*/ 2147483647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086"/>
              <a:gd name="T172" fmla="*/ 0 h 726"/>
              <a:gd name="T173" fmla="*/ 1086 w 1086"/>
              <a:gd name="T174" fmla="*/ 726 h 72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086" h="726">
                <a:moveTo>
                  <a:pt x="486" y="0"/>
                </a:moveTo>
                <a:lnTo>
                  <a:pt x="462" y="0"/>
                </a:lnTo>
                <a:lnTo>
                  <a:pt x="450" y="6"/>
                </a:lnTo>
                <a:lnTo>
                  <a:pt x="444" y="12"/>
                </a:lnTo>
                <a:lnTo>
                  <a:pt x="432" y="18"/>
                </a:lnTo>
                <a:lnTo>
                  <a:pt x="462" y="36"/>
                </a:lnTo>
                <a:lnTo>
                  <a:pt x="474" y="36"/>
                </a:lnTo>
                <a:lnTo>
                  <a:pt x="486" y="30"/>
                </a:lnTo>
                <a:lnTo>
                  <a:pt x="498" y="18"/>
                </a:lnTo>
                <a:lnTo>
                  <a:pt x="492" y="6"/>
                </a:lnTo>
                <a:lnTo>
                  <a:pt x="486" y="0"/>
                </a:lnTo>
                <a:close/>
                <a:moveTo>
                  <a:pt x="756" y="216"/>
                </a:moveTo>
                <a:lnTo>
                  <a:pt x="750" y="222"/>
                </a:lnTo>
                <a:lnTo>
                  <a:pt x="750" y="228"/>
                </a:lnTo>
                <a:lnTo>
                  <a:pt x="756" y="234"/>
                </a:lnTo>
                <a:lnTo>
                  <a:pt x="768" y="240"/>
                </a:lnTo>
                <a:lnTo>
                  <a:pt x="774" y="246"/>
                </a:lnTo>
                <a:lnTo>
                  <a:pt x="774" y="264"/>
                </a:lnTo>
                <a:lnTo>
                  <a:pt x="702" y="300"/>
                </a:lnTo>
                <a:lnTo>
                  <a:pt x="666" y="300"/>
                </a:lnTo>
                <a:lnTo>
                  <a:pt x="630" y="312"/>
                </a:lnTo>
                <a:lnTo>
                  <a:pt x="594" y="330"/>
                </a:lnTo>
                <a:lnTo>
                  <a:pt x="588" y="336"/>
                </a:lnTo>
                <a:lnTo>
                  <a:pt x="570" y="336"/>
                </a:lnTo>
                <a:lnTo>
                  <a:pt x="564" y="342"/>
                </a:lnTo>
                <a:lnTo>
                  <a:pt x="588" y="378"/>
                </a:lnTo>
                <a:lnTo>
                  <a:pt x="684" y="378"/>
                </a:lnTo>
                <a:lnTo>
                  <a:pt x="702" y="366"/>
                </a:lnTo>
                <a:lnTo>
                  <a:pt x="738" y="366"/>
                </a:lnTo>
                <a:lnTo>
                  <a:pt x="750" y="360"/>
                </a:lnTo>
                <a:lnTo>
                  <a:pt x="774" y="336"/>
                </a:lnTo>
                <a:lnTo>
                  <a:pt x="774" y="330"/>
                </a:lnTo>
                <a:lnTo>
                  <a:pt x="804" y="324"/>
                </a:lnTo>
                <a:lnTo>
                  <a:pt x="798" y="300"/>
                </a:lnTo>
                <a:lnTo>
                  <a:pt x="822" y="300"/>
                </a:lnTo>
                <a:lnTo>
                  <a:pt x="822" y="288"/>
                </a:lnTo>
                <a:lnTo>
                  <a:pt x="828" y="258"/>
                </a:lnTo>
                <a:lnTo>
                  <a:pt x="828" y="228"/>
                </a:lnTo>
                <a:lnTo>
                  <a:pt x="822" y="198"/>
                </a:lnTo>
                <a:lnTo>
                  <a:pt x="816" y="192"/>
                </a:lnTo>
                <a:lnTo>
                  <a:pt x="804" y="186"/>
                </a:lnTo>
                <a:lnTo>
                  <a:pt x="792" y="192"/>
                </a:lnTo>
                <a:lnTo>
                  <a:pt x="786" y="198"/>
                </a:lnTo>
                <a:lnTo>
                  <a:pt x="762" y="210"/>
                </a:lnTo>
                <a:lnTo>
                  <a:pt x="756" y="216"/>
                </a:lnTo>
                <a:close/>
                <a:moveTo>
                  <a:pt x="834" y="132"/>
                </a:moveTo>
                <a:lnTo>
                  <a:pt x="822" y="132"/>
                </a:lnTo>
                <a:lnTo>
                  <a:pt x="816" y="120"/>
                </a:lnTo>
                <a:lnTo>
                  <a:pt x="804" y="108"/>
                </a:lnTo>
                <a:lnTo>
                  <a:pt x="792" y="102"/>
                </a:lnTo>
                <a:lnTo>
                  <a:pt x="786" y="90"/>
                </a:lnTo>
                <a:lnTo>
                  <a:pt x="774" y="78"/>
                </a:lnTo>
                <a:lnTo>
                  <a:pt x="768" y="78"/>
                </a:lnTo>
                <a:lnTo>
                  <a:pt x="762" y="72"/>
                </a:lnTo>
                <a:lnTo>
                  <a:pt x="756" y="72"/>
                </a:lnTo>
                <a:lnTo>
                  <a:pt x="732" y="36"/>
                </a:lnTo>
                <a:lnTo>
                  <a:pt x="720" y="84"/>
                </a:lnTo>
                <a:lnTo>
                  <a:pt x="762" y="96"/>
                </a:lnTo>
                <a:lnTo>
                  <a:pt x="816" y="150"/>
                </a:lnTo>
                <a:lnTo>
                  <a:pt x="828" y="150"/>
                </a:lnTo>
                <a:lnTo>
                  <a:pt x="834" y="156"/>
                </a:lnTo>
                <a:lnTo>
                  <a:pt x="846" y="162"/>
                </a:lnTo>
                <a:lnTo>
                  <a:pt x="852" y="174"/>
                </a:lnTo>
                <a:lnTo>
                  <a:pt x="852" y="180"/>
                </a:lnTo>
                <a:lnTo>
                  <a:pt x="858" y="192"/>
                </a:lnTo>
                <a:lnTo>
                  <a:pt x="852" y="204"/>
                </a:lnTo>
                <a:lnTo>
                  <a:pt x="852" y="240"/>
                </a:lnTo>
                <a:lnTo>
                  <a:pt x="858" y="252"/>
                </a:lnTo>
                <a:lnTo>
                  <a:pt x="864" y="258"/>
                </a:lnTo>
                <a:lnTo>
                  <a:pt x="882" y="258"/>
                </a:lnTo>
                <a:lnTo>
                  <a:pt x="894" y="246"/>
                </a:lnTo>
                <a:lnTo>
                  <a:pt x="900" y="234"/>
                </a:lnTo>
                <a:lnTo>
                  <a:pt x="900" y="222"/>
                </a:lnTo>
                <a:lnTo>
                  <a:pt x="888" y="186"/>
                </a:lnTo>
                <a:lnTo>
                  <a:pt x="876" y="174"/>
                </a:lnTo>
                <a:lnTo>
                  <a:pt x="864" y="156"/>
                </a:lnTo>
                <a:lnTo>
                  <a:pt x="852" y="150"/>
                </a:lnTo>
                <a:lnTo>
                  <a:pt x="846" y="138"/>
                </a:lnTo>
                <a:lnTo>
                  <a:pt x="834" y="132"/>
                </a:lnTo>
                <a:close/>
                <a:moveTo>
                  <a:pt x="1086" y="360"/>
                </a:moveTo>
                <a:lnTo>
                  <a:pt x="1020" y="294"/>
                </a:lnTo>
                <a:lnTo>
                  <a:pt x="1020" y="288"/>
                </a:lnTo>
                <a:lnTo>
                  <a:pt x="1002" y="270"/>
                </a:lnTo>
                <a:lnTo>
                  <a:pt x="984" y="270"/>
                </a:lnTo>
                <a:lnTo>
                  <a:pt x="978" y="276"/>
                </a:lnTo>
                <a:lnTo>
                  <a:pt x="978" y="300"/>
                </a:lnTo>
                <a:lnTo>
                  <a:pt x="996" y="330"/>
                </a:lnTo>
                <a:lnTo>
                  <a:pt x="1020" y="378"/>
                </a:lnTo>
                <a:lnTo>
                  <a:pt x="1086" y="438"/>
                </a:lnTo>
                <a:lnTo>
                  <a:pt x="1086" y="360"/>
                </a:lnTo>
                <a:close/>
                <a:moveTo>
                  <a:pt x="672" y="672"/>
                </a:moveTo>
                <a:lnTo>
                  <a:pt x="630" y="642"/>
                </a:lnTo>
                <a:lnTo>
                  <a:pt x="648" y="630"/>
                </a:lnTo>
                <a:lnTo>
                  <a:pt x="636" y="630"/>
                </a:lnTo>
                <a:lnTo>
                  <a:pt x="624" y="624"/>
                </a:lnTo>
                <a:lnTo>
                  <a:pt x="612" y="624"/>
                </a:lnTo>
                <a:lnTo>
                  <a:pt x="600" y="618"/>
                </a:lnTo>
                <a:lnTo>
                  <a:pt x="594" y="606"/>
                </a:lnTo>
                <a:lnTo>
                  <a:pt x="594" y="594"/>
                </a:lnTo>
                <a:lnTo>
                  <a:pt x="600" y="582"/>
                </a:lnTo>
                <a:lnTo>
                  <a:pt x="600" y="564"/>
                </a:lnTo>
                <a:lnTo>
                  <a:pt x="588" y="570"/>
                </a:lnTo>
                <a:lnTo>
                  <a:pt x="582" y="570"/>
                </a:lnTo>
                <a:lnTo>
                  <a:pt x="570" y="576"/>
                </a:lnTo>
                <a:lnTo>
                  <a:pt x="564" y="576"/>
                </a:lnTo>
                <a:lnTo>
                  <a:pt x="552" y="582"/>
                </a:lnTo>
                <a:lnTo>
                  <a:pt x="552" y="552"/>
                </a:lnTo>
                <a:lnTo>
                  <a:pt x="528" y="540"/>
                </a:lnTo>
                <a:lnTo>
                  <a:pt x="528" y="492"/>
                </a:lnTo>
                <a:lnTo>
                  <a:pt x="474" y="456"/>
                </a:lnTo>
                <a:lnTo>
                  <a:pt x="450" y="402"/>
                </a:lnTo>
                <a:lnTo>
                  <a:pt x="474" y="390"/>
                </a:lnTo>
                <a:lnTo>
                  <a:pt x="480" y="384"/>
                </a:lnTo>
                <a:lnTo>
                  <a:pt x="492" y="378"/>
                </a:lnTo>
                <a:lnTo>
                  <a:pt x="504" y="366"/>
                </a:lnTo>
                <a:lnTo>
                  <a:pt x="504" y="360"/>
                </a:lnTo>
                <a:lnTo>
                  <a:pt x="492" y="336"/>
                </a:lnTo>
                <a:lnTo>
                  <a:pt x="468" y="324"/>
                </a:lnTo>
                <a:lnTo>
                  <a:pt x="462" y="318"/>
                </a:lnTo>
                <a:lnTo>
                  <a:pt x="456" y="318"/>
                </a:lnTo>
                <a:lnTo>
                  <a:pt x="450" y="312"/>
                </a:lnTo>
                <a:lnTo>
                  <a:pt x="438" y="312"/>
                </a:lnTo>
                <a:lnTo>
                  <a:pt x="402" y="300"/>
                </a:lnTo>
                <a:lnTo>
                  <a:pt x="390" y="300"/>
                </a:lnTo>
                <a:lnTo>
                  <a:pt x="378" y="294"/>
                </a:lnTo>
                <a:lnTo>
                  <a:pt x="372" y="294"/>
                </a:lnTo>
                <a:lnTo>
                  <a:pt x="372" y="234"/>
                </a:lnTo>
                <a:lnTo>
                  <a:pt x="366" y="222"/>
                </a:lnTo>
                <a:lnTo>
                  <a:pt x="354" y="210"/>
                </a:lnTo>
                <a:lnTo>
                  <a:pt x="342" y="210"/>
                </a:lnTo>
                <a:lnTo>
                  <a:pt x="288" y="156"/>
                </a:lnTo>
                <a:lnTo>
                  <a:pt x="252" y="162"/>
                </a:lnTo>
                <a:lnTo>
                  <a:pt x="216" y="126"/>
                </a:lnTo>
                <a:lnTo>
                  <a:pt x="186" y="120"/>
                </a:lnTo>
                <a:lnTo>
                  <a:pt x="66" y="60"/>
                </a:lnTo>
                <a:lnTo>
                  <a:pt x="42" y="72"/>
                </a:lnTo>
                <a:lnTo>
                  <a:pt x="0" y="42"/>
                </a:lnTo>
                <a:lnTo>
                  <a:pt x="42" y="72"/>
                </a:lnTo>
                <a:lnTo>
                  <a:pt x="36" y="102"/>
                </a:lnTo>
                <a:lnTo>
                  <a:pt x="36" y="240"/>
                </a:lnTo>
                <a:lnTo>
                  <a:pt x="30" y="258"/>
                </a:lnTo>
                <a:lnTo>
                  <a:pt x="30" y="372"/>
                </a:lnTo>
                <a:lnTo>
                  <a:pt x="24" y="378"/>
                </a:lnTo>
                <a:lnTo>
                  <a:pt x="12" y="384"/>
                </a:lnTo>
                <a:lnTo>
                  <a:pt x="0" y="396"/>
                </a:lnTo>
                <a:lnTo>
                  <a:pt x="0" y="402"/>
                </a:lnTo>
                <a:lnTo>
                  <a:pt x="6" y="408"/>
                </a:lnTo>
                <a:lnTo>
                  <a:pt x="18" y="414"/>
                </a:lnTo>
                <a:lnTo>
                  <a:pt x="30" y="414"/>
                </a:lnTo>
                <a:lnTo>
                  <a:pt x="30" y="444"/>
                </a:lnTo>
                <a:lnTo>
                  <a:pt x="24" y="456"/>
                </a:lnTo>
                <a:lnTo>
                  <a:pt x="24" y="480"/>
                </a:lnTo>
                <a:lnTo>
                  <a:pt x="18" y="492"/>
                </a:lnTo>
                <a:lnTo>
                  <a:pt x="18" y="504"/>
                </a:lnTo>
                <a:lnTo>
                  <a:pt x="12" y="510"/>
                </a:lnTo>
                <a:lnTo>
                  <a:pt x="12" y="516"/>
                </a:lnTo>
                <a:lnTo>
                  <a:pt x="18" y="540"/>
                </a:lnTo>
                <a:lnTo>
                  <a:pt x="18" y="588"/>
                </a:lnTo>
                <a:lnTo>
                  <a:pt x="30" y="594"/>
                </a:lnTo>
                <a:lnTo>
                  <a:pt x="48" y="594"/>
                </a:lnTo>
                <a:lnTo>
                  <a:pt x="60" y="588"/>
                </a:lnTo>
                <a:lnTo>
                  <a:pt x="90" y="588"/>
                </a:lnTo>
                <a:lnTo>
                  <a:pt x="96" y="582"/>
                </a:lnTo>
                <a:lnTo>
                  <a:pt x="102" y="582"/>
                </a:lnTo>
                <a:lnTo>
                  <a:pt x="126" y="600"/>
                </a:lnTo>
                <a:lnTo>
                  <a:pt x="132" y="600"/>
                </a:lnTo>
                <a:lnTo>
                  <a:pt x="138" y="594"/>
                </a:lnTo>
                <a:lnTo>
                  <a:pt x="156" y="588"/>
                </a:lnTo>
                <a:lnTo>
                  <a:pt x="168" y="582"/>
                </a:lnTo>
                <a:lnTo>
                  <a:pt x="180" y="570"/>
                </a:lnTo>
                <a:lnTo>
                  <a:pt x="180" y="564"/>
                </a:lnTo>
                <a:lnTo>
                  <a:pt x="168" y="552"/>
                </a:lnTo>
                <a:lnTo>
                  <a:pt x="150" y="540"/>
                </a:lnTo>
                <a:lnTo>
                  <a:pt x="138" y="534"/>
                </a:lnTo>
                <a:lnTo>
                  <a:pt x="120" y="522"/>
                </a:lnTo>
                <a:lnTo>
                  <a:pt x="108" y="516"/>
                </a:lnTo>
                <a:lnTo>
                  <a:pt x="102" y="510"/>
                </a:lnTo>
                <a:lnTo>
                  <a:pt x="96" y="510"/>
                </a:lnTo>
                <a:lnTo>
                  <a:pt x="108" y="510"/>
                </a:lnTo>
                <a:lnTo>
                  <a:pt x="138" y="516"/>
                </a:lnTo>
                <a:lnTo>
                  <a:pt x="204" y="516"/>
                </a:lnTo>
                <a:lnTo>
                  <a:pt x="204" y="510"/>
                </a:lnTo>
                <a:lnTo>
                  <a:pt x="198" y="504"/>
                </a:lnTo>
                <a:lnTo>
                  <a:pt x="198" y="498"/>
                </a:lnTo>
                <a:lnTo>
                  <a:pt x="186" y="486"/>
                </a:lnTo>
                <a:lnTo>
                  <a:pt x="192" y="492"/>
                </a:lnTo>
                <a:lnTo>
                  <a:pt x="204" y="492"/>
                </a:lnTo>
                <a:lnTo>
                  <a:pt x="210" y="498"/>
                </a:lnTo>
                <a:lnTo>
                  <a:pt x="216" y="498"/>
                </a:lnTo>
                <a:lnTo>
                  <a:pt x="222" y="492"/>
                </a:lnTo>
                <a:lnTo>
                  <a:pt x="222" y="486"/>
                </a:lnTo>
                <a:lnTo>
                  <a:pt x="216" y="480"/>
                </a:lnTo>
                <a:lnTo>
                  <a:pt x="216" y="468"/>
                </a:lnTo>
                <a:lnTo>
                  <a:pt x="210" y="462"/>
                </a:lnTo>
                <a:lnTo>
                  <a:pt x="222" y="468"/>
                </a:lnTo>
                <a:lnTo>
                  <a:pt x="228" y="474"/>
                </a:lnTo>
                <a:lnTo>
                  <a:pt x="246" y="474"/>
                </a:lnTo>
                <a:lnTo>
                  <a:pt x="252" y="468"/>
                </a:lnTo>
                <a:lnTo>
                  <a:pt x="264" y="462"/>
                </a:lnTo>
                <a:lnTo>
                  <a:pt x="270" y="456"/>
                </a:lnTo>
                <a:lnTo>
                  <a:pt x="288" y="474"/>
                </a:lnTo>
                <a:lnTo>
                  <a:pt x="300" y="480"/>
                </a:lnTo>
                <a:lnTo>
                  <a:pt x="306" y="486"/>
                </a:lnTo>
                <a:lnTo>
                  <a:pt x="312" y="486"/>
                </a:lnTo>
                <a:lnTo>
                  <a:pt x="330" y="492"/>
                </a:lnTo>
                <a:lnTo>
                  <a:pt x="342" y="492"/>
                </a:lnTo>
                <a:lnTo>
                  <a:pt x="378" y="504"/>
                </a:lnTo>
                <a:lnTo>
                  <a:pt x="390" y="510"/>
                </a:lnTo>
                <a:lnTo>
                  <a:pt x="402" y="534"/>
                </a:lnTo>
                <a:lnTo>
                  <a:pt x="402" y="558"/>
                </a:lnTo>
                <a:lnTo>
                  <a:pt x="408" y="570"/>
                </a:lnTo>
                <a:lnTo>
                  <a:pt x="420" y="582"/>
                </a:lnTo>
                <a:lnTo>
                  <a:pt x="438" y="582"/>
                </a:lnTo>
                <a:lnTo>
                  <a:pt x="450" y="594"/>
                </a:lnTo>
                <a:lnTo>
                  <a:pt x="450" y="606"/>
                </a:lnTo>
                <a:lnTo>
                  <a:pt x="456" y="618"/>
                </a:lnTo>
                <a:lnTo>
                  <a:pt x="468" y="654"/>
                </a:lnTo>
                <a:lnTo>
                  <a:pt x="486" y="672"/>
                </a:lnTo>
                <a:lnTo>
                  <a:pt x="516" y="678"/>
                </a:lnTo>
                <a:lnTo>
                  <a:pt x="558" y="684"/>
                </a:lnTo>
                <a:lnTo>
                  <a:pt x="618" y="684"/>
                </a:lnTo>
                <a:lnTo>
                  <a:pt x="630" y="690"/>
                </a:lnTo>
                <a:lnTo>
                  <a:pt x="654" y="714"/>
                </a:lnTo>
                <a:lnTo>
                  <a:pt x="678" y="726"/>
                </a:lnTo>
                <a:lnTo>
                  <a:pt x="684" y="726"/>
                </a:lnTo>
                <a:lnTo>
                  <a:pt x="684" y="720"/>
                </a:lnTo>
                <a:lnTo>
                  <a:pt x="678" y="708"/>
                </a:lnTo>
                <a:lnTo>
                  <a:pt x="678" y="702"/>
                </a:lnTo>
                <a:lnTo>
                  <a:pt x="672" y="690"/>
                </a:lnTo>
                <a:lnTo>
                  <a:pt x="666" y="684"/>
                </a:lnTo>
                <a:lnTo>
                  <a:pt x="672" y="67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7" name="Panama"/>
          <p:cNvSpPr>
            <a:spLocks/>
          </p:cNvSpPr>
          <p:nvPr/>
        </p:nvSpPr>
        <p:spPr bwMode="gray">
          <a:xfrm>
            <a:off x="1647096" y="3948780"/>
            <a:ext cx="163512" cy="77788"/>
          </a:xfrm>
          <a:custGeom>
            <a:avLst/>
            <a:gdLst>
              <a:gd name="T0" fmla="*/ 2147483647 w 408"/>
              <a:gd name="T1" fmla="*/ 2147483647 h 198"/>
              <a:gd name="T2" fmla="*/ 2147483647 w 408"/>
              <a:gd name="T3" fmla="*/ 2147483647 h 198"/>
              <a:gd name="T4" fmla="*/ 2147483647 w 408"/>
              <a:gd name="T5" fmla="*/ 2147483647 h 198"/>
              <a:gd name="T6" fmla="*/ 2147483647 w 408"/>
              <a:gd name="T7" fmla="*/ 2147483647 h 198"/>
              <a:gd name="T8" fmla="*/ 2147483647 w 408"/>
              <a:gd name="T9" fmla="*/ 2147483647 h 198"/>
              <a:gd name="T10" fmla="*/ 2147483647 w 408"/>
              <a:gd name="T11" fmla="*/ 2147483647 h 198"/>
              <a:gd name="T12" fmla="*/ 2147483647 w 408"/>
              <a:gd name="T13" fmla="*/ 2147483647 h 198"/>
              <a:gd name="T14" fmla="*/ 2147483647 w 408"/>
              <a:gd name="T15" fmla="*/ 2147483647 h 198"/>
              <a:gd name="T16" fmla="*/ 2147483647 w 408"/>
              <a:gd name="T17" fmla="*/ 2147483647 h 198"/>
              <a:gd name="T18" fmla="*/ 2147483647 w 408"/>
              <a:gd name="T19" fmla="*/ 2147483647 h 198"/>
              <a:gd name="T20" fmla="*/ 2147483647 w 408"/>
              <a:gd name="T21" fmla="*/ 2147483647 h 198"/>
              <a:gd name="T22" fmla="*/ 2147483647 w 408"/>
              <a:gd name="T23" fmla="*/ 2147483647 h 198"/>
              <a:gd name="T24" fmla="*/ 2147483647 w 408"/>
              <a:gd name="T25" fmla="*/ 2147483647 h 198"/>
              <a:gd name="T26" fmla="*/ 2147483647 w 408"/>
              <a:gd name="T27" fmla="*/ 2147483647 h 198"/>
              <a:gd name="T28" fmla="*/ 2147483647 w 408"/>
              <a:gd name="T29" fmla="*/ 2147483647 h 198"/>
              <a:gd name="T30" fmla="*/ 2147483647 w 408"/>
              <a:gd name="T31" fmla="*/ 2147483647 h 198"/>
              <a:gd name="T32" fmla="*/ 2147483647 w 408"/>
              <a:gd name="T33" fmla="*/ 0 h 198"/>
              <a:gd name="T34" fmla="*/ 2147483647 w 408"/>
              <a:gd name="T35" fmla="*/ 2147483647 h 198"/>
              <a:gd name="T36" fmla="*/ 2147483647 w 408"/>
              <a:gd name="T37" fmla="*/ 2147483647 h 198"/>
              <a:gd name="T38" fmla="*/ 2147483647 w 408"/>
              <a:gd name="T39" fmla="*/ 2147483647 h 198"/>
              <a:gd name="T40" fmla="*/ 2147483647 w 408"/>
              <a:gd name="T41" fmla="*/ 2147483647 h 198"/>
              <a:gd name="T42" fmla="*/ 2147483647 w 408"/>
              <a:gd name="T43" fmla="*/ 2147483647 h 198"/>
              <a:gd name="T44" fmla="*/ 2147483647 w 408"/>
              <a:gd name="T45" fmla="*/ 2147483647 h 198"/>
              <a:gd name="T46" fmla="*/ 2147483647 w 408"/>
              <a:gd name="T47" fmla="*/ 2147483647 h 198"/>
              <a:gd name="T48" fmla="*/ 2147483647 w 408"/>
              <a:gd name="T49" fmla="*/ 2147483647 h 198"/>
              <a:gd name="T50" fmla="*/ 2147483647 w 408"/>
              <a:gd name="T51" fmla="*/ 2147483647 h 198"/>
              <a:gd name="T52" fmla="*/ 2147483647 w 408"/>
              <a:gd name="T53" fmla="*/ 2147483647 h 198"/>
              <a:gd name="T54" fmla="*/ 2147483647 w 408"/>
              <a:gd name="T55" fmla="*/ 2147483647 h 198"/>
              <a:gd name="T56" fmla="*/ 0 w 408"/>
              <a:gd name="T57" fmla="*/ 2147483647 h 198"/>
              <a:gd name="T58" fmla="*/ 2147483647 w 408"/>
              <a:gd name="T59" fmla="*/ 2147483647 h 198"/>
              <a:gd name="T60" fmla="*/ 2147483647 w 408"/>
              <a:gd name="T61" fmla="*/ 2147483647 h 198"/>
              <a:gd name="T62" fmla="*/ 2147483647 w 408"/>
              <a:gd name="T63" fmla="*/ 2147483647 h 198"/>
              <a:gd name="T64" fmla="*/ 0 w 408"/>
              <a:gd name="T65" fmla="*/ 2147483647 h 198"/>
              <a:gd name="T66" fmla="*/ 2147483647 w 408"/>
              <a:gd name="T67" fmla="*/ 2147483647 h 198"/>
              <a:gd name="T68" fmla="*/ 2147483647 w 408"/>
              <a:gd name="T69" fmla="*/ 2147483647 h 198"/>
              <a:gd name="T70" fmla="*/ 2147483647 w 408"/>
              <a:gd name="T71" fmla="*/ 2147483647 h 198"/>
              <a:gd name="T72" fmla="*/ 2147483647 w 408"/>
              <a:gd name="T73" fmla="*/ 2147483647 h 198"/>
              <a:gd name="T74" fmla="*/ 2147483647 w 408"/>
              <a:gd name="T75" fmla="*/ 2147483647 h 198"/>
              <a:gd name="T76" fmla="*/ 2147483647 w 408"/>
              <a:gd name="T77" fmla="*/ 2147483647 h 198"/>
              <a:gd name="T78" fmla="*/ 2147483647 w 408"/>
              <a:gd name="T79" fmla="*/ 2147483647 h 198"/>
              <a:gd name="T80" fmla="*/ 2147483647 w 408"/>
              <a:gd name="T81" fmla="*/ 2147483647 h 198"/>
              <a:gd name="T82" fmla="*/ 2147483647 w 408"/>
              <a:gd name="T83" fmla="*/ 2147483647 h 198"/>
              <a:gd name="T84" fmla="*/ 2147483647 w 408"/>
              <a:gd name="T85" fmla="*/ 2147483647 h 198"/>
              <a:gd name="T86" fmla="*/ 2147483647 w 408"/>
              <a:gd name="T87" fmla="*/ 2147483647 h 198"/>
              <a:gd name="T88" fmla="*/ 2147483647 w 408"/>
              <a:gd name="T89" fmla="*/ 2147483647 h 198"/>
              <a:gd name="T90" fmla="*/ 2147483647 w 408"/>
              <a:gd name="T91" fmla="*/ 2147483647 h 198"/>
              <a:gd name="T92" fmla="*/ 2147483647 w 408"/>
              <a:gd name="T93" fmla="*/ 2147483647 h 198"/>
              <a:gd name="T94" fmla="*/ 2147483647 w 408"/>
              <a:gd name="T95" fmla="*/ 2147483647 h 198"/>
              <a:gd name="T96" fmla="*/ 2147483647 w 408"/>
              <a:gd name="T97" fmla="*/ 2147483647 h 198"/>
              <a:gd name="T98" fmla="*/ 2147483647 w 408"/>
              <a:gd name="T99" fmla="*/ 2147483647 h 198"/>
              <a:gd name="T100" fmla="*/ 2147483647 w 408"/>
              <a:gd name="T101" fmla="*/ 2147483647 h 19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08"/>
              <a:gd name="T154" fmla="*/ 0 h 198"/>
              <a:gd name="T155" fmla="*/ 408 w 408"/>
              <a:gd name="T156" fmla="*/ 198 h 19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08" h="198">
                <a:moveTo>
                  <a:pt x="306" y="66"/>
                </a:moveTo>
                <a:lnTo>
                  <a:pt x="318" y="78"/>
                </a:lnTo>
                <a:lnTo>
                  <a:pt x="324" y="90"/>
                </a:lnTo>
                <a:lnTo>
                  <a:pt x="330" y="96"/>
                </a:lnTo>
                <a:lnTo>
                  <a:pt x="342" y="90"/>
                </a:lnTo>
                <a:lnTo>
                  <a:pt x="372" y="120"/>
                </a:lnTo>
                <a:lnTo>
                  <a:pt x="342" y="102"/>
                </a:lnTo>
                <a:lnTo>
                  <a:pt x="342" y="120"/>
                </a:lnTo>
                <a:lnTo>
                  <a:pt x="336" y="132"/>
                </a:lnTo>
                <a:lnTo>
                  <a:pt x="336" y="162"/>
                </a:lnTo>
                <a:lnTo>
                  <a:pt x="342" y="168"/>
                </a:lnTo>
                <a:lnTo>
                  <a:pt x="348" y="180"/>
                </a:lnTo>
                <a:lnTo>
                  <a:pt x="354" y="186"/>
                </a:lnTo>
                <a:lnTo>
                  <a:pt x="360" y="186"/>
                </a:lnTo>
                <a:lnTo>
                  <a:pt x="372" y="156"/>
                </a:lnTo>
                <a:lnTo>
                  <a:pt x="378" y="162"/>
                </a:lnTo>
                <a:lnTo>
                  <a:pt x="390" y="168"/>
                </a:lnTo>
                <a:lnTo>
                  <a:pt x="396" y="162"/>
                </a:lnTo>
                <a:lnTo>
                  <a:pt x="408" y="138"/>
                </a:lnTo>
                <a:lnTo>
                  <a:pt x="408" y="126"/>
                </a:lnTo>
                <a:lnTo>
                  <a:pt x="396" y="120"/>
                </a:lnTo>
                <a:lnTo>
                  <a:pt x="390" y="108"/>
                </a:lnTo>
                <a:lnTo>
                  <a:pt x="390" y="90"/>
                </a:lnTo>
                <a:lnTo>
                  <a:pt x="396" y="84"/>
                </a:lnTo>
                <a:lnTo>
                  <a:pt x="372" y="66"/>
                </a:lnTo>
                <a:lnTo>
                  <a:pt x="372" y="60"/>
                </a:lnTo>
                <a:lnTo>
                  <a:pt x="366" y="54"/>
                </a:lnTo>
                <a:lnTo>
                  <a:pt x="366" y="42"/>
                </a:lnTo>
                <a:lnTo>
                  <a:pt x="360" y="30"/>
                </a:lnTo>
                <a:lnTo>
                  <a:pt x="348" y="24"/>
                </a:lnTo>
                <a:lnTo>
                  <a:pt x="330" y="18"/>
                </a:lnTo>
                <a:lnTo>
                  <a:pt x="288" y="18"/>
                </a:lnTo>
                <a:lnTo>
                  <a:pt x="282" y="0"/>
                </a:lnTo>
                <a:lnTo>
                  <a:pt x="246" y="0"/>
                </a:lnTo>
                <a:lnTo>
                  <a:pt x="234" y="6"/>
                </a:lnTo>
                <a:lnTo>
                  <a:pt x="228" y="12"/>
                </a:lnTo>
                <a:lnTo>
                  <a:pt x="222" y="24"/>
                </a:lnTo>
                <a:lnTo>
                  <a:pt x="210" y="36"/>
                </a:lnTo>
                <a:lnTo>
                  <a:pt x="204" y="36"/>
                </a:lnTo>
                <a:lnTo>
                  <a:pt x="198" y="30"/>
                </a:lnTo>
                <a:lnTo>
                  <a:pt x="192" y="30"/>
                </a:lnTo>
                <a:lnTo>
                  <a:pt x="168" y="42"/>
                </a:lnTo>
                <a:lnTo>
                  <a:pt x="144" y="66"/>
                </a:lnTo>
                <a:lnTo>
                  <a:pt x="132" y="72"/>
                </a:lnTo>
                <a:lnTo>
                  <a:pt x="120" y="72"/>
                </a:lnTo>
                <a:lnTo>
                  <a:pt x="114" y="66"/>
                </a:lnTo>
                <a:lnTo>
                  <a:pt x="102" y="60"/>
                </a:lnTo>
                <a:lnTo>
                  <a:pt x="90" y="42"/>
                </a:lnTo>
                <a:lnTo>
                  <a:pt x="78" y="54"/>
                </a:lnTo>
                <a:lnTo>
                  <a:pt x="60" y="54"/>
                </a:lnTo>
                <a:lnTo>
                  <a:pt x="48" y="42"/>
                </a:lnTo>
                <a:lnTo>
                  <a:pt x="48" y="18"/>
                </a:lnTo>
                <a:lnTo>
                  <a:pt x="36" y="6"/>
                </a:lnTo>
                <a:lnTo>
                  <a:pt x="24" y="6"/>
                </a:lnTo>
                <a:lnTo>
                  <a:pt x="18" y="12"/>
                </a:lnTo>
                <a:lnTo>
                  <a:pt x="6" y="12"/>
                </a:lnTo>
                <a:lnTo>
                  <a:pt x="0" y="18"/>
                </a:lnTo>
                <a:lnTo>
                  <a:pt x="0" y="36"/>
                </a:lnTo>
                <a:lnTo>
                  <a:pt x="6" y="42"/>
                </a:lnTo>
                <a:lnTo>
                  <a:pt x="6" y="48"/>
                </a:lnTo>
                <a:lnTo>
                  <a:pt x="24" y="48"/>
                </a:lnTo>
                <a:lnTo>
                  <a:pt x="30" y="54"/>
                </a:lnTo>
                <a:lnTo>
                  <a:pt x="12" y="72"/>
                </a:lnTo>
                <a:lnTo>
                  <a:pt x="6" y="72"/>
                </a:lnTo>
                <a:lnTo>
                  <a:pt x="6" y="96"/>
                </a:lnTo>
                <a:lnTo>
                  <a:pt x="0" y="102"/>
                </a:lnTo>
                <a:lnTo>
                  <a:pt x="6" y="108"/>
                </a:lnTo>
                <a:lnTo>
                  <a:pt x="48" y="102"/>
                </a:lnTo>
                <a:lnTo>
                  <a:pt x="60" y="120"/>
                </a:lnTo>
                <a:lnTo>
                  <a:pt x="90" y="114"/>
                </a:lnTo>
                <a:lnTo>
                  <a:pt x="90" y="126"/>
                </a:lnTo>
                <a:lnTo>
                  <a:pt x="84" y="132"/>
                </a:lnTo>
                <a:lnTo>
                  <a:pt x="84" y="150"/>
                </a:lnTo>
                <a:lnTo>
                  <a:pt x="90" y="156"/>
                </a:lnTo>
                <a:lnTo>
                  <a:pt x="108" y="156"/>
                </a:lnTo>
                <a:lnTo>
                  <a:pt x="114" y="150"/>
                </a:lnTo>
                <a:lnTo>
                  <a:pt x="120" y="150"/>
                </a:lnTo>
                <a:lnTo>
                  <a:pt x="120" y="132"/>
                </a:lnTo>
                <a:lnTo>
                  <a:pt x="138" y="126"/>
                </a:lnTo>
                <a:lnTo>
                  <a:pt x="138" y="150"/>
                </a:lnTo>
                <a:lnTo>
                  <a:pt x="144" y="168"/>
                </a:lnTo>
                <a:lnTo>
                  <a:pt x="144" y="180"/>
                </a:lnTo>
                <a:lnTo>
                  <a:pt x="150" y="192"/>
                </a:lnTo>
                <a:lnTo>
                  <a:pt x="156" y="198"/>
                </a:lnTo>
                <a:lnTo>
                  <a:pt x="162" y="198"/>
                </a:lnTo>
                <a:lnTo>
                  <a:pt x="180" y="192"/>
                </a:lnTo>
                <a:lnTo>
                  <a:pt x="198" y="174"/>
                </a:lnTo>
                <a:lnTo>
                  <a:pt x="204" y="174"/>
                </a:lnTo>
                <a:lnTo>
                  <a:pt x="198" y="168"/>
                </a:lnTo>
                <a:lnTo>
                  <a:pt x="186" y="162"/>
                </a:lnTo>
                <a:lnTo>
                  <a:pt x="180" y="150"/>
                </a:lnTo>
                <a:lnTo>
                  <a:pt x="174" y="144"/>
                </a:lnTo>
                <a:lnTo>
                  <a:pt x="168" y="132"/>
                </a:lnTo>
                <a:lnTo>
                  <a:pt x="162" y="126"/>
                </a:lnTo>
                <a:lnTo>
                  <a:pt x="186" y="102"/>
                </a:lnTo>
                <a:lnTo>
                  <a:pt x="222" y="84"/>
                </a:lnTo>
                <a:lnTo>
                  <a:pt x="228" y="72"/>
                </a:lnTo>
                <a:lnTo>
                  <a:pt x="246" y="54"/>
                </a:lnTo>
                <a:lnTo>
                  <a:pt x="258" y="48"/>
                </a:lnTo>
                <a:lnTo>
                  <a:pt x="276" y="54"/>
                </a:lnTo>
                <a:lnTo>
                  <a:pt x="288" y="60"/>
                </a:lnTo>
                <a:lnTo>
                  <a:pt x="306" y="6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8" name="Pakistan"/>
          <p:cNvSpPr>
            <a:spLocks/>
          </p:cNvSpPr>
          <p:nvPr/>
        </p:nvSpPr>
        <p:spPr bwMode="gray">
          <a:xfrm>
            <a:off x="5706333" y="3059780"/>
            <a:ext cx="422275" cy="423863"/>
          </a:xfrm>
          <a:custGeom>
            <a:avLst/>
            <a:gdLst>
              <a:gd name="T0" fmla="*/ 2147483647 w 1050"/>
              <a:gd name="T1" fmla="*/ 2147483647 h 1056"/>
              <a:gd name="T2" fmla="*/ 2147483647 w 1050"/>
              <a:gd name="T3" fmla="*/ 2147483647 h 1056"/>
              <a:gd name="T4" fmla="*/ 2147483647 w 1050"/>
              <a:gd name="T5" fmla="*/ 2147483647 h 1056"/>
              <a:gd name="T6" fmla="*/ 2147483647 w 1050"/>
              <a:gd name="T7" fmla="*/ 2147483647 h 1056"/>
              <a:gd name="T8" fmla="*/ 2147483647 w 1050"/>
              <a:gd name="T9" fmla="*/ 2147483647 h 1056"/>
              <a:gd name="T10" fmla="*/ 2147483647 w 1050"/>
              <a:gd name="T11" fmla="*/ 2147483647 h 1056"/>
              <a:gd name="T12" fmla="*/ 2147483647 w 1050"/>
              <a:gd name="T13" fmla="*/ 2147483647 h 1056"/>
              <a:gd name="T14" fmla="*/ 2147483647 w 1050"/>
              <a:gd name="T15" fmla="*/ 2147483647 h 1056"/>
              <a:gd name="T16" fmla="*/ 2147483647 w 1050"/>
              <a:gd name="T17" fmla="*/ 2147483647 h 1056"/>
              <a:gd name="T18" fmla="*/ 2147483647 w 1050"/>
              <a:gd name="T19" fmla="*/ 2147483647 h 1056"/>
              <a:gd name="T20" fmla="*/ 2147483647 w 1050"/>
              <a:gd name="T21" fmla="*/ 2147483647 h 1056"/>
              <a:gd name="T22" fmla="*/ 2147483647 w 1050"/>
              <a:gd name="T23" fmla="*/ 2147483647 h 1056"/>
              <a:gd name="T24" fmla="*/ 2147483647 w 1050"/>
              <a:gd name="T25" fmla="*/ 2147483647 h 1056"/>
              <a:gd name="T26" fmla="*/ 2147483647 w 1050"/>
              <a:gd name="T27" fmla="*/ 2147483647 h 1056"/>
              <a:gd name="T28" fmla="*/ 2147483647 w 1050"/>
              <a:gd name="T29" fmla="*/ 2147483647 h 1056"/>
              <a:gd name="T30" fmla="*/ 2147483647 w 1050"/>
              <a:gd name="T31" fmla="*/ 2147483647 h 1056"/>
              <a:gd name="T32" fmla="*/ 2147483647 w 1050"/>
              <a:gd name="T33" fmla="*/ 2147483647 h 1056"/>
              <a:gd name="T34" fmla="*/ 2147483647 w 1050"/>
              <a:gd name="T35" fmla="*/ 2147483647 h 1056"/>
              <a:gd name="T36" fmla="*/ 2147483647 w 1050"/>
              <a:gd name="T37" fmla="*/ 2147483647 h 1056"/>
              <a:gd name="T38" fmla="*/ 2147483647 w 1050"/>
              <a:gd name="T39" fmla="*/ 2147483647 h 1056"/>
              <a:gd name="T40" fmla="*/ 2147483647 w 1050"/>
              <a:gd name="T41" fmla="*/ 2147483647 h 1056"/>
              <a:gd name="T42" fmla="*/ 2147483647 w 1050"/>
              <a:gd name="T43" fmla="*/ 2147483647 h 1056"/>
              <a:gd name="T44" fmla="*/ 0 w 1050"/>
              <a:gd name="T45" fmla="*/ 2147483647 h 1056"/>
              <a:gd name="T46" fmla="*/ 2147483647 w 1050"/>
              <a:gd name="T47" fmla="*/ 2147483647 h 1056"/>
              <a:gd name="T48" fmla="*/ 2147483647 w 1050"/>
              <a:gd name="T49" fmla="*/ 2147483647 h 1056"/>
              <a:gd name="T50" fmla="*/ 2147483647 w 1050"/>
              <a:gd name="T51" fmla="*/ 2147483647 h 1056"/>
              <a:gd name="T52" fmla="*/ 2147483647 w 1050"/>
              <a:gd name="T53" fmla="*/ 2147483647 h 1056"/>
              <a:gd name="T54" fmla="*/ 2147483647 w 1050"/>
              <a:gd name="T55" fmla="*/ 2147483647 h 1056"/>
              <a:gd name="T56" fmla="*/ 2147483647 w 1050"/>
              <a:gd name="T57" fmla="*/ 2147483647 h 1056"/>
              <a:gd name="T58" fmla="*/ 2147483647 w 1050"/>
              <a:gd name="T59" fmla="*/ 2147483647 h 1056"/>
              <a:gd name="T60" fmla="*/ 2147483647 w 1050"/>
              <a:gd name="T61" fmla="*/ 2147483647 h 1056"/>
              <a:gd name="T62" fmla="*/ 2147483647 w 1050"/>
              <a:gd name="T63" fmla="*/ 2147483647 h 1056"/>
              <a:gd name="T64" fmla="*/ 2147483647 w 1050"/>
              <a:gd name="T65" fmla="*/ 2147483647 h 1056"/>
              <a:gd name="T66" fmla="*/ 2147483647 w 1050"/>
              <a:gd name="T67" fmla="*/ 2147483647 h 1056"/>
              <a:gd name="T68" fmla="*/ 2147483647 w 1050"/>
              <a:gd name="T69" fmla="*/ 2147483647 h 1056"/>
              <a:gd name="T70" fmla="*/ 2147483647 w 1050"/>
              <a:gd name="T71" fmla="*/ 2147483647 h 1056"/>
              <a:gd name="T72" fmla="*/ 2147483647 w 1050"/>
              <a:gd name="T73" fmla="*/ 2147483647 h 1056"/>
              <a:gd name="T74" fmla="*/ 2147483647 w 1050"/>
              <a:gd name="T75" fmla="*/ 2147483647 h 1056"/>
              <a:gd name="T76" fmla="*/ 2147483647 w 1050"/>
              <a:gd name="T77" fmla="*/ 2147483647 h 1056"/>
              <a:gd name="T78" fmla="*/ 2147483647 w 1050"/>
              <a:gd name="T79" fmla="*/ 2147483647 h 1056"/>
              <a:gd name="T80" fmla="*/ 2147483647 w 1050"/>
              <a:gd name="T81" fmla="*/ 2147483647 h 1056"/>
              <a:gd name="T82" fmla="*/ 2147483647 w 1050"/>
              <a:gd name="T83" fmla="*/ 2147483647 h 1056"/>
              <a:gd name="T84" fmla="*/ 2147483647 w 1050"/>
              <a:gd name="T85" fmla="*/ 2147483647 h 1056"/>
              <a:gd name="T86" fmla="*/ 2147483647 w 1050"/>
              <a:gd name="T87" fmla="*/ 2147483647 h 1056"/>
              <a:gd name="T88" fmla="*/ 2147483647 w 1050"/>
              <a:gd name="T89" fmla="*/ 2147483647 h 1056"/>
              <a:gd name="T90" fmla="*/ 2147483647 w 1050"/>
              <a:gd name="T91" fmla="*/ 2147483647 h 1056"/>
              <a:gd name="T92" fmla="*/ 2147483647 w 1050"/>
              <a:gd name="T93" fmla="*/ 2147483647 h 1056"/>
              <a:gd name="T94" fmla="*/ 2147483647 w 1050"/>
              <a:gd name="T95" fmla="*/ 2147483647 h 1056"/>
              <a:gd name="T96" fmla="*/ 2147483647 w 1050"/>
              <a:gd name="T97" fmla="*/ 2147483647 h 1056"/>
              <a:gd name="T98" fmla="*/ 2147483647 w 1050"/>
              <a:gd name="T99" fmla="*/ 2147483647 h 1056"/>
              <a:gd name="T100" fmla="*/ 2147483647 w 1050"/>
              <a:gd name="T101" fmla="*/ 2147483647 h 1056"/>
              <a:gd name="T102" fmla="*/ 2147483647 w 1050"/>
              <a:gd name="T103" fmla="*/ 2147483647 h 1056"/>
              <a:gd name="T104" fmla="*/ 2147483647 w 1050"/>
              <a:gd name="T105" fmla="*/ 2147483647 h 1056"/>
              <a:gd name="T106" fmla="*/ 2147483647 w 1050"/>
              <a:gd name="T107" fmla="*/ 2147483647 h 1056"/>
              <a:gd name="T108" fmla="*/ 2147483647 w 1050"/>
              <a:gd name="T109" fmla="*/ 2147483647 h 1056"/>
              <a:gd name="T110" fmla="*/ 2147483647 w 1050"/>
              <a:gd name="T111" fmla="*/ 2147483647 h 1056"/>
              <a:gd name="T112" fmla="*/ 2147483647 w 1050"/>
              <a:gd name="T113" fmla="*/ 2147483647 h 1056"/>
              <a:gd name="T114" fmla="*/ 2147483647 w 1050"/>
              <a:gd name="T115" fmla="*/ 2147483647 h 1056"/>
              <a:gd name="T116" fmla="*/ 2147483647 w 1050"/>
              <a:gd name="T117" fmla="*/ 2147483647 h 1056"/>
              <a:gd name="T118" fmla="*/ 2147483647 w 1050"/>
              <a:gd name="T119" fmla="*/ 2147483647 h 1056"/>
              <a:gd name="T120" fmla="*/ 2147483647 w 1050"/>
              <a:gd name="T121" fmla="*/ 2147483647 h 1056"/>
              <a:gd name="T122" fmla="*/ 2147483647 w 1050"/>
              <a:gd name="T123" fmla="*/ 2147483647 h 105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050"/>
              <a:gd name="T187" fmla="*/ 0 h 1056"/>
              <a:gd name="T188" fmla="*/ 1050 w 1050"/>
              <a:gd name="T189" fmla="*/ 1056 h 105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050" h="1056">
                <a:moveTo>
                  <a:pt x="1008" y="120"/>
                </a:moveTo>
                <a:lnTo>
                  <a:pt x="996" y="120"/>
                </a:lnTo>
                <a:lnTo>
                  <a:pt x="984" y="114"/>
                </a:lnTo>
                <a:lnTo>
                  <a:pt x="978" y="102"/>
                </a:lnTo>
                <a:lnTo>
                  <a:pt x="972" y="96"/>
                </a:lnTo>
                <a:lnTo>
                  <a:pt x="972" y="90"/>
                </a:lnTo>
                <a:lnTo>
                  <a:pt x="960" y="96"/>
                </a:lnTo>
                <a:lnTo>
                  <a:pt x="924" y="84"/>
                </a:lnTo>
                <a:lnTo>
                  <a:pt x="924" y="60"/>
                </a:lnTo>
                <a:lnTo>
                  <a:pt x="912" y="36"/>
                </a:lnTo>
                <a:lnTo>
                  <a:pt x="900" y="24"/>
                </a:lnTo>
                <a:lnTo>
                  <a:pt x="888" y="18"/>
                </a:lnTo>
                <a:lnTo>
                  <a:pt x="876" y="18"/>
                </a:lnTo>
                <a:lnTo>
                  <a:pt x="870" y="6"/>
                </a:lnTo>
                <a:lnTo>
                  <a:pt x="822" y="6"/>
                </a:lnTo>
                <a:lnTo>
                  <a:pt x="810" y="0"/>
                </a:lnTo>
                <a:lnTo>
                  <a:pt x="804" y="6"/>
                </a:lnTo>
                <a:lnTo>
                  <a:pt x="792" y="6"/>
                </a:lnTo>
                <a:lnTo>
                  <a:pt x="786" y="12"/>
                </a:lnTo>
                <a:lnTo>
                  <a:pt x="774" y="12"/>
                </a:lnTo>
                <a:lnTo>
                  <a:pt x="762" y="6"/>
                </a:lnTo>
                <a:lnTo>
                  <a:pt x="738" y="6"/>
                </a:lnTo>
                <a:lnTo>
                  <a:pt x="732" y="12"/>
                </a:lnTo>
                <a:lnTo>
                  <a:pt x="690" y="12"/>
                </a:lnTo>
                <a:lnTo>
                  <a:pt x="684" y="18"/>
                </a:lnTo>
                <a:lnTo>
                  <a:pt x="678" y="18"/>
                </a:lnTo>
                <a:lnTo>
                  <a:pt x="654" y="30"/>
                </a:lnTo>
                <a:lnTo>
                  <a:pt x="648" y="36"/>
                </a:lnTo>
                <a:lnTo>
                  <a:pt x="624" y="48"/>
                </a:lnTo>
                <a:lnTo>
                  <a:pt x="618" y="54"/>
                </a:lnTo>
                <a:lnTo>
                  <a:pt x="612" y="66"/>
                </a:lnTo>
                <a:lnTo>
                  <a:pt x="606" y="72"/>
                </a:lnTo>
                <a:lnTo>
                  <a:pt x="606" y="78"/>
                </a:lnTo>
                <a:lnTo>
                  <a:pt x="636" y="108"/>
                </a:lnTo>
                <a:lnTo>
                  <a:pt x="636" y="138"/>
                </a:lnTo>
                <a:lnTo>
                  <a:pt x="642" y="144"/>
                </a:lnTo>
                <a:lnTo>
                  <a:pt x="648" y="156"/>
                </a:lnTo>
                <a:lnTo>
                  <a:pt x="648" y="162"/>
                </a:lnTo>
                <a:lnTo>
                  <a:pt x="624" y="186"/>
                </a:lnTo>
                <a:lnTo>
                  <a:pt x="618" y="198"/>
                </a:lnTo>
                <a:lnTo>
                  <a:pt x="618" y="210"/>
                </a:lnTo>
                <a:lnTo>
                  <a:pt x="624" y="216"/>
                </a:lnTo>
                <a:lnTo>
                  <a:pt x="624" y="246"/>
                </a:lnTo>
                <a:lnTo>
                  <a:pt x="606" y="246"/>
                </a:lnTo>
                <a:lnTo>
                  <a:pt x="600" y="252"/>
                </a:lnTo>
                <a:lnTo>
                  <a:pt x="594" y="252"/>
                </a:lnTo>
                <a:lnTo>
                  <a:pt x="576" y="246"/>
                </a:lnTo>
                <a:lnTo>
                  <a:pt x="570" y="240"/>
                </a:lnTo>
                <a:lnTo>
                  <a:pt x="552" y="240"/>
                </a:lnTo>
                <a:lnTo>
                  <a:pt x="552" y="252"/>
                </a:lnTo>
                <a:lnTo>
                  <a:pt x="564" y="264"/>
                </a:lnTo>
                <a:lnTo>
                  <a:pt x="576" y="270"/>
                </a:lnTo>
                <a:lnTo>
                  <a:pt x="576" y="276"/>
                </a:lnTo>
                <a:lnTo>
                  <a:pt x="582" y="282"/>
                </a:lnTo>
                <a:lnTo>
                  <a:pt x="582" y="288"/>
                </a:lnTo>
                <a:lnTo>
                  <a:pt x="594" y="294"/>
                </a:lnTo>
                <a:lnTo>
                  <a:pt x="600" y="294"/>
                </a:lnTo>
                <a:lnTo>
                  <a:pt x="570" y="312"/>
                </a:lnTo>
                <a:lnTo>
                  <a:pt x="552" y="312"/>
                </a:lnTo>
                <a:lnTo>
                  <a:pt x="546" y="318"/>
                </a:lnTo>
                <a:lnTo>
                  <a:pt x="546" y="354"/>
                </a:lnTo>
                <a:lnTo>
                  <a:pt x="540" y="354"/>
                </a:lnTo>
                <a:lnTo>
                  <a:pt x="534" y="360"/>
                </a:lnTo>
                <a:lnTo>
                  <a:pt x="534" y="378"/>
                </a:lnTo>
                <a:lnTo>
                  <a:pt x="540" y="390"/>
                </a:lnTo>
                <a:lnTo>
                  <a:pt x="540" y="402"/>
                </a:lnTo>
                <a:lnTo>
                  <a:pt x="546" y="408"/>
                </a:lnTo>
                <a:lnTo>
                  <a:pt x="546" y="414"/>
                </a:lnTo>
                <a:lnTo>
                  <a:pt x="540" y="420"/>
                </a:lnTo>
                <a:lnTo>
                  <a:pt x="534" y="432"/>
                </a:lnTo>
                <a:lnTo>
                  <a:pt x="522" y="438"/>
                </a:lnTo>
                <a:lnTo>
                  <a:pt x="510" y="438"/>
                </a:lnTo>
                <a:lnTo>
                  <a:pt x="504" y="432"/>
                </a:lnTo>
                <a:lnTo>
                  <a:pt x="504" y="420"/>
                </a:lnTo>
                <a:lnTo>
                  <a:pt x="474" y="420"/>
                </a:lnTo>
                <a:lnTo>
                  <a:pt x="462" y="426"/>
                </a:lnTo>
                <a:lnTo>
                  <a:pt x="456" y="432"/>
                </a:lnTo>
                <a:lnTo>
                  <a:pt x="444" y="438"/>
                </a:lnTo>
                <a:lnTo>
                  <a:pt x="438" y="438"/>
                </a:lnTo>
                <a:lnTo>
                  <a:pt x="432" y="444"/>
                </a:lnTo>
                <a:lnTo>
                  <a:pt x="432" y="450"/>
                </a:lnTo>
                <a:lnTo>
                  <a:pt x="438" y="450"/>
                </a:lnTo>
                <a:lnTo>
                  <a:pt x="444" y="456"/>
                </a:lnTo>
                <a:lnTo>
                  <a:pt x="444" y="462"/>
                </a:lnTo>
                <a:lnTo>
                  <a:pt x="438" y="468"/>
                </a:lnTo>
                <a:lnTo>
                  <a:pt x="396" y="468"/>
                </a:lnTo>
                <a:lnTo>
                  <a:pt x="396" y="456"/>
                </a:lnTo>
                <a:lnTo>
                  <a:pt x="378" y="456"/>
                </a:lnTo>
                <a:lnTo>
                  <a:pt x="372" y="468"/>
                </a:lnTo>
                <a:lnTo>
                  <a:pt x="360" y="474"/>
                </a:lnTo>
                <a:lnTo>
                  <a:pt x="354" y="486"/>
                </a:lnTo>
                <a:lnTo>
                  <a:pt x="354" y="504"/>
                </a:lnTo>
                <a:lnTo>
                  <a:pt x="360" y="516"/>
                </a:lnTo>
                <a:lnTo>
                  <a:pt x="360" y="534"/>
                </a:lnTo>
                <a:lnTo>
                  <a:pt x="366" y="540"/>
                </a:lnTo>
                <a:lnTo>
                  <a:pt x="366" y="570"/>
                </a:lnTo>
                <a:lnTo>
                  <a:pt x="360" y="576"/>
                </a:lnTo>
                <a:lnTo>
                  <a:pt x="354" y="576"/>
                </a:lnTo>
                <a:lnTo>
                  <a:pt x="306" y="600"/>
                </a:lnTo>
                <a:lnTo>
                  <a:pt x="276" y="600"/>
                </a:lnTo>
                <a:lnTo>
                  <a:pt x="258" y="606"/>
                </a:lnTo>
                <a:lnTo>
                  <a:pt x="234" y="606"/>
                </a:lnTo>
                <a:lnTo>
                  <a:pt x="228" y="612"/>
                </a:lnTo>
                <a:lnTo>
                  <a:pt x="204" y="612"/>
                </a:lnTo>
                <a:lnTo>
                  <a:pt x="204" y="606"/>
                </a:lnTo>
                <a:lnTo>
                  <a:pt x="150" y="606"/>
                </a:lnTo>
                <a:lnTo>
                  <a:pt x="144" y="612"/>
                </a:lnTo>
                <a:lnTo>
                  <a:pt x="138" y="612"/>
                </a:lnTo>
                <a:lnTo>
                  <a:pt x="120" y="618"/>
                </a:lnTo>
                <a:lnTo>
                  <a:pt x="102" y="618"/>
                </a:lnTo>
                <a:lnTo>
                  <a:pt x="78" y="606"/>
                </a:lnTo>
                <a:lnTo>
                  <a:pt x="60" y="600"/>
                </a:lnTo>
                <a:lnTo>
                  <a:pt x="42" y="588"/>
                </a:lnTo>
                <a:lnTo>
                  <a:pt x="30" y="582"/>
                </a:lnTo>
                <a:lnTo>
                  <a:pt x="0" y="582"/>
                </a:lnTo>
                <a:lnTo>
                  <a:pt x="24" y="606"/>
                </a:lnTo>
                <a:lnTo>
                  <a:pt x="30" y="618"/>
                </a:lnTo>
                <a:lnTo>
                  <a:pt x="36" y="624"/>
                </a:lnTo>
                <a:lnTo>
                  <a:pt x="48" y="642"/>
                </a:lnTo>
                <a:lnTo>
                  <a:pt x="60" y="654"/>
                </a:lnTo>
                <a:lnTo>
                  <a:pt x="66" y="672"/>
                </a:lnTo>
                <a:lnTo>
                  <a:pt x="78" y="690"/>
                </a:lnTo>
                <a:lnTo>
                  <a:pt x="84" y="696"/>
                </a:lnTo>
                <a:lnTo>
                  <a:pt x="102" y="696"/>
                </a:lnTo>
                <a:lnTo>
                  <a:pt x="114" y="690"/>
                </a:lnTo>
                <a:lnTo>
                  <a:pt x="126" y="708"/>
                </a:lnTo>
                <a:lnTo>
                  <a:pt x="150" y="708"/>
                </a:lnTo>
                <a:lnTo>
                  <a:pt x="144" y="738"/>
                </a:lnTo>
                <a:lnTo>
                  <a:pt x="150" y="738"/>
                </a:lnTo>
                <a:lnTo>
                  <a:pt x="150" y="762"/>
                </a:lnTo>
                <a:lnTo>
                  <a:pt x="156" y="774"/>
                </a:lnTo>
                <a:lnTo>
                  <a:pt x="156" y="786"/>
                </a:lnTo>
                <a:lnTo>
                  <a:pt x="174" y="786"/>
                </a:lnTo>
                <a:lnTo>
                  <a:pt x="180" y="792"/>
                </a:lnTo>
                <a:lnTo>
                  <a:pt x="186" y="804"/>
                </a:lnTo>
                <a:lnTo>
                  <a:pt x="192" y="822"/>
                </a:lnTo>
                <a:lnTo>
                  <a:pt x="192" y="834"/>
                </a:lnTo>
                <a:lnTo>
                  <a:pt x="186" y="840"/>
                </a:lnTo>
                <a:lnTo>
                  <a:pt x="180" y="840"/>
                </a:lnTo>
                <a:lnTo>
                  <a:pt x="180" y="834"/>
                </a:lnTo>
                <a:lnTo>
                  <a:pt x="150" y="834"/>
                </a:lnTo>
                <a:lnTo>
                  <a:pt x="138" y="840"/>
                </a:lnTo>
                <a:lnTo>
                  <a:pt x="132" y="846"/>
                </a:lnTo>
                <a:lnTo>
                  <a:pt x="132" y="852"/>
                </a:lnTo>
                <a:lnTo>
                  <a:pt x="126" y="852"/>
                </a:lnTo>
                <a:lnTo>
                  <a:pt x="126" y="858"/>
                </a:lnTo>
                <a:lnTo>
                  <a:pt x="120" y="864"/>
                </a:lnTo>
                <a:lnTo>
                  <a:pt x="108" y="864"/>
                </a:lnTo>
                <a:lnTo>
                  <a:pt x="102" y="882"/>
                </a:lnTo>
                <a:lnTo>
                  <a:pt x="96" y="888"/>
                </a:lnTo>
                <a:lnTo>
                  <a:pt x="96" y="894"/>
                </a:lnTo>
                <a:lnTo>
                  <a:pt x="84" y="906"/>
                </a:lnTo>
                <a:lnTo>
                  <a:pt x="84" y="936"/>
                </a:lnTo>
                <a:lnTo>
                  <a:pt x="90" y="948"/>
                </a:lnTo>
                <a:lnTo>
                  <a:pt x="90" y="954"/>
                </a:lnTo>
                <a:lnTo>
                  <a:pt x="96" y="948"/>
                </a:lnTo>
                <a:lnTo>
                  <a:pt x="108" y="948"/>
                </a:lnTo>
                <a:lnTo>
                  <a:pt x="114" y="942"/>
                </a:lnTo>
                <a:lnTo>
                  <a:pt x="120" y="942"/>
                </a:lnTo>
                <a:lnTo>
                  <a:pt x="126" y="948"/>
                </a:lnTo>
                <a:lnTo>
                  <a:pt x="138" y="948"/>
                </a:lnTo>
                <a:lnTo>
                  <a:pt x="150" y="954"/>
                </a:lnTo>
                <a:lnTo>
                  <a:pt x="174" y="954"/>
                </a:lnTo>
                <a:lnTo>
                  <a:pt x="210" y="936"/>
                </a:lnTo>
                <a:lnTo>
                  <a:pt x="216" y="930"/>
                </a:lnTo>
                <a:lnTo>
                  <a:pt x="222" y="930"/>
                </a:lnTo>
                <a:lnTo>
                  <a:pt x="234" y="936"/>
                </a:lnTo>
                <a:lnTo>
                  <a:pt x="276" y="936"/>
                </a:lnTo>
                <a:lnTo>
                  <a:pt x="288" y="930"/>
                </a:lnTo>
                <a:lnTo>
                  <a:pt x="300" y="930"/>
                </a:lnTo>
                <a:lnTo>
                  <a:pt x="306" y="924"/>
                </a:lnTo>
                <a:lnTo>
                  <a:pt x="312" y="924"/>
                </a:lnTo>
                <a:lnTo>
                  <a:pt x="348" y="930"/>
                </a:lnTo>
                <a:lnTo>
                  <a:pt x="354" y="924"/>
                </a:lnTo>
                <a:lnTo>
                  <a:pt x="366" y="918"/>
                </a:lnTo>
                <a:lnTo>
                  <a:pt x="372" y="912"/>
                </a:lnTo>
                <a:lnTo>
                  <a:pt x="384" y="912"/>
                </a:lnTo>
                <a:lnTo>
                  <a:pt x="396" y="918"/>
                </a:lnTo>
                <a:lnTo>
                  <a:pt x="408" y="930"/>
                </a:lnTo>
                <a:lnTo>
                  <a:pt x="432" y="978"/>
                </a:lnTo>
                <a:lnTo>
                  <a:pt x="444" y="984"/>
                </a:lnTo>
                <a:lnTo>
                  <a:pt x="450" y="990"/>
                </a:lnTo>
                <a:lnTo>
                  <a:pt x="468" y="996"/>
                </a:lnTo>
                <a:lnTo>
                  <a:pt x="486" y="996"/>
                </a:lnTo>
                <a:lnTo>
                  <a:pt x="522" y="1008"/>
                </a:lnTo>
                <a:lnTo>
                  <a:pt x="540" y="1044"/>
                </a:lnTo>
                <a:lnTo>
                  <a:pt x="552" y="1056"/>
                </a:lnTo>
                <a:lnTo>
                  <a:pt x="570" y="1056"/>
                </a:lnTo>
                <a:lnTo>
                  <a:pt x="588" y="1050"/>
                </a:lnTo>
                <a:lnTo>
                  <a:pt x="582" y="1044"/>
                </a:lnTo>
                <a:lnTo>
                  <a:pt x="582" y="1032"/>
                </a:lnTo>
                <a:lnTo>
                  <a:pt x="594" y="1020"/>
                </a:lnTo>
                <a:lnTo>
                  <a:pt x="606" y="1020"/>
                </a:lnTo>
                <a:lnTo>
                  <a:pt x="618" y="1026"/>
                </a:lnTo>
                <a:lnTo>
                  <a:pt x="624" y="1032"/>
                </a:lnTo>
                <a:lnTo>
                  <a:pt x="648" y="1020"/>
                </a:lnTo>
                <a:lnTo>
                  <a:pt x="648" y="1026"/>
                </a:lnTo>
                <a:lnTo>
                  <a:pt x="654" y="1032"/>
                </a:lnTo>
                <a:lnTo>
                  <a:pt x="678" y="1032"/>
                </a:lnTo>
                <a:lnTo>
                  <a:pt x="690" y="1020"/>
                </a:lnTo>
                <a:lnTo>
                  <a:pt x="702" y="1014"/>
                </a:lnTo>
                <a:lnTo>
                  <a:pt x="708" y="1014"/>
                </a:lnTo>
                <a:lnTo>
                  <a:pt x="708" y="1026"/>
                </a:lnTo>
                <a:lnTo>
                  <a:pt x="714" y="1032"/>
                </a:lnTo>
                <a:lnTo>
                  <a:pt x="732" y="1032"/>
                </a:lnTo>
                <a:lnTo>
                  <a:pt x="738" y="1026"/>
                </a:lnTo>
                <a:lnTo>
                  <a:pt x="750" y="1020"/>
                </a:lnTo>
                <a:lnTo>
                  <a:pt x="750" y="996"/>
                </a:lnTo>
                <a:lnTo>
                  <a:pt x="744" y="990"/>
                </a:lnTo>
                <a:lnTo>
                  <a:pt x="738" y="978"/>
                </a:lnTo>
                <a:lnTo>
                  <a:pt x="714" y="936"/>
                </a:lnTo>
                <a:lnTo>
                  <a:pt x="714" y="912"/>
                </a:lnTo>
                <a:lnTo>
                  <a:pt x="690" y="912"/>
                </a:lnTo>
                <a:lnTo>
                  <a:pt x="678" y="900"/>
                </a:lnTo>
                <a:lnTo>
                  <a:pt x="672" y="888"/>
                </a:lnTo>
                <a:lnTo>
                  <a:pt x="666" y="882"/>
                </a:lnTo>
                <a:lnTo>
                  <a:pt x="672" y="852"/>
                </a:lnTo>
                <a:lnTo>
                  <a:pt x="672" y="834"/>
                </a:lnTo>
                <a:lnTo>
                  <a:pt x="642" y="840"/>
                </a:lnTo>
                <a:lnTo>
                  <a:pt x="636" y="840"/>
                </a:lnTo>
                <a:lnTo>
                  <a:pt x="624" y="834"/>
                </a:lnTo>
                <a:lnTo>
                  <a:pt x="618" y="828"/>
                </a:lnTo>
                <a:lnTo>
                  <a:pt x="618" y="804"/>
                </a:lnTo>
                <a:lnTo>
                  <a:pt x="624" y="792"/>
                </a:lnTo>
                <a:lnTo>
                  <a:pt x="636" y="780"/>
                </a:lnTo>
                <a:lnTo>
                  <a:pt x="642" y="768"/>
                </a:lnTo>
                <a:lnTo>
                  <a:pt x="648" y="762"/>
                </a:lnTo>
                <a:lnTo>
                  <a:pt x="654" y="750"/>
                </a:lnTo>
                <a:lnTo>
                  <a:pt x="654" y="744"/>
                </a:lnTo>
                <a:lnTo>
                  <a:pt x="666" y="732"/>
                </a:lnTo>
                <a:lnTo>
                  <a:pt x="678" y="726"/>
                </a:lnTo>
                <a:lnTo>
                  <a:pt x="684" y="726"/>
                </a:lnTo>
                <a:lnTo>
                  <a:pt x="690" y="732"/>
                </a:lnTo>
                <a:lnTo>
                  <a:pt x="690" y="744"/>
                </a:lnTo>
                <a:lnTo>
                  <a:pt x="696" y="750"/>
                </a:lnTo>
                <a:lnTo>
                  <a:pt x="702" y="750"/>
                </a:lnTo>
                <a:lnTo>
                  <a:pt x="726" y="738"/>
                </a:lnTo>
                <a:lnTo>
                  <a:pt x="732" y="732"/>
                </a:lnTo>
                <a:lnTo>
                  <a:pt x="738" y="738"/>
                </a:lnTo>
                <a:lnTo>
                  <a:pt x="756" y="738"/>
                </a:lnTo>
                <a:lnTo>
                  <a:pt x="762" y="732"/>
                </a:lnTo>
                <a:lnTo>
                  <a:pt x="768" y="720"/>
                </a:lnTo>
                <a:lnTo>
                  <a:pt x="774" y="714"/>
                </a:lnTo>
                <a:lnTo>
                  <a:pt x="774" y="708"/>
                </a:lnTo>
                <a:lnTo>
                  <a:pt x="792" y="696"/>
                </a:lnTo>
                <a:lnTo>
                  <a:pt x="792" y="678"/>
                </a:lnTo>
                <a:lnTo>
                  <a:pt x="798" y="672"/>
                </a:lnTo>
                <a:lnTo>
                  <a:pt x="798" y="666"/>
                </a:lnTo>
                <a:lnTo>
                  <a:pt x="804" y="660"/>
                </a:lnTo>
                <a:lnTo>
                  <a:pt x="828" y="648"/>
                </a:lnTo>
                <a:lnTo>
                  <a:pt x="840" y="636"/>
                </a:lnTo>
                <a:lnTo>
                  <a:pt x="846" y="618"/>
                </a:lnTo>
                <a:lnTo>
                  <a:pt x="846" y="606"/>
                </a:lnTo>
                <a:lnTo>
                  <a:pt x="852" y="588"/>
                </a:lnTo>
                <a:lnTo>
                  <a:pt x="852" y="576"/>
                </a:lnTo>
                <a:lnTo>
                  <a:pt x="858" y="570"/>
                </a:lnTo>
                <a:lnTo>
                  <a:pt x="870" y="564"/>
                </a:lnTo>
                <a:lnTo>
                  <a:pt x="876" y="558"/>
                </a:lnTo>
                <a:lnTo>
                  <a:pt x="888" y="558"/>
                </a:lnTo>
                <a:lnTo>
                  <a:pt x="870" y="534"/>
                </a:lnTo>
                <a:lnTo>
                  <a:pt x="894" y="498"/>
                </a:lnTo>
                <a:lnTo>
                  <a:pt x="924" y="480"/>
                </a:lnTo>
                <a:lnTo>
                  <a:pt x="924" y="474"/>
                </a:lnTo>
                <a:lnTo>
                  <a:pt x="912" y="462"/>
                </a:lnTo>
                <a:lnTo>
                  <a:pt x="906" y="450"/>
                </a:lnTo>
                <a:lnTo>
                  <a:pt x="906" y="414"/>
                </a:lnTo>
                <a:lnTo>
                  <a:pt x="912" y="408"/>
                </a:lnTo>
                <a:lnTo>
                  <a:pt x="924" y="408"/>
                </a:lnTo>
                <a:lnTo>
                  <a:pt x="948" y="396"/>
                </a:lnTo>
                <a:lnTo>
                  <a:pt x="954" y="390"/>
                </a:lnTo>
                <a:lnTo>
                  <a:pt x="954" y="384"/>
                </a:lnTo>
                <a:lnTo>
                  <a:pt x="948" y="378"/>
                </a:lnTo>
                <a:lnTo>
                  <a:pt x="936" y="372"/>
                </a:lnTo>
                <a:lnTo>
                  <a:pt x="900" y="372"/>
                </a:lnTo>
                <a:lnTo>
                  <a:pt x="894" y="336"/>
                </a:lnTo>
                <a:lnTo>
                  <a:pt x="876" y="336"/>
                </a:lnTo>
                <a:lnTo>
                  <a:pt x="864" y="318"/>
                </a:lnTo>
                <a:lnTo>
                  <a:pt x="846" y="318"/>
                </a:lnTo>
                <a:lnTo>
                  <a:pt x="846" y="306"/>
                </a:lnTo>
                <a:lnTo>
                  <a:pt x="852" y="294"/>
                </a:lnTo>
                <a:lnTo>
                  <a:pt x="852" y="288"/>
                </a:lnTo>
                <a:lnTo>
                  <a:pt x="846" y="288"/>
                </a:lnTo>
                <a:lnTo>
                  <a:pt x="834" y="276"/>
                </a:lnTo>
                <a:lnTo>
                  <a:pt x="834" y="270"/>
                </a:lnTo>
                <a:lnTo>
                  <a:pt x="840" y="264"/>
                </a:lnTo>
                <a:lnTo>
                  <a:pt x="846" y="252"/>
                </a:lnTo>
                <a:lnTo>
                  <a:pt x="852" y="246"/>
                </a:lnTo>
                <a:lnTo>
                  <a:pt x="822" y="240"/>
                </a:lnTo>
                <a:lnTo>
                  <a:pt x="828" y="228"/>
                </a:lnTo>
                <a:lnTo>
                  <a:pt x="804" y="210"/>
                </a:lnTo>
                <a:lnTo>
                  <a:pt x="804" y="204"/>
                </a:lnTo>
                <a:lnTo>
                  <a:pt x="810" y="192"/>
                </a:lnTo>
                <a:lnTo>
                  <a:pt x="834" y="180"/>
                </a:lnTo>
                <a:lnTo>
                  <a:pt x="876" y="180"/>
                </a:lnTo>
                <a:lnTo>
                  <a:pt x="894" y="186"/>
                </a:lnTo>
                <a:lnTo>
                  <a:pt x="912" y="186"/>
                </a:lnTo>
                <a:lnTo>
                  <a:pt x="918" y="192"/>
                </a:lnTo>
                <a:lnTo>
                  <a:pt x="918" y="204"/>
                </a:lnTo>
                <a:lnTo>
                  <a:pt x="930" y="204"/>
                </a:lnTo>
                <a:lnTo>
                  <a:pt x="942" y="198"/>
                </a:lnTo>
                <a:lnTo>
                  <a:pt x="948" y="192"/>
                </a:lnTo>
                <a:lnTo>
                  <a:pt x="960" y="186"/>
                </a:lnTo>
                <a:lnTo>
                  <a:pt x="966" y="180"/>
                </a:lnTo>
                <a:lnTo>
                  <a:pt x="972" y="186"/>
                </a:lnTo>
                <a:lnTo>
                  <a:pt x="978" y="180"/>
                </a:lnTo>
                <a:lnTo>
                  <a:pt x="1002" y="180"/>
                </a:lnTo>
                <a:lnTo>
                  <a:pt x="1002" y="162"/>
                </a:lnTo>
                <a:lnTo>
                  <a:pt x="1026" y="156"/>
                </a:lnTo>
                <a:lnTo>
                  <a:pt x="1050" y="120"/>
                </a:lnTo>
                <a:lnTo>
                  <a:pt x="1008" y="12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9" name="Parcel Islands"/>
          <p:cNvSpPr>
            <a:spLocks noEditPoints="1"/>
          </p:cNvSpPr>
          <p:nvPr/>
        </p:nvSpPr>
        <p:spPr bwMode="gray">
          <a:xfrm>
            <a:off x="7170008" y="3699543"/>
            <a:ext cx="38100" cy="25400"/>
          </a:xfrm>
          <a:custGeom>
            <a:avLst/>
            <a:gdLst>
              <a:gd name="T0" fmla="*/ 2147483647 w 96"/>
              <a:gd name="T1" fmla="*/ 2147483647 h 66"/>
              <a:gd name="T2" fmla="*/ 2147483647 w 96"/>
              <a:gd name="T3" fmla="*/ 2147483647 h 66"/>
              <a:gd name="T4" fmla="*/ 0 w 96"/>
              <a:gd name="T5" fmla="*/ 2147483647 h 66"/>
              <a:gd name="T6" fmla="*/ 0 w 96"/>
              <a:gd name="T7" fmla="*/ 2147483647 h 66"/>
              <a:gd name="T8" fmla="*/ 2147483647 w 96"/>
              <a:gd name="T9" fmla="*/ 2147483647 h 66"/>
              <a:gd name="T10" fmla="*/ 2147483647 w 96"/>
              <a:gd name="T11" fmla="*/ 2147483647 h 66"/>
              <a:gd name="T12" fmla="*/ 2147483647 w 96"/>
              <a:gd name="T13" fmla="*/ 2147483647 h 66"/>
              <a:gd name="T14" fmla="*/ 2147483647 w 96"/>
              <a:gd name="T15" fmla="*/ 2147483647 h 66"/>
              <a:gd name="T16" fmla="*/ 2147483647 w 96"/>
              <a:gd name="T17" fmla="*/ 2147483647 h 66"/>
              <a:gd name="T18" fmla="*/ 2147483647 w 96"/>
              <a:gd name="T19" fmla="*/ 0 h 66"/>
              <a:gd name="T20" fmla="*/ 2147483647 w 96"/>
              <a:gd name="T21" fmla="*/ 2147483647 h 66"/>
              <a:gd name="T22" fmla="*/ 2147483647 w 96"/>
              <a:gd name="T23" fmla="*/ 2147483647 h 66"/>
              <a:gd name="T24" fmla="*/ 2147483647 w 96"/>
              <a:gd name="T25" fmla="*/ 2147483647 h 66"/>
              <a:gd name="T26" fmla="*/ 2147483647 w 96"/>
              <a:gd name="T27" fmla="*/ 2147483647 h 66"/>
              <a:gd name="T28" fmla="*/ 2147483647 w 96"/>
              <a:gd name="T29" fmla="*/ 0 h 66"/>
              <a:gd name="T30" fmla="*/ 2147483647 w 96"/>
              <a:gd name="T31" fmla="*/ 0 h 66"/>
              <a:gd name="T32" fmla="*/ 2147483647 w 96"/>
              <a:gd name="T33" fmla="*/ 2147483647 h 66"/>
              <a:gd name="T34" fmla="*/ 2147483647 w 96"/>
              <a:gd name="T35" fmla="*/ 2147483647 h 66"/>
              <a:gd name="T36" fmla="*/ 2147483647 w 96"/>
              <a:gd name="T37" fmla="*/ 2147483647 h 66"/>
              <a:gd name="T38" fmla="*/ 2147483647 w 96"/>
              <a:gd name="T39" fmla="*/ 2147483647 h 66"/>
              <a:gd name="T40" fmla="*/ 2147483647 w 96"/>
              <a:gd name="T41" fmla="*/ 2147483647 h 66"/>
              <a:gd name="T42" fmla="*/ 2147483647 w 96"/>
              <a:gd name="T43" fmla="*/ 2147483647 h 66"/>
              <a:gd name="T44" fmla="*/ 2147483647 w 96"/>
              <a:gd name="T45" fmla="*/ 2147483647 h 6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96"/>
              <a:gd name="T70" fmla="*/ 0 h 66"/>
              <a:gd name="T71" fmla="*/ 96 w 96"/>
              <a:gd name="T72" fmla="*/ 66 h 6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96" h="66">
                <a:moveTo>
                  <a:pt x="12" y="42"/>
                </a:moveTo>
                <a:lnTo>
                  <a:pt x="6" y="42"/>
                </a:lnTo>
                <a:lnTo>
                  <a:pt x="0" y="48"/>
                </a:lnTo>
                <a:lnTo>
                  <a:pt x="0" y="60"/>
                </a:lnTo>
                <a:lnTo>
                  <a:pt x="6" y="66"/>
                </a:lnTo>
                <a:lnTo>
                  <a:pt x="12" y="66"/>
                </a:lnTo>
                <a:lnTo>
                  <a:pt x="24" y="54"/>
                </a:lnTo>
                <a:lnTo>
                  <a:pt x="24" y="42"/>
                </a:lnTo>
                <a:lnTo>
                  <a:pt x="12" y="42"/>
                </a:lnTo>
                <a:close/>
                <a:moveTo>
                  <a:pt x="42" y="0"/>
                </a:moveTo>
                <a:lnTo>
                  <a:pt x="42" y="18"/>
                </a:lnTo>
                <a:lnTo>
                  <a:pt x="54" y="30"/>
                </a:lnTo>
                <a:lnTo>
                  <a:pt x="60" y="30"/>
                </a:lnTo>
                <a:lnTo>
                  <a:pt x="72" y="24"/>
                </a:lnTo>
                <a:lnTo>
                  <a:pt x="48" y="0"/>
                </a:lnTo>
                <a:lnTo>
                  <a:pt x="42" y="0"/>
                </a:lnTo>
                <a:close/>
                <a:moveTo>
                  <a:pt x="96" y="36"/>
                </a:moveTo>
                <a:lnTo>
                  <a:pt x="78" y="36"/>
                </a:lnTo>
                <a:lnTo>
                  <a:pt x="72" y="42"/>
                </a:lnTo>
                <a:lnTo>
                  <a:pt x="72" y="54"/>
                </a:lnTo>
                <a:lnTo>
                  <a:pt x="84" y="60"/>
                </a:lnTo>
                <a:lnTo>
                  <a:pt x="96" y="48"/>
                </a:lnTo>
                <a:lnTo>
                  <a:pt x="96" y="36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0" name="Oman"/>
          <p:cNvSpPr>
            <a:spLocks/>
          </p:cNvSpPr>
          <p:nvPr/>
        </p:nvSpPr>
        <p:spPr bwMode="gray">
          <a:xfrm>
            <a:off x="5488846" y="3447130"/>
            <a:ext cx="217487" cy="271463"/>
          </a:xfrm>
          <a:custGeom>
            <a:avLst/>
            <a:gdLst>
              <a:gd name="T0" fmla="*/ 2147483647 w 540"/>
              <a:gd name="T1" fmla="*/ 2147483647 h 672"/>
              <a:gd name="T2" fmla="*/ 2147483647 w 540"/>
              <a:gd name="T3" fmla="*/ 2147483647 h 672"/>
              <a:gd name="T4" fmla="*/ 2147483647 w 540"/>
              <a:gd name="T5" fmla="*/ 2147483647 h 672"/>
              <a:gd name="T6" fmla="*/ 2147483647 w 540"/>
              <a:gd name="T7" fmla="*/ 2147483647 h 672"/>
              <a:gd name="T8" fmla="*/ 2147483647 w 540"/>
              <a:gd name="T9" fmla="*/ 2147483647 h 672"/>
              <a:gd name="T10" fmla="*/ 2147483647 w 540"/>
              <a:gd name="T11" fmla="*/ 2147483647 h 672"/>
              <a:gd name="T12" fmla="*/ 2147483647 w 540"/>
              <a:gd name="T13" fmla="*/ 2147483647 h 672"/>
              <a:gd name="T14" fmla="*/ 2147483647 w 540"/>
              <a:gd name="T15" fmla="*/ 2147483647 h 672"/>
              <a:gd name="T16" fmla="*/ 2147483647 w 540"/>
              <a:gd name="T17" fmla="*/ 2147483647 h 672"/>
              <a:gd name="T18" fmla="*/ 2147483647 w 540"/>
              <a:gd name="T19" fmla="*/ 2147483647 h 672"/>
              <a:gd name="T20" fmla="*/ 2147483647 w 540"/>
              <a:gd name="T21" fmla="*/ 2147483647 h 672"/>
              <a:gd name="T22" fmla="*/ 2147483647 w 540"/>
              <a:gd name="T23" fmla="*/ 2147483647 h 672"/>
              <a:gd name="T24" fmla="*/ 2147483647 w 540"/>
              <a:gd name="T25" fmla="*/ 2147483647 h 672"/>
              <a:gd name="T26" fmla="*/ 2147483647 w 540"/>
              <a:gd name="T27" fmla="*/ 2147483647 h 672"/>
              <a:gd name="T28" fmla="*/ 2147483647 w 540"/>
              <a:gd name="T29" fmla="*/ 2147483647 h 672"/>
              <a:gd name="T30" fmla="*/ 2147483647 w 540"/>
              <a:gd name="T31" fmla="*/ 2147483647 h 672"/>
              <a:gd name="T32" fmla="*/ 2147483647 w 540"/>
              <a:gd name="T33" fmla="*/ 2147483647 h 672"/>
              <a:gd name="T34" fmla="*/ 2147483647 w 540"/>
              <a:gd name="T35" fmla="*/ 2147483647 h 672"/>
              <a:gd name="T36" fmla="*/ 2147483647 w 540"/>
              <a:gd name="T37" fmla="*/ 2147483647 h 672"/>
              <a:gd name="T38" fmla="*/ 2147483647 w 540"/>
              <a:gd name="T39" fmla="*/ 2147483647 h 672"/>
              <a:gd name="T40" fmla="*/ 2147483647 w 540"/>
              <a:gd name="T41" fmla="*/ 2147483647 h 672"/>
              <a:gd name="T42" fmla="*/ 2147483647 w 540"/>
              <a:gd name="T43" fmla="*/ 2147483647 h 672"/>
              <a:gd name="T44" fmla="*/ 2147483647 w 540"/>
              <a:gd name="T45" fmla="*/ 2147483647 h 672"/>
              <a:gd name="T46" fmla="*/ 2147483647 w 540"/>
              <a:gd name="T47" fmla="*/ 2147483647 h 672"/>
              <a:gd name="T48" fmla="*/ 2147483647 w 540"/>
              <a:gd name="T49" fmla="*/ 2147483647 h 672"/>
              <a:gd name="T50" fmla="*/ 2147483647 w 540"/>
              <a:gd name="T51" fmla="*/ 0 h 672"/>
              <a:gd name="T52" fmla="*/ 2147483647 w 540"/>
              <a:gd name="T53" fmla="*/ 2147483647 h 672"/>
              <a:gd name="T54" fmla="*/ 2147483647 w 540"/>
              <a:gd name="T55" fmla="*/ 2147483647 h 672"/>
              <a:gd name="T56" fmla="*/ 2147483647 w 540"/>
              <a:gd name="T57" fmla="*/ 2147483647 h 672"/>
              <a:gd name="T58" fmla="*/ 2147483647 w 540"/>
              <a:gd name="T59" fmla="*/ 2147483647 h 672"/>
              <a:gd name="T60" fmla="*/ 2147483647 w 540"/>
              <a:gd name="T61" fmla="*/ 2147483647 h 672"/>
              <a:gd name="T62" fmla="*/ 2147483647 w 540"/>
              <a:gd name="T63" fmla="*/ 2147483647 h 672"/>
              <a:gd name="T64" fmla="*/ 2147483647 w 540"/>
              <a:gd name="T65" fmla="*/ 2147483647 h 672"/>
              <a:gd name="T66" fmla="*/ 2147483647 w 540"/>
              <a:gd name="T67" fmla="*/ 2147483647 h 672"/>
              <a:gd name="T68" fmla="*/ 2147483647 w 540"/>
              <a:gd name="T69" fmla="*/ 2147483647 h 672"/>
              <a:gd name="T70" fmla="*/ 2147483647 w 540"/>
              <a:gd name="T71" fmla="*/ 2147483647 h 672"/>
              <a:gd name="T72" fmla="*/ 2147483647 w 540"/>
              <a:gd name="T73" fmla="*/ 2147483647 h 672"/>
              <a:gd name="T74" fmla="*/ 2147483647 w 540"/>
              <a:gd name="T75" fmla="*/ 2147483647 h 672"/>
              <a:gd name="T76" fmla="*/ 2147483647 w 540"/>
              <a:gd name="T77" fmla="*/ 2147483647 h 672"/>
              <a:gd name="T78" fmla="*/ 2147483647 w 540"/>
              <a:gd name="T79" fmla="*/ 2147483647 h 672"/>
              <a:gd name="T80" fmla="*/ 2147483647 w 540"/>
              <a:gd name="T81" fmla="*/ 2147483647 h 672"/>
              <a:gd name="T82" fmla="*/ 2147483647 w 540"/>
              <a:gd name="T83" fmla="*/ 2147483647 h 672"/>
              <a:gd name="T84" fmla="*/ 2147483647 w 540"/>
              <a:gd name="T85" fmla="*/ 2147483647 h 672"/>
              <a:gd name="T86" fmla="*/ 2147483647 w 540"/>
              <a:gd name="T87" fmla="*/ 2147483647 h 67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40"/>
              <a:gd name="T133" fmla="*/ 0 h 672"/>
              <a:gd name="T134" fmla="*/ 540 w 540"/>
              <a:gd name="T135" fmla="*/ 672 h 67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40" h="672">
                <a:moveTo>
                  <a:pt x="258" y="564"/>
                </a:moveTo>
                <a:lnTo>
                  <a:pt x="276" y="564"/>
                </a:lnTo>
                <a:lnTo>
                  <a:pt x="288" y="558"/>
                </a:lnTo>
                <a:lnTo>
                  <a:pt x="306" y="552"/>
                </a:lnTo>
                <a:lnTo>
                  <a:pt x="330" y="540"/>
                </a:lnTo>
                <a:lnTo>
                  <a:pt x="336" y="528"/>
                </a:lnTo>
                <a:lnTo>
                  <a:pt x="342" y="510"/>
                </a:lnTo>
                <a:lnTo>
                  <a:pt x="342" y="498"/>
                </a:lnTo>
                <a:lnTo>
                  <a:pt x="348" y="498"/>
                </a:lnTo>
                <a:lnTo>
                  <a:pt x="354" y="492"/>
                </a:lnTo>
                <a:lnTo>
                  <a:pt x="366" y="486"/>
                </a:lnTo>
                <a:lnTo>
                  <a:pt x="384" y="480"/>
                </a:lnTo>
                <a:lnTo>
                  <a:pt x="408" y="456"/>
                </a:lnTo>
                <a:lnTo>
                  <a:pt x="414" y="444"/>
                </a:lnTo>
                <a:lnTo>
                  <a:pt x="414" y="426"/>
                </a:lnTo>
                <a:lnTo>
                  <a:pt x="420" y="408"/>
                </a:lnTo>
                <a:lnTo>
                  <a:pt x="420" y="378"/>
                </a:lnTo>
                <a:lnTo>
                  <a:pt x="426" y="372"/>
                </a:lnTo>
                <a:lnTo>
                  <a:pt x="432" y="372"/>
                </a:lnTo>
                <a:lnTo>
                  <a:pt x="444" y="378"/>
                </a:lnTo>
                <a:lnTo>
                  <a:pt x="450" y="384"/>
                </a:lnTo>
                <a:lnTo>
                  <a:pt x="462" y="384"/>
                </a:lnTo>
                <a:lnTo>
                  <a:pt x="468" y="378"/>
                </a:lnTo>
                <a:lnTo>
                  <a:pt x="480" y="354"/>
                </a:lnTo>
                <a:lnTo>
                  <a:pt x="480" y="330"/>
                </a:lnTo>
                <a:lnTo>
                  <a:pt x="534" y="276"/>
                </a:lnTo>
                <a:lnTo>
                  <a:pt x="534" y="264"/>
                </a:lnTo>
                <a:lnTo>
                  <a:pt x="540" y="252"/>
                </a:lnTo>
                <a:lnTo>
                  <a:pt x="540" y="204"/>
                </a:lnTo>
                <a:lnTo>
                  <a:pt x="528" y="192"/>
                </a:lnTo>
                <a:lnTo>
                  <a:pt x="510" y="192"/>
                </a:lnTo>
                <a:lnTo>
                  <a:pt x="510" y="186"/>
                </a:lnTo>
                <a:lnTo>
                  <a:pt x="492" y="168"/>
                </a:lnTo>
                <a:lnTo>
                  <a:pt x="486" y="150"/>
                </a:lnTo>
                <a:lnTo>
                  <a:pt x="462" y="126"/>
                </a:lnTo>
                <a:lnTo>
                  <a:pt x="456" y="114"/>
                </a:lnTo>
                <a:lnTo>
                  <a:pt x="432" y="96"/>
                </a:lnTo>
                <a:lnTo>
                  <a:pt x="396" y="84"/>
                </a:lnTo>
                <a:lnTo>
                  <a:pt x="366" y="78"/>
                </a:lnTo>
                <a:lnTo>
                  <a:pt x="348" y="78"/>
                </a:lnTo>
                <a:lnTo>
                  <a:pt x="342" y="72"/>
                </a:lnTo>
                <a:lnTo>
                  <a:pt x="330" y="72"/>
                </a:lnTo>
                <a:lnTo>
                  <a:pt x="318" y="60"/>
                </a:lnTo>
                <a:lnTo>
                  <a:pt x="294" y="48"/>
                </a:lnTo>
                <a:lnTo>
                  <a:pt x="288" y="36"/>
                </a:lnTo>
                <a:lnTo>
                  <a:pt x="288" y="30"/>
                </a:lnTo>
                <a:lnTo>
                  <a:pt x="282" y="18"/>
                </a:lnTo>
                <a:lnTo>
                  <a:pt x="276" y="12"/>
                </a:lnTo>
                <a:lnTo>
                  <a:pt x="252" y="18"/>
                </a:lnTo>
                <a:lnTo>
                  <a:pt x="246" y="6"/>
                </a:lnTo>
                <a:lnTo>
                  <a:pt x="246" y="0"/>
                </a:lnTo>
                <a:lnTo>
                  <a:pt x="240" y="0"/>
                </a:lnTo>
                <a:lnTo>
                  <a:pt x="234" y="6"/>
                </a:lnTo>
                <a:lnTo>
                  <a:pt x="234" y="12"/>
                </a:lnTo>
                <a:lnTo>
                  <a:pt x="228" y="24"/>
                </a:lnTo>
                <a:lnTo>
                  <a:pt x="228" y="54"/>
                </a:lnTo>
                <a:lnTo>
                  <a:pt x="246" y="72"/>
                </a:lnTo>
                <a:lnTo>
                  <a:pt x="246" y="78"/>
                </a:lnTo>
                <a:lnTo>
                  <a:pt x="240" y="78"/>
                </a:lnTo>
                <a:lnTo>
                  <a:pt x="240" y="72"/>
                </a:lnTo>
                <a:lnTo>
                  <a:pt x="228" y="72"/>
                </a:lnTo>
                <a:lnTo>
                  <a:pt x="228" y="78"/>
                </a:lnTo>
                <a:lnTo>
                  <a:pt x="222" y="84"/>
                </a:lnTo>
                <a:lnTo>
                  <a:pt x="222" y="96"/>
                </a:lnTo>
                <a:lnTo>
                  <a:pt x="216" y="108"/>
                </a:lnTo>
                <a:lnTo>
                  <a:pt x="216" y="120"/>
                </a:lnTo>
                <a:lnTo>
                  <a:pt x="210" y="132"/>
                </a:lnTo>
                <a:lnTo>
                  <a:pt x="204" y="138"/>
                </a:lnTo>
                <a:lnTo>
                  <a:pt x="198" y="150"/>
                </a:lnTo>
                <a:lnTo>
                  <a:pt x="192" y="156"/>
                </a:lnTo>
                <a:lnTo>
                  <a:pt x="192" y="168"/>
                </a:lnTo>
                <a:lnTo>
                  <a:pt x="210" y="204"/>
                </a:lnTo>
                <a:lnTo>
                  <a:pt x="216" y="210"/>
                </a:lnTo>
                <a:lnTo>
                  <a:pt x="216" y="222"/>
                </a:lnTo>
                <a:lnTo>
                  <a:pt x="222" y="228"/>
                </a:lnTo>
                <a:lnTo>
                  <a:pt x="234" y="234"/>
                </a:lnTo>
                <a:lnTo>
                  <a:pt x="240" y="240"/>
                </a:lnTo>
                <a:lnTo>
                  <a:pt x="204" y="414"/>
                </a:lnTo>
                <a:lnTo>
                  <a:pt x="0" y="486"/>
                </a:lnTo>
                <a:lnTo>
                  <a:pt x="84" y="672"/>
                </a:lnTo>
                <a:lnTo>
                  <a:pt x="114" y="660"/>
                </a:lnTo>
                <a:lnTo>
                  <a:pt x="198" y="636"/>
                </a:lnTo>
                <a:lnTo>
                  <a:pt x="228" y="624"/>
                </a:lnTo>
                <a:lnTo>
                  <a:pt x="246" y="618"/>
                </a:lnTo>
                <a:lnTo>
                  <a:pt x="252" y="606"/>
                </a:lnTo>
                <a:lnTo>
                  <a:pt x="252" y="594"/>
                </a:lnTo>
                <a:lnTo>
                  <a:pt x="258" y="582"/>
                </a:lnTo>
                <a:lnTo>
                  <a:pt x="258" y="56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1" name="Norway"/>
          <p:cNvSpPr>
            <a:spLocks noEditPoints="1"/>
          </p:cNvSpPr>
          <p:nvPr/>
        </p:nvSpPr>
        <p:spPr bwMode="gray">
          <a:xfrm>
            <a:off x="4191858" y="1794543"/>
            <a:ext cx="547688" cy="601662"/>
          </a:xfrm>
          <a:custGeom>
            <a:avLst/>
            <a:gdLst>
              <a:gd name="T0" fmla="*/ 2147483647 w 1362"/>
              <a:gd name="T1" fmla="*/ 2147483647 h 1500"/>
              <a:gd name="T2" fmla="*/ 2147483647 w 1362"/>
              <a:gd name="T3" fmla="*/ 2147483647 h 1500"/>
              <a:gd name="T4" fmla="*/ 2147483647 w 1362"/>
              <a:gd name="T5" fmla="*/ 2147483647 h 1500"/>
              <a:gd name="T6" fmla="*/ 2147483647 w 1362"/>
              <a:gd name="T7" fmla="*/ 2147483647 h 1500"/>
              <a:gd name="T8" fmla="*/ 2147483647 w 1362"/>
              <a:gd name="T9" fmla="*/ 0 h 1500"/>
              <a:gd name="T10" fmla="*/ 2147483647 w 1362"/>
              <a:gd name="T11" fmla="*/ 2147483647 h 1500"/>
              <a:gd name="T12" fmla="*/ 2147483647 w 1362"/>
              <a:gd name="T13" fmla="*/ 2147483647 h 1500"/>
              <a:gd name="T14" fmla="*/ 2147483647 w 1362"/>
              <a:gd name="T15" fmla="*/ 2147483647 h 1500"/>
              <a:gd name="T16" fmla="*/ 2147483647 w 1362"/>
              <a:gd name="T17" fmla="*/ 2147483647 h 1500"/>
              <a:gd name="T18" fmla="*/ 2147483647 w 1362"/>
              <a:gd name="T19" fmla="*/ 2147483647 h 1500"/>
              <a:gd name="T20" fmla="*/ 2147483647 w 1362"/>
              <a:gd name="T21" fmla="*/ 2147483647 h 1500"/>
              <a:gd name="T22" fmla="*/ 2147483647 w 1362"/>
              <a:gd name="T23" fmla="*/ 2147483647 h 1500"/>
              <a:gd name="T24" fmla="*/ 2147483647 w 1362"/>
              <a:gd name="T25" fmla="*/ 2147483647 h 1500"/>
              <a:gd name="T26" fmla="*/ 2147483647 w 1362"/>
              <a:gd name="T27" fmla="*/ 2147483647 h 1500"/>
              <a:gd name="T28" fmla="*/ 2147483647 w 1362"/>
              <a:gd name="T29" fmla="*/ 2147483647 h 1500"/>
              <a:gd name="T30" fmla="*/ 2147483647 w 1362"/>
              <a:gd name="T31" fmla="*/ 2147483647 h 1500"/>
              <a:gd name="T32" fmla="*/ 2147483647 w 1362"/>
              <a:gd name="T33" fmla="*/ 2147483647 h 1500"/>
              <a:gd name="T34" fmla="*/ 2147483647 w 1362"/>
              <a:gd name="T35" fmla="*/ 2147483647 h 1500"/>
              <a:gd name="T36" fmla="*/ 2147483647 w 1362"/>
              <a:gd name="T37" fmla="*/ 2147483647 h 1500"/>
              <a:gd name="T38" fmla="*/ 2147483647 w 1362"/>
              <a:gd name="T39" fmla="*/ 2147483647 h 1500"/>
              <a:gd name="T40" fmla="*/ 2147483647 w 1362"/>
              <a:gd name="T41" fmla="*/ 2147483647 h 1500"/>
              <a:gd name="T42" fmla="*/ 2147483647 w 1362"/>
              <a:gd name="T43" fmla="*/ 2147483647 h 1500"/>
              <a:gd name="T44" fmla="*/ 2147483647 w 1362"/>
              <a:gd name="T45" fmla="*/ 2147483647 h 1500"/>
              <a:gd name="T46" fmla="*/ 2147483647 w 1362"/>
              <a:gd name="T47" fmla="*/ 2147483647 h 1500"/>
              <a:gd name="T48" fmla="*/ 2147483647 w 1362"/>
              <a:gd name="T49" fmla="*/ 2147483647 h 1500"/>
              <a:gd name="T50" fmla="*/ 2147483647 w 1362"/>
              <a:gd name="T51" fmla="*/ 2147483647 h 1500"/>
              <a:gd name="T52" fmla="*/ 2147483647 w 1362"/>
              <a:gd name="T53" fmla="*/ 2147483647 h 1500"/>
              <a:gd name="T54" fmla="*/ 2147483647 w 1362"/>
              <a:gd name="T55" fmla="*/ 2147483647 h 1500"/>
              <a:gd name="T56" fmla="*/ 2147483647 w 1362"/>
              <a:gd name="T57" fmla="*/ 2147483647 h 1500"/>
              <a:gd name="T58" fmla="*/ 2147483647 w 1362"/>
              <a:gd name="T59" fmla="*/ 2147483647 h 1500"/>
              <a:gd name="T60" fmla="*/ 2147483647 w 1362"/>
              <a:gd name="T61" fmla="*/ 2147483647 h 1500"/>
              <a:gd name="T62" fmla="*/ 2147483647 w 1362"/>
              <a:gd name="T63" fmla="*/ 2147483647 h 1500"/>
              <a:gd name="T64" fmla="*/ 2147483647 w 1362"/>
              <a:gd name="T65" fmla="*/ 2147483647 h 1500"/>
              <a:gd name="T66" fmla="*/ 2147483647 w 1362"/>
              <a:gd name="T67" fmla="*/ 2147483647 h 1500"/>
              <a:gd name="T68" fmla="*/ 2147483647 w 1362"/>
              <a:gd name="T69" fmla="*/ 2147483647 h 1500"/>
              <a:gd name="T70" fmla="*/ 2147483647 w 1362"/>
              <a:gd name="T71" fmla="*/ 2147483647 h 1500"/>
              <a:gd name="T72" fmla="*/ 2147483647 w 1362"/>
              <a:gd name="T73" fmla="*/ 2147483647 h 1500"/>
              <a:gd name="T74" fmla="*/ 2147483647 w 1362"/>
              <a:gd name="T75" fmla="*/ 2147483647 h 1500"/>
              <a:gd name="T76" fmla="*/ 2147483647 w 1362"/>
              <a:gd name="T77" fmla="*/ 2147483647 h 1500"/>
              <a:gd name="T78" fmla="*/ 2147483647 w 1362"/>
              <a:gd name="T79" fmla="*/ 2147483647 h 1500"/>
              <a:gd name="T80" fmla="*/ 2147483647 w 1362"/>
              <a:gd name="T81" fmla="*/ 2147483647 h 1500"/>
              <a:gd name="T82" fmla="*/ 2147483647 w 1362"/>
              <a:gd name="T83" fmla="*/ 2147483647 h 1500"/>
              <a:gd name="T84" fmla="*/ 2147483647 w 1362"/>
              <a:gd name="T85" fmla="*/ 2147483647 h 1500"/>
              <a:gd name="T86" fmla="*/ 2147483647 w 1362"/>
              <a:gd name="T87" fmla="*/ 2147483647 h 1500"/>
              <a:gd name="T88" fmla="*/ 2147483647 w 1362"/>
              <a:gd name="T89" fmla="*/ 2147483647 h 1500"/>
              <a:gd name="T90" fmla="*/ 2147483647 w 1362"/>
              <a:gd name="T91" fmla="*/ 2147483647 h 1500"/>
              <a:gd name="T92" fmla="*/ 2147483647 w 1362"/>
              <a:gd name="T93" fmla="*/ 2147483647 h 1500"/>
              <a:gd name="T94" fmla="*/ 2147483647 w 1362"/>
              <a:gd name="T95" fmla="*/ 2147483647 h 1500"/>
              <a:gd name="T96" fmla="*/ 2147483647 w 1362"/>
              <a:gd name="T97" fmla="*/ 2147483647 h 1500"/>
              <a:gd name="T98" fmla="*/ 2147483647 w 1362"/>
              <a:gd name="T99" fmla="*/ 2147483647 h 1500"/>
              <a:gd name="T100" fmla="*/ 2147483647 w 1362"/>
              <a:gd name="T101" fmla="*/ 2147483647 h 1500"/>
              <a:gd name="T102" fmla="*/ 2147483647 w 1362"/>
              <a:gd name="T103" fmla="*/ 2147483647 h 1500"/>
              <a:gd name="T104" fmla="*/ 2147483647 w 1362"/>
              <a:gd name="T105" fmla="*/ 2147483647 h 1500"/>
              <a:gd name="T106" fmla="*/ 2147483647 w 1362"/>
              <a:gd name="T107" fmla="*/ 2147483647 h 1500"/>
              <a:gd name="T108" fmla="*/ 2147483647 w 1362"/>
              <a:gd name="T109" fmla="*/ 2147483647 h 1500"/>
              <a:gd name="T110" fmla="*/ 2147483647 w 1362"/>
              <a:gd name="T111" fmla="*/ 2147483647 h 1500"/>
              <a:gd name="T112" fmla="*/ 2147483647 w 1362"/>
              <a:gd name="T113" fmla="*/ 2147483647 h 1500"/>
              <a:gd name="T114" fmla="*/ 2147483647 w 1362"/>
              <a:gd name="T115" fmla="*/ 2147483647 h 150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362"/>
              <a:gd name="T175" fmla="*/ 0 h 1500"/>
              <a:gd name="T176" fmla="*/ 1362 w 1362"/>
              <a:gd name="T177" fmla="*/ 1500 h 150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362" h="1500">
                <a:moveTo>
                  <a:pt x="324" y="120"/>
                </a:moveTo>
                <a:lnTo>
                  <a:pt x="336" y="126"/>
                </a:lnTo>
                <a:lnTo>
                  <a:pt x="354" y="132"/>
                </a:lnTo>
                <a:lnTo>
                  <a:pt x="378" y="132"/>
                </a:lnTo>
                <a:lnTo>
                  <a:pt x="294" y="90"/>
                </a:lnTo>
                <a:lnTo>
                  <a:pt x="294" y="102"/>
                </a:lnTo>
                <a:lnTo>
                  <a:pt x="306" y="108"/>
                </a:lnTo>
                <a:lnTo>
                  <a:pt x="312" y="114"/>
                </a:lnTo>
                <a:lnTo>
                  <a:pt x="324" y="120"/>
                </a:lnTo>
                <a:close/>
                <a:moveTo>
                  <a:pt x="684" y="48"/>
                </a:moveTo>
                <a:lnTo>
                  <a:pt x="732" y="48"/>
                </a:lnTo>
                <a:lnTo>
                  <a:pt x="738" y="54"/>
                </a:lnTo>
                <a:lnTo>
                  <a:pt x="750" y="54"/>
                </a:lnTo>
                <a:lnTo>
                  <a:pt x="774" y="66"/>
                </a:lnTo>
                <a:lnTo>
                  <a:pt x="786" y="66"/>
                </a:lnTo>
                <a:lnTo>
                  <a:pt x="798" y="60"/>
                </a:lnTo>
                <a:lnTo>
                  <a:pt x="804" y="60"/>
                </a:lnTo>
                <a:lnTo>
                  <a:pt x="816" y="54"/>
                </a:lnTo>
                <a:lnTo>
                  <a:pt x="828" y="54"/>
                </a:lnTo>
                <a:lnTo>
                  <a:pt x="840" y="60"/>
                </a:lnTo>
                <a:lnTo>
                  <a:pt x="876" y="72"/>
                </a:lnTo>
                <a:lnTo>
                  <a:pt x="888" y="78"/>
                </a:lnTo>
                <a:lnTo>
                  <a:pt x="894" y="84"/>
                </a:lnTo>
                <a:lnTo>
                  <a:pt x="900" y="84"/>
                </a:lnTo>
                <a:lnTo>
                  <a:pt x="924" y="60"/>
                </a:lnTo>
                <a:lnTo>
                  <a:pt x="984" y="66"/>
                </a:lnTo>
                <a:lnTo>
                  <a:pt x="984" y="42"/>
                </a:lnTo>
                <a:lnTo>
                  <a:pt x="1014" y="42"/>
                </a:lnTo>
                <a:lnTo>
                  <a:pt x="1026" y="36"/>
                </a:lnTo>
                <a:lnTo>
                  <a:pt x="1032" y="24"/>
                </a:lnTo>
                <a:lnTo>
                  <a:pt x="1038" y="18"/>
                </a:lnTo>
                <a:lnTo>
                  <a:pt x="1032" y="12"/>
                </a:lnTo>
                <a:lnTo>
                  <a:pt x="1002" y="12"/>
                </a:lnTo>
                <a:lnTo>
                  <a:pt x="990" y="18"/>
                </a:lnTo>
                <a:lnTo>
                  <a:pt x="984" y="18"/>
                </a:lnTo>
                <a:lnTo>
                  <a:pt x="972" y="6"/>
                </a:lnTo>
                <a:lnTo>
                  <a:pt x="960" y="0"/>
                </a:lnTo>
                <a:lnTo>
                  <a:pt x="918" y="0"/>
                </a:lnTo>
                <a:lnTo>
                  <a:pt x="900" y="6"/>
                </a:lnTo>
                <a:lnTo>
                  <a:pt x="882" y="18"/>
                </a:lnTo>
                <a:lnTo>
                  <a:pt x="870" y="18"/>
                </a:lnTo>
                <a:lnTo>
                  <a:pt x="864" y="12"/>
                </a:lnTo>
                <a:lnTo>
                  <a:pt x="864" y="6"/>
                </a:lnTo>
                <a:lnTo>
                  <a:pt x="858" y="6"/>
                </a:lnTo>
                <a:lnTo>
                  <a:pt x="852" y="0"/>
                </a:lnTo>
                <a:lnTo>
                  <a:pt x="822" y="0"/>
                </a:lnTo>
                <a:lnTo>
                  <a:pt x="804" y="18"/>
                </a:lnTo>
                <a:lnTo>
                  <a:pt x="738" y="0"/>
                </a:lnTo>
                <a:lnTo>
                  <a:pt x="726" y="0"/>
                </a:lnTo>
                <a:lnTo>
                  <a:pt x="708" y="6"/>
                </a:lnTo>
                <a:lnTo>
                  <a:pt x="690" y="6"/>
                </a:lnTo>
                <a:lnTo>
                  <a:pt x="672" y="12"/>
                </a:lnTo>
                <a:lnTo>
                  <a:pt x="660" y="12"/>
                </a:lnTo>
                <a:lnTo>
                  <a:pt x="660" y="6"/>
                </a:lnTo>
                <a:lnTo>
                  <a:pt x="666" y="0"/>
                </a:lnTo>
                <a:lnTo>
                  <a:pt x="630" y="12"/>
                </a:lnTo>
                <a:lnTo>
                  <a:pt x="648" y="36"/>
                </a:lnTo>
                <a:lnTo>
                  <a:pt x="684" y="48"/>
                </a:lnTo>
                <a:close/>
                <a:moveTo>
                  <a:pt x="324" y="66"/>
                </a:moveTo>
                <a:lnTo>
                  <a:pt x="342" y="66"/>
                </a:lnTo>
                <a:lnTo>
                  <a:pt x="348" y="72"/>
                </a:lnTo>
                <a:lnTo>
                  <a:pt x="360" y="72"/>
                </a:lnTo>
                <a:lnTo>
                  <a:pt x="360" y="78"/>
                </a:lnTo>
                <a:lnTo>
                  <a:pt x="342" y="96"/>
                </a:lnTo>
                <a:lnTo>
                  <a:pt x="336" y="96"/>
                </a:lnTo>
                <a:lnTo>
                  <a:pt x="378" y="114"/>
                </a:lnTo>
                <a:lnTo>
                  <a:pt x="390" y="120"/>
                </a:lnTo>
                <a:lnTo>
                  <a:pt x="396" y="126"/>
                </a:lnTo>
                <a:lnTo>
                  <a:pt x="414" y="126"/>
                </a:lnTo>
                <a:lnTo>
                  <a:pt x="426" y="132"/>
                </a:lnTo>
                <a:lnTo>
                  <a:pt x="438" y="132"/>
                </a:lnTo>
                <a:lnTo>
                  <a:pt x="462" y="108"/>
                </a:lnTo>
                <a:lnTo>
                  <a:pt x="504" y="96"/>
                </a:lnTo>
                <a:lnTo>
                  <a:pt x="534" y="120"/>
                </a:lnTo>
                <a:lnTo>
                  <a:pt x="528" y="120"/>
                </a:lnTo>
                <a:lnTo>
                  <a:pt x="516" y="126"/>
                </a:lnTo>
                <a:lnTo>
                  <a:pt x="504" y="126"/>
                </a:lnTo>
                <a:lnTo>
                  <a:pt x="480" y="132"/>
                </a:lnTo>
                <a:lnTo>
                  <a:pt x="468" y="138"/>
                </a:lnTo>
                <a:lnTo>
                  <a:pt x="456" y="150"/>
                </a:lnTo>
                <a:lnTo>
                  <a:pt x="486" y="150"/>
                </a:lnTo>
                <a:lnTo>
                  <a:pt x="498" y="156"/>
                </a:lnTo>
                <a:lnTo>
                  <a:pt x="522" y="156"/>
                </a:lnTo>
                <a:lnTo>
                  <a:pt x="516" y="162"/>
                </a:lnTo>
                <a:lnTo>
                  <a:pt x="504" y="162"/>
                </a:lnTo>
                <a:lnTo>
                  <a:pt x="486" y="168"/>
                </a:lnTo>
                <a:lnTo>
                  <a:pt x="474" y="174"/>
                </a:lnTo>
                <a:lnTo>
                  <a:pt x="468" y="180"/>
                </a:lnTo>
                <a:lnTo>
                  <a:pt x="462" y="180"/>
                </a:lnTo>
                <a:lnTo>
                  <a:pt x="516" y="198"/>
                </a:lnTo>
                <a:lnTo>
                  <a:pt x="522" y="198"/>
                </a:lnTo>
                <a:lnTo>
                  <a:pt x="528" y="204"/>
                </a:lnTo>
                <a:lnTo>
                  <a:pt x="540" y="210"/>
                </a:lnTo>
                <a:lnTo>
                  <a:pt x="558" y="210"/>
                </a:lnTo>
                <a:lnTo>
                  <a:pt x="576" y="216"/>
                </a:lnTo>
                <a:lnTo>
                  <a:pt x="594" y="210"/>
                </a:lnTo>
                <a:lnTo>
                  <a:pt x="606" y="204"/>
                </a:lnTo>
                <a:lnTo>
                  <a:pt x="612" y="204"/>
                </a:lnTo>
                <a:lnTo>
                  <a:pt x="618" y="198"/>
                </a:lnTo>
                <a:lnTo>
                  <a:pt x="612" y="192"/>
                </a:lnTo>
                <a:lnTo>
                  <a:pt x="612" y="186"/>
                </a:lnTo>
                <a:lnTo>
                  <a:pt x="606" y="180"/>
                </a:lnTo>
                <a:lnTo>
                  <a:pt x="606" y="174"/>
                </a:lnTo>
                <a:lnTo>
                  <a:pt x="612" y="168"/>
                </a:lnTo>
                <a:lnTo>
                  <a:pt x="618" y="168"/>
                </a:lnTo>
                <a:lnTo>
                  <a:pt x="630" y="162"/>
                </a:lnTo>
                <a:lnTo>
                  <a:pt x="648" y="162"/>
                </a:lnTo>
                <a:lnTo>
                  <a:pt x="648" y="144"/>
                </a:lnTo>
                <a:lnTo>
                  <a:pt x="678" y="132"/>
                </a:lnTo>
                <a:lnTo>
                  <a:pt x="690" y="102"/>
                </a:lnTo>
                <a:lnTo>
                  <a:pt x="714" y="114"/>
                </a:lnTo>
                <a:lnTo>
                  <a:pt x="738" y="102"/>
                </a:lnTo>
                <a:lnTo>
                  <a:pt x="750" y="114"/>
                </a:lnTo>
                <a:lnTo>
                  <a:pt x="762" y="120"/>
                </a:lnTo>
                <a:lnTo>
                  <a:pt x="780" y="126"/>
                </a:lnTo>
                <a:lnTo>
                  <a:pt x="792" y="138"/>
                </a:lnTo>
                <a:lnTo>
                  <a:pt x="792" y="144"/>
                </a:lnTo>
                <a:lnTo>
                  <a:pt x="786" y="150"/>
                </a:lnTo>
                <a:lnTo>
                  <a:pt x="786" y="162"/>
                </a:lnTo>
                <a:lnTo>
                  <a:pt x="774" y="174"/>
                </a:lnTo>
                <a:lnTo>
                  <a:pt x="828" y="174"/>
                </a:lnTo>
                <a:lnTo>
                  <a:pt x="834" y="180"/>
                </a:lnTo>
                <a:lnTo>
                  <a:pt x="846" y="186"/>
                </a:lnTo>
                <a:lnTo>
                  <a:pt x="852" y="192"/>
                </a:lnTo>
                <a:lnTo>
                  <a:pt x="858" y="192"/>
                </a:lnTo>
                <a:lnTo>
                  <a:pt x="864" y="186"/>
                </a:lnTo>
                <a:lnTo>
                  <a:pt x="876" y="186"/>
                </a:lnTo>
                <a:lnTo>
                  <a:pt x="894" y="174"/>
                </a:lnTo>
                <a:lnTo>
                  <a:pt x="906" y="168"/>
                </a:lnTo>
                <a:lnTo>
                  <a:pt x="924" y="162"/>
                </a:lnTo>
                <a:lnTo>
                  <a:pt x="936" y="156"/>
                </a:lnTo>
                <a:lnTo>
                  <a:pt x="942" y="150"/>
                </a:lnTo>
                <a:lnTo>
                  <a:pt x="942" y="144"/>
                </a:lnTo>
                <a:lnTo>
                  <a:pt x="936" y="144"/>
                </a:lnTo>
                <a:lnTo>
                  <a:pt x="924" y="138"/>
                </a:lnTo>
                <a:lnTo>
                  <a:pt x="888" y="138"/>
                </a:lnTo>
                <a:lnTo>
                  <a:pt x="882" y="120"/>
                </a:lnTo>
                <a:lnTo>
                  <a:pt x="828" y="114"/>
                </a:lnTo>
                <a:lnTo>
                  <a:pt x="828" y="96"/>
                </a:lnTo>
                <a:lnTo>
                  <a:pt x="798" y="102"/>
                </a:lnTo>
                <a:lnTo>
                  <a:pt x="798" y="84"/>
                </a:lnTo>
                <a:lnTo>
                  <a:pt x="726" y="84"/>
                </a:lnTo>
                <a:lnTo>
                  <a:pt x="720" y="72"/>
                </a:lnTo>
                <a:lnTo>
                  <a:pt x="684" y="72"/>
                </a:lnTo>
                <a:lnTo>
                  <a:pt x="678" y="60"/>
                </a:lnTo>
                <a:lnTo>
                  <a:pt x="654" y="48"/>
                </a:lnTo>
                <a:lnTo>
                  <a:pt x="624" y="48"/>
                </a:lnTo>
                <a:lnTo>
                  <a:pt x="624" y="30"/>
                </a:lnTo>
                <a:lnTo>
                  <a:pt x="618" y="30"/>
                </a:lnTo>
                <a:lnTo>
                  <a:pt x="612" y="24"/>
                </a:lnTo>
                <a:lnTo>
                  <a:pt x="540" y="24"/>
                </a:lnTo>
                <a:lnTo>
                  <a:pt x="534" y="30"/>
                </a:lnTo>
                <a:lnTo>
                  <a:pt x="534" y="36"/>
                </a:lnTo>
                <a:lnTo>
                  <a:pt x="540" y="42"/>
                </a:lnTo>
                <a:lnTo>
                  <a:pt x="546" y="54"/>
                </a:lnTo>
                <a:lnTo>
                  <a:pt x="564" y="72"/>
                </a:lnTo>
                <a:lnTo>
                  <a:pt x="552" y="66"/>
                </a:lnTo>
                <a:lnTo>
                  <a:pt x="546" y="60"/>
                </a:lnTo>
                <a:lnTo>
                  <a:pt x="528" y="48"/>
                </a:lnTo>
                <a:lnTo>
                  <a:pt x="492" y="30"/>
                </a:lnTo>
                <a:lnTo>
                  <a:pt x="480" y="30"/>
                </a:lnTo>
                <a:lnTo>
                  <a:pt x="474" y="36"/>
                </a:lnTo>
                <a:lnTo>
                  <a:pt x="468" y="48"/>
                </a:lnTo>
                <a:lnTo>
                  <a:pt x="462" y="54"/>
                </a:lnTo>
                <a:lnTo>
                  <a:pt x="450" y="54"/>
                </a:lnTo>
                <a:lnTo>
                  <a:pt x="438" y="48"/>
                </a:lnTo>
                <a:lnTo>
                  <a:pt x="420" y="48"/>
                </a:lnTo>
                <a:lnTo>
                  <a:pt x="420" y="42"/>
                </a:lnTo>
                <a:lnTo>
                  <a:pt x="426" y="42"/>
                </a:lnTo>
                <a:lnTo>
                  <a:pt x="438" y="30"/>
                </a:lnTo>
                <a:lnTo>
                  <a:pt x="384" y="30"/>
                </a:lnTo>
                <a:lnTo>
                  <a:pt x="372" y="42"/>
                </a:lnTo>
                <a:lnTo>
                  <a:pt x="366" y="30"/>
                </a:lnTo>
                <a:lnTo>
                  <a:pt x="354" y="30"/>
                </a:lnTo>
                <a:lnTo>
                  <a:pt x="318" y="48"/>
                </a:lnTo>
                <a:lnTo>
                  <a:pt x="318" y="60"/>
                </a:lnTo>
                <a:lnTo>
                  <a:pt x="324" y="66"/>
                </a:lnTo>
                <a:close/>
                <a:moveTo>
                  <a:pt x="642" y="708"/>
                </a:moveTo>
                <a:lnTo>
                  <a:pt x="666" y="696"/>
                </a:lnTo>
                <a:lnTo>
                  <a:pt x="666" y="690"/>
                </a:lnTo>
                <a:lnTo>
                  <a:pt x="678" y="690"/>
                </a:lnTo>
                <a:lnTo>
                  <a:pt x="678" y="678"/>
                </a:lnTo>
                <a:lnTo>
                  <a:pt x="672" y="672"/>
                </a:lnTo>
                <a:lnTo>
                  <a:pt x="630" y="690"/>
                </a:lnTo>
                <a:lnTo>
                  <a:pt x="642" y="708"/>
                </a:lnTo>
                <a:close/>
                <a:moveTo>
                  <a:pt x="774" y="648"/>
                </a:moveTo>
                <a:lnTo>
                  <a:pt x="780" y="642"/>
                </a:lnTo>
                <a:lnTo>
                  <a:pt x="786" y="642"/>
                </a:lnTo>
                <a:lnTo>
                  <a:pt x="792" y="636"/>
                </a:lnTo>
                <a:lnTo>
                  <a:pt x="792" y="630"/>
                </a:lnTo>
                <a:lnTo>
                  <a:pt x="786" y="624"/>
                </a:lnTo>
                <a:lnTo>
                  <a:pt x="774" y="624"/>
                </a:lnTo>
                <a:lnTo>
                  <a:pt x="768" y="630"/>
                </a:lnTo>
                <a:lnTo>
                  <a:pt x="768" y="642"/>
                </a:lnTo>
                <a:lnTo>
                  <a:pt x="774" y="648"/>
                </a:lnTo>
                <a:close/>
                <a:moveTo>
                  <a:pt x="594" y="696"/>
                </a:moveTo>
                <a:lnTo>
                  <a:pt x="576" y="696"/>
                </a:lnTo>
                <a:lnTo>
                  <a:pt x="552" y="708"/>
                </a:lnTo>
                <a:lnTo>
                  <a:pt x="546" y="714"/>
                </a:lnTo>
                <a:lnTo>
                  <a:pt x="570" y="720"/>
                </a:lnTo>
                <a:lnTo>
                  <a:pt x="576" y="714"/>
                </a:lnTo>
                <a:lnTo>
                  <a:pt x="588" y="714"/>
                </a:lnTo>
                <a:lnTo>
                  <a:pt x="600" y="702"/>
                </a:lnTo>
                <a:lnTo>
                  <a:pt x="594" y="696"/>
                </a:lnTo>
                <a:close/>
                <a:moveTo>
                  <a:pt x="918" y="612"/>
                </a:moveTo>
                <a:lnTo>
                  <a:pt x="936" y="618"/>
                </a:lnTo>
                <a:lnTo>
                  <a:pt x="942" y="606"/>
                </a:lnTo>
                <a:lnTo>
                  <a:pt x="948" y="600"/>
                </a:lnTo>
                <a:lnTo>
                  <a:pt x="948" y="594"/>
                </a:lnTo>
                <a:lnTo>
                  <a:pt x="918" y="594"/>
                </a:lnTo>
                <a:lnTo>
                  <a:pt x="918" y="612"/>
                </a:lnTo>
                <a:close/>
                <a:moveTo>
                  <a:pt x="486" y="756"/>
                </a:moveTo>
                <a:lnTo>
                  <a:pt x="474" y="756"/>
                </a:lnTo>
                <a:lnTo>
                  <a:pt x="438" y="774"/>
                </a:lnTo>
                <a:lnTo>
                  <a:pt x="432" y="780"/>
                </a:lnTo>
                <a:lnTo>
                  <a:pt x="432" y="786"/>
                </a:lnTo>
                <a:lnTo>
                  <a:pt x="444" y="786"/>
                </a:lnTo>
                <a:lnTo>
                  <a:pt x="456" y="780"/>
                </a:lnTo>
                <a:lnTo>
                  <a:pt x="462" y="774"/>
                </a:lnTo>
                <a:lnTo>
                  <a:pt x="474" y="768"/>
                </a:lnTo>
                <a:lnTo>
                  <a:pt x="510" y="768"/>
                </a:lnTo>
                <a:lnTo>
                  <a:pt x="510" y="762"/>
                </a:lnTo>
                <a:lnTo>
                  <a:pt x="504" y="762"/>
                </a:lnTo>
                <a:lnTo>
                  <a:pt x="504" y="756"/>
                </a:lnTo>
                <a:lnTo>
                  <a:pt x="486" y="756"/>
                </a:lnTo>
                <a:close/>
                <a:moveTo>
                  <a:pt x="1356" y="660"/>
                </a:moveTo>
                <a:lnTo>
                  <a:pt x="1326" y="666"/>
                </a:lnTo>
                <a:lnTo>
                  <a:pt x="1290" y="654"/>
                </a:lnTo>
                <a:lnTo>
                  <a:pt x="1260" y="642"/>
                </a:lnTo>
                <a:lnTo>
                  <a:pt x="1302" y="642"/>
                </a:lnTo>
                <a:lnTo>
                  <a:pt x="1326" y="630"/>
                </a:lnTo>
                <a:lnTo>
                  <a:pt x="1344" y="630"/>
                </a:lnTo>
                <a:lnTo>
                  <a:pt x="1350" y="624"/>
                </a:lnTo>
                <a:lnTo>
                  <a:pt x="1356" y="624"/>
                </a:lnTo>
                <a:lnTo>
                  <a:pt x="1344" y="618"/>
                </a:lnTo>
                <a:lnTo>
                  <a:pt x="1338" y="612"/>
                </a:lnTo>
                <a:lnTo>
                  <a:pt x="1320" y="606"/>
                </a:lnTo>
                <a:lnTo>
                  <a:pt x="1308" y="600"/>
                </a:lnTo>
                <a:lnTo>
                  <a:pt x="1284" y="600"/>
                </a:lnTo>
                <a:lnTo>
                  <a:pt x="1260" y="588"/>
                </a:lnTo>
                <a:lnTo>
                  <a:pt x="1254" y="588"/>
                </a:lnTo>
                <a:lnTo>
                  <a:pt x="1242" y="582"/>
                </a:lnTo>
                <a:lnTo>
                  <a:pt x="1242" y="588"/>
                </a:lnTo>
                <a:lnTo>
                  <a:pt x="1236" y="594"/>
                </a:lnTo>
                <a:lnTo>
                  <a:pt x="1236" y="600"/>
                </a:lnTo>
                <a:lnTo>
                  <a:pt x="1218" y="618"/>
                </a:lnTo>
                <a:lnTo>
                  <a:pt x="1206" y="618"/>
                </a:lnTo>
                <a:lnTo>
                  <a:pt x="1200" y="612"/>
                </a:lnTo>
                <a:lnTo>
                  <a:pt x="1224" y="588"/>
                </a:lnTo>
                <a:lnTo>
                  <a:pt x="1158" y="564"/>
                </a:lnTo>
                <a:lnTo>
                  <a:pt x="1158" y="576"/>
                </a:lnTo>
                <a:lnTo>
                  <a:pt x="1152" y="594"/>
                </a:lnTo>
                <a:lnTo>
                  <a:pt x="1134" y="630"/>
                </a:lnTo>
                <a:lnTo>
                  <a:pt x="1128" y="630"/>
                </a:lnTo>
                <a:lnTo>
                  <a:pt x="1122" y="624"/>
                </a:lnTo>
                <a:lnTo>
                  <a:pt x="1116" y="612"/>
                </a:lnTo>
                <a:lnTo>
                  <a:pt x="1116" y="594"/>
                </a:lnTo>
                <a:lnTo>
                  <a:pt x="1122" y="582"/>
                </a:lnTo>
                <a:lnTo>
                  <a:pt x="1116" y="594"/>
                </a:lnTo>
                <a:lnTo>
                  <a:pt x="1104" y="600"/>
                </a:lnTo>
                <a:lnTo>
                  <a:pt x="1080" y="624"/>
                </a:lnTo>
                <a:lnTo>
                  <a:pt x="1056" y="636"/>
                </a:lnTo>
                <a:lnTo>
                  <a:pt x="1050" y="636"/>
                </a:lnTo>
                <a:lnTo>
                  <a:pt x="1050" y="630"/>
                </a:lnTo>
                <a:lnTo>
                  <a:pt x="1056" y="618"/>
                </a:lnTo>
                <a:lnTo>
                  <a:pt x="1086" y="588"/>
                </a:lnTo>
                <a:lnTo>
                  <a:pt x="1092" y="576"/>
                </a:lnTo>
                <a:lnTo>
                  <a:pt x="1104" y="570"/>
                </a:lnTo>
                <a:lnTo>
                  <a:pt x="1068" y="570"/>
                </a:lnTo>
                <a:lnTo>
                  <a:pt x="1050" y="582"/>
                </a:lnTo>
                <a:lnTo>
                  <a:pt x="1026" y="582"/>
                </a:lnTo>
                <a:lnTo>
                  <a:pt x="984" y="606"/>
                </a:lnTo>
                <a:lnTo>
                  <a:pt x="960" y="606"/>
                </a:lnTo>
                <a:lnTo>
                  <a:pt x="954" y="636"/>
                </a:lnTo>
                <a:lnTo>
                  <a:pt x="918" y="624"/>
                </a:lnTo>
                <a:lnTo>
                  <a:pt x="882" y="630"/>
                </a:lnTo>
                <a:lnTo>
                  <a:pt x="894" y="660"/>
                </a:lnTo>
                <a:lnTo>
                  <a:pt x="846" y="648"/>
                </a:lnTo>
                <a:lnTo>
                  <a:pt x="828" y="654"/>
                </a:lnTo>
                <a:lnTo>
                  <a:pt x="834" y="678"/>
                </a:lnTo>
                <a:lnTo>
                  <a:pt x="792" y="690"/>
                </a:lnTo>
                <a:lnTo>
                  <a:pt x="792" y="654"/>
                </a:lnTo>
                <a:lnTo>
                  <a:pt x="762" y="654"/>
                </a:lnTo>
                <a:lnTo>
                  <a:pt x="774" y="678"/>
                </a:lnTo>
                <a:lnTo>
                  <a:pt x="750" y="660"/>
                </a:lnTo>
                <a:lnTo>
                  <a:pt x="750" y="690"/>
                </a:lnTo>
                <a:lnTo>
                  <a:pt x="726" y="690"/>
                </a:lnTo>
                <a:lnTo>
                  <a:pt x="726" y="660"/>
                </a:lnTo>
                <a:lnTo>
                  <a:pt x="738" y="654"/>
                </a:lnTo>
                <a:lnTo>
                  <a:pt x="744" y="648"/>
                </a:lnTo>
                <a:lnTo>
                  <a:pt x="708" y="642"/>
                </a:lnTo>
                <a:lnTo>
                  <a:pt x="708" y="684"/>
                </a:lnTo>
                <a:lnTo>
                  <a:pt x="678" y="696"/>
                </a:lnTo>
                <a:lnTo>
                  <a:pt x="696" y="708"/>
                </a:lnTo>
                <a:lnTo>
                  <a:pt x="660" y="714"/>
                </a:lnTo>
                <a:lnTo>
                  <a:pt x="672" y="726"/>
                </a:lnTo>
                <a:lnTo>
                  <a:pt x="630" y="726"/>
                </a:lnTo>
                <a:lnTo>
                  <a:pt x="630" y="738"/>
                </a:lnTo>
                <a:lnTo>
                  <a:pt x="660" y="750"/>
                </a:lnTo>
                <a:lnTo>
                  <a:pt x="654" y="762"/>
                </a:lnTo>
                <a:lnTo>
                  <a:pt x="618" y="744"/>
                </a:lnTo>
                <a:lnTo>
                  <a:pt x="600" y="750"/>
                </a:lnTo>
                <a:lnTo>
                  <a:pt x="624" y="762"/>
                </a:lnTo>
                <a:lnTo>
                  <a:pt x="606" y="780"/>
                </a:lnTo>
                <a:lnTo>
                  <a:pt x="594" y="762"/>
                </a:lnTo>
                <a:lnTo>
                  <a:pt x="576" y="768"/>
                </a:lnTo>
                <a:lnTo>
                  <a:pt x="576" y="780"/>
                </a:lnTo>
                <a:lnTo>
                  <a:pt x="546" y="780"/>
                </a:lnTo>
                <a:lnTo>
                  <a:pt x="540" y="792"/>
                </a:lnTo>
                <a:lnTo>
                  <a:pt x="564" y="804"/>
                </a:lnTo>
                <a:lnTo>
                  <a:pt x="564" y="822"/>
                </a:lnTo>
                <a:lnTo>
                  <a:pt x="528" y="810"/>
                </a:lnTo>
                <a:lnTo>
                  <a:pt x="522" y="822"/>
                </a:lnTo>
                <a:lnTo>
                  <a:pt x="552" y="834"/>
                </a:lnTo>
                <a:lnTo>
                  <a:pt x="504" y="834"/>
                </a:lnTo>
                <a:lnTo>
                  <a:pt x="504" y="852"/>
                </a:lnTo>
                <a:lnTo>
                  <a:pt x="492" y="846"/>
                </a:lnTo>
                <a:lnTo>
                  <a:pt x="486" y="846"/>
                </a:lnTo>
                <a:lnTo>
                  <a:pt x="474" y="852"/>
                </a:lnTo>
                <a:lnTo>
                  <a:pt x="468" y="858"/>
                </a:lnTo>
                <a:lnTo>
                  <a:pt x="456" y="858"/>
                </a:lnTo>
                <a:lnTo>
                  <a:pt x="456" y="870"/>
                </a:lnTo>
                <a:lnTo>
                  <a:pt x="462" y="876"/>
                </a:lnTo>
                <a:lnTo>
                  <a:pt x="456" y="876"/>
                </a:lnTo>
                <a:lnTo>
                  <a:pt x="450" y="882"/>
                </a:lnTo>
                <a:lnTo>
                  <a:pt x="444" y="882"/>
                </a:lnTo>
                <a:lnTo>
                  <a:pt x="444" y="900"/>
                </a:lnTo>
                <a:lnTo>
                  <a:pt x="480" y="900"/>
                </a:lnTo>
                <a:lnTo>
                  <a:pt x="468" y="912"/>
                </a:lnTo>
                <a:lnTo>
                  <a:pt x="432" y="906"/>
                </a:lnTo>
                <a:lnTo>
                  <a:pt x="420" y="912"/>
                </a:lnTo>
                <a:lnTo>
                  <a:pt x="414" y="918"/>
                </a:lnTo>
                <a:lnTo>
                  <a:pt x="414" y="930"/>
                </a:lnTo>
                <a:lnTo>
                  <a:pt x="420" y="936"/>
                </a:lnTo>
                <a:lnTo>
                  <a:pt x="420" y="948"/>
                </a:lnTo>
                <a:lnTo>
                  <a:pt x="408" y="954"/>
                </a:lnTo>
                <a:lnTo>
                  <a:pt x="390" y="954"/>
                </a:lnTo>
                <a:lnTo>
                  <a:pt x="390" y="972"/>
                </a:lnTo>
                <a:lnTo>
                  <a:pt x="408" y="990"/>
                </a:lnTo>
                <a:lnTo>
                  <a:pt x="408" y="996"/>
                </a:lnTo>
                <a:lnTo>
                  <a:pt x="402" y="1002"/>
                </a:lnTo>
                <a:lnTo>
                  <a:pt x="366" y="1002"/>
                </a:lnTo>
                <a:lnTo>
                  <a:pt x="360" y="1008"/>
                </a:lnTo>
                <a:lnTo>
                  <a:pt x="360" y="1026"/>
                </a:lnTo>
                <a:lnTo>
                  <a:pt x="354" y="1032"/>
                </a:lnTo>
                <a:lnTo>
                  <a:pt x="342" y="1032"/>
                </a:lnTo>
                <a:lnTo>
                  <a:pt x="336" y="1026"/>
                </a:lnTo>
                <a:lnTo>
                  <a:pt x="318" y="1026"/>
                </a:lnTo>
                <a:lnTo>
                  <a:pt x="294" y="1050"/>
                </a:lnTo>
                <a:lnTo>
                  <a:pt x="282" y="1050"/>
                </a:lnTo>
                <a:lnTo>
                  <a:pt x="270" y="1062"/>
                </a:lnTo>
                <a:lnTo>
                  <a:pt x="270" y="1068"/>
                </a:lnTo>
                <a:lnTo>
                  <a:pt x="276" y="1074"/>
                </a:lnTo>
                <a:lnTo>
                  <a:pt x="276" y="1080"/>
                </a:lnTo>
                <a:lnTo>
                  <a:pt x="264" y="1092"/>
                </a:lnTo>
                <a:lnTo>
                  <a:pt x="252" y="1092"/>
                </a:lnTo>
                <a:lnTo>
                  <a:pt x="246" y="1086"/>
                </a:lnTo>
                <a:lnTo>
                  <a:pt x="234" y="1080"/>
                </a:lnTo>
                <a:lnTo>
                  <a:pt x="234" y="1074"/>
                </a:lnTo>
                <a:lnTo>
                  <a:pt x="228" y="1074"/>
                </a:lnTo>
                <a:lnTo>
                  <a:pt x="204" y="1086"/>
                </a:lnTo>
                <a:lnTo>
                  <a:pt x="198" y="1092"/>
                </a:lnTo>
                <a:lnTo>
                  <a:pt x="180" y="1092"/>
                </a:lnTo>
                <a:lnTo>
                  <a:pt x="180" y="1110"/>
                </a:lnTo>
                <a:lnTo>
                  <a:pt x="186" y="1116"/>
                </a:lnTo>
                <a:lnTo>
                  <a:pt x="192" y="1116"/>
                </a:lnTo>
                <a:lnTo>
                  <a:pt x="192" y="1128"/>
                </a:lnTo>
                <a:lnTo>
                  <a:pt x="186" y="1128"/>
                </a:lnTo>
                <a:lnTo>
                  <a:pt x="174" y="1116"/>
                </a:lnTo>
                <a:lnTo>
                  <a:pt x="162" y="1116"/>
                </a:lnTo>
                <a:lnTo>
                  <a:pt x="156" y="1122"/>
                </a:lnTo>
                <a:lnTo>
                  <a:pt x="156" y="1134"/>
                </a:lnTo>
                <a:lnTo>
                  <a:pt x="168" y="1134"/>
                </a:lnTo>
                <a:lnTo>
                  <a:pt x="174" y="1140"/>
                </a:lnTo>
                <a:lnTo>
                  <a:pt x="180" y="1140"/>
                </a:lnTo>
                <a:lnTo>
                  <a:pt x="180" y="1152"/>
                </a:lnTo>
                <a:lnTo>
                  <a:pt x="138" y="1152"/>
                </a:lnTo>
                <a:lnTo>
                  <a:pt x="138" y="1146"/>
                </a:lnTo>
                <a:lnTo>
                  <a:pt x="132" y="1146"/>
                </a:lnTo>
                <a:lnTo>
                  <a:pt x="126" y="1158"/>
                </a:lnTo>
                <a:lnTo>
                  <a:pt x="126" y="1170"/>
                </a:lnTo>
                <a:lnTo>
                  <a:pt x="120" y="1164"/>
                </a:lnTo>
                <a:lnTo>
                  <a:pt x="102" y="1164"/>
                </a:lnTo>
                <a:lnTo>
                  <a:pt x="96" y="1158"/>
                </a:lnTo>
                <a:lnTo>
                  <a:pt x="90" y="1158"/>
                </a:lnTo>
                <a:lnTo>
                  <a:pt x="90" y="1164"/>
                </a:lnTo>
                <a:lnTo>
                  <a:pt x="96" y="1170"/>
                </a:lnTo>
                <a:lnTo>
                  <a:pt x="120" y="1182"/>
                </a:lnTo>
                <a:lnTo>
                  <a:pt x="132" y="1182"/>
                </a:lnTo>
                <a:lnTo>
                  <a:pt x="108" y="1200"/>
                </a:lnTo>
                <a:lnTo>
                  <a:pt x="108" y="1188"/>
                </a:lnTo>
                <a:lnTo>
                  <a:pt x="90" y="1188"/>
                </a:lnTo>
                <a:lnTo>
                  <a:pt x="84" y="1194"/>
                </a:lnTo>
                <a:lnTo>
                  <a:pt x="60" y="1182"/>
                </a:lnTo>
                <a:lnTo>
                  <a:pt x="54" y="1194"/>
                </a:lnTo>
                <a:lnTo>
                  <a:pt x="66" y="1200"/>
                </a:lnTo>
                <a:lnTo>
                  <a:pt x="30" y="1194"/>
                </a:lnTo>
                <a:lnTo>
                  <a:pt x="30" y="1212"/>
                </a:lnTo>
                <a:lnTo>
                  <a:pt x="78" y="1212"/>
                </a:lnTo>
                <a:lnTo>
                  <a:pt x="54" y="1218"/>
                </a:lnTo>
                <a:lnTo>
                  <a:pt x="18" y="1212"/>
                </a:lnTo>
                <a:lnTo>
                  <a:pt x="6" y="1224"/>
                </a:lnTo>
                <a:lnTo>
                  <a:pt x="6" y="1230"/>
                </a:lnTo>
                <a:lnTo>
                  <a:pt x="18" y="1242"/>
                </a:lnTo>
                <a:lnTo>
                  <a:pt x="36" y="1242"/>
                </a:lnTo>
                <a:lnTo>
                  <a:pt x="18" y="1248"/>
                </a:lnTo>
                <a:lnTo>
                  <a:pt x="12" y="1254"/>
                </a:lnTo>
                <a:lnTo>
                  <a:pt x="12" y="1260"/>
                </a:lnTo>
                <a:lnTo>
                  <a:pt x="66" y="1260"/>
                </a:lnTo>
                <a:lnTo>
                  <a:pt x="78" y="1272"/>
                </a:lnTo>
                <a:lnTo>
                  <a:pt x="96" y="1260"/>
                </a:lnTo>
                <a:lnTo>
                  <a:pt x="108" y="1272"/>
                </a:lnTo>
                <a:lnTo>
                  <a:pt x="138" y="1260"/>
                </a:lnTo>
                <a:lnTo>
                  <a:pt x="132" y="1266"/>
                </a:lnTo>
                <a:lnTo>
                  <a:pt x="126" y="1278"/>
                </a:lnTo>
                <a:lnTo>
                  <a:pt x="60" y="1278"/>
                </a:lnTo>
                <a:lnTo>
                  <a:pt x="54" y="1272"/>
                </a:lnTo>
                <a:lnTo>
                  <a:pt x="24" y="1272"/>
                </a:lnTo>
                <a:lnTo>
                  <a:pt x="12" y="1278"/>
                </a:lnTo>
                <a:lnTo>
                  <a:pt x="0" y="1278"/>
                </a:lnTo>
                <a:lnTo>
                  <a:pt x="6" y="1284"/>
                </a:lnTo>
                <a:lnTo>
                  <a:pt x="6" y="1296"/>
                </a:lnTo>
                <a:lnTo>
                  <a:pt x="12" y="1296"/>
                </a:lnTo>
                <a:lnTo>
                  <a:pt x="18" y="1302"/>
                </a:lnTo>
                <a:lnTo>
                  <a:pt x="30" y="1302"/>
                </a:lnTo>
                <a:lnTo>
                  <a:pt x="24" y="1308"/>
                </a:lnTo>
                <a:lnTo>
                  <a:pt x="18" y="1320"/>
                </a:lnTo>
                <a:lnTo>
                  <a:pt x="36" y="1338"/>
                </a:lnTo>
                <a:lnTo>
                  <a:pt x="48" y="1338"/>
                </a:lnTo>
                <a:lnTo>
                  <a:pt x="72" y="1320"/>
                </a:lnTo>
                <a:lnTo>
                  <a:pt x="102" y="1314"/>
                </a:lnTo>
                <a:lnTo>
                  <a:pt x="90" y="1338"/>
                </a:lnTo>
                <a:lnTo>
                  <a:pt x="78" y="1332"/>
                </a:lnTo>
                <a:lnTo>
                  <a:pt x="66" y="1350"/>
                </a:lnTo>
                <a:lnTo>
                  <a:pt x="30" y="1350"/>
                </a:lnTo>
                <a:lnTo>
                  <a:pt x="48" y="1368"/>
                </a:lnTo>
                <a:lnTo>
                  <a:pt x="24" y="1380"/>
                </a:lnTo>
                <a:lnTo>
                  <a:pt x="6" y="1380"/>
                </a:lnTo>
                <a:lnTo>
                  <a:pt x="6" y="1398"/>
                </a:lnTo>
                <a:lnTo>
                  <a:pt x="66" y="1398"/>
                </a:lnTo>
                <a:lnTo>
                  <a:pt x="54" y="1422"/>
                </a:lnTo>
                <a:lnTo>
                  <a:pt x="66" y="1422"/>
                </a:lnTo>
                <a:lnTo>
                  <a:pt x="54" y="1440"/>
                </a:lnTo>
                <a:lnTo>
                  <a:pt x="42" y="1434"/>
                </a:lnTo>
                <a:lnTo>
                  <a:pt x="36" y="1434"/>
                </a:lnTo>
                <a:lnTo>
                  <a:pt x="30" y="1428"/>
                </a:lnTo>
                <a:lnTo>
                  <a:pt x="18" y="1428"/>
                </a:lnTo>
                <a:lnTo>
                  <a:pt x="18" y="1440"/>
                </a:lnTo>
                <a:lnTo>
                  <a:pt x="24" y="1452"/>
                </a:lnTo>
                <a:lnTo>
                  <a:pt x="36" y="1464"/>
                </a:lnTo>
                <a:lnTo>
                  <a:pt x="84" y="1482"/>
                </a:lnTo>
                <a:lnTo>
                  <a:pt x="78" y="1488"/>
                </a:lnTo>
                <a:lnTo>
                  <a:pt x="84" y="1494"/>
                </a:lnTo>
                <a:lnTo>
                  <a:pt x="126" y="1494"/>
                </a:lnTo>
                <a:lnTo>
                  <a:pt x="132" y="1500"/>
                </a:lnTo>
                <a:lnTo>
                  <a:pt x="144" y="1500"/>
                </a:lnTo>
                <a:lnTo>
                  <a:pt x="192" y="1476"/>
                </a:lnTo>
                <a:lnTo>
                  <a:pt x="204" y="1464"/>
                </a:lnTo>
                <a:lnTo>
                  <a:pt x="216" y="1458"/>
                </a:lnTo>
                <a:lnTo>
                  <a:pt x="222" y="1452"/>
                </a:lnTo>
                <a:lnTo>
                  <a:pt x="258" y="1422"/>
                </a:lnTo>
                <a:lnTo>
                  <a:pt x="282" y="1422"/>
                </a:lnTo>
                <a:lnTo>
                  <a:pt x="294" y="1416"/>
                </a:lnTo>
                <a:lnTo>
                  <a:pt x="300" y="1410"/>
                </a:lnTo>
                <a:lnTo>
                  <a:pt x="300" y="1386"/>
                </a:lnTo>
                <a:lnTo>
                  <a:pt x="294" y="1380"/>
                </a:lnTo>
                <a:lnTo>
                  <a:pt x="294" y="1374"/>
                </a:lnTo>
                <a:lnTo>
                  <a:pt x="312" y="1368"/>
                </a:lnTo>
                <a:lnTo>
                  <a:pt x="306" y="1374"/>
                </a:lnTo>
                <a:lnTo>
                  <a:pt x="306" y="1380"/>
                </a:lnTo>
                <a:lnTo>
                  <a:pt x="300" y="1386"/>
                </a:lnTo>
                <a:lnTo>
                  <a:pt x="300" y="1392"/>
                </a:lnTo>
                <a:lnTo>
                  <a:pt x="312" y="1404"/>
                </a:lnTo>
                <a:lnTo>
                  <a:pt x="330" y="1410"/>
                </a:lnTo>
                <a:lnTo>
                  <a:pt x="342" y="1410"/>
                </a:lnTo>
                <a:lnTo>
                  <a:pt x="348" y="1416"/>
                </a:lnTo>
                <a:lnTo>
                  <a:pt x="354" y="1416"/>
                </a:lnTo>
                <a:lnTo>
                  <a:pt x="372" y="1434"/>
                </a:lnTo>
                <a:lnTo>
                  <a:pt x="378" y="1422"/>
                </a:lnTo>
                <a:lnTo>
                  <a:pt x="384" y="1416"/>
                </a:lnTo>
                <a:lnTo>
                  <a:pt x="384" y="1398"/>
                </a:lnTo>
                <a:lnTo>
                  <a:pt x="372" y="1386"/>
                </a:lnTo>
                <a:lnTo>
                  <a:pt x="372" y="1380"/>
                </a:lnTo>
                <a:lnTo>
                  <a:pt x="378" y="1374"/>
                </a:lnTo>
                <a:lnTo>
                  <a:pt x="384" y="1374"/>
                </a:lnTo>
                <a:lnTo>
                  <a:pt x="384" y="1368"/>
                </a:lnTo>
                <a:lnTo>
                  <a:pt x="378" y="1356"/>
                </a:lnTo>
                <a:lnTo>
                  <a:pt x="414" y="1356"/>
                </a:lnTo>
                <a:lnTo>
                  <a:pt x="420" y="1350"/>
                </a:lnTo>
                <a:lnTo>
                  <a:pt x="420" y="1326"/>
                </a:lnTo>
                <a:lnTo>
                  <a:pt x="426" y="1326"/>
                </a:lnTo>
                <a:lnTo>
                  <a:pt x="420" y="1314"/>
                </a:lnTo>
                <a:lnTo>
                  <a:pt x="420" y="1308"/>
                </a:lnTo>
                <a:lnTo>
                  <a:pt x="414" y="1302"/>
                </a:lnTo>
                <a:lnTo>
                  <a:pt x="414" y="1296"/>
                </a:lnTo>
                <a:lnTo>
                  <a:pt x="408" y="1284"/>
                </a:lnTo>
                <a:lnTo>
                  <a:pt x="402" y="1278"/>
                </a:lnTo>
                <a:lnTo>
                  <a:pt x="426" y="1272"/>
                </a:lnTo>
                <a:lnTo>
                  <a:pt x="438" y="1260"/>
                </a:lnTo>
                <a:lnTo>
                  <a:pt x="438" y="1248"/>
                </a:lnTo>
                <a:lnTo>
                  <a:pt x="420" y="1230"/>
                </a:lnTo>
                <a:lnTo>
                  <a:pt x="414" y="1230"/>
                </a:lnTo>
                <a:lnTo>
                  <a:pt x="402" y="1218"/>
                </a:lnTo>
                <a:lnTo>
                  <a:pt x="402" y="1200"/>
                </a:lnTo>
                <a:lnTo>
                  <a:pt x="408" y="1188"/>
                </a:lnTo>
                <a:lnTo>
                  <a:pt x="408" y="1176"/>
                </a:lnTo>
                <a:lnTo>
                  <a:pt x="384" y="1152"/>
                </a:lnTo>
                <a:lnTo>
                  <a:pt x="384" y="1140"/>
                </a:lnTo>
                <a:lnTo>
                  <a:pt x="390" y="1134"/>
                </a:lnTo>
                <a:lnTo>
                  <a:pt x="396" y="1134"/>
                </a:lnTo>
                <a:lnTo>
                  <a:pt x="402" y="1128"/>
                </a:lnTo>
                <a:lnTo>
                  <a:pt x="402" y="1122"/>
                </a:lnTo>
                <a:lnTo>
                  <a:pt x="396" y="1116"/>
                </a:lnTo>
                <a:lnTo>
                  <a:pt x="390" y="1116"/>
                </a:lnTo>
                <a:lnTo>
                  <a:pt x="384" y="1110"/>
                </a:lnTo>
                <a:lnTo>
                  <a:pt x="426" y="1068"/>
                </a:lnTo>
                <a:lnTo>
                  <a:pt x="438" y="1062"/>
                </a:lnTo>
                <a:lnTo>
                  <a:pt x="444" y="1056"/>
                </a:lnTo>
                <a:lnTo>
                  <a:pt x="456" y="1050"/>
                </a:lnTo>
                <a:lnTo>
                  <a:pt x="498" y="1050"/>
                </a:lnTo>
                <a:lnTo>
                  <a:pt x="504" y="1044"/>
                </a:lnTo>
                <a:lnTo>
                  <a:pt x="504" y="1038"/>
                </a:lnTo>
                <a:lnTo>
                  <a:pt x="486" y="1020"/>
                </a:lnTo>
                <a:lnTo>
                  <a:pt x="474" y="1014"/>
                </a:lnTo>
                <a:lnTo>
                  <a:pt x="486" y="1008"/>
                </a:lnTo>
                <a:lnTo>
                  <a:pt x="492" y="1008"/>
                </a:lnTo>
                <a:lnTo>
                  <a:pt x="522" y="978"/>
                </a:lnTo>
                <a:lnTo>
                  <a:pt x="528" y="936"/>
                </a:lnTo>
                <a:lnTo>
                  <a:pt x="528" y="900"/>
                </a:lnTo>
                <a:lnTo>
                  <a:pt x="546" y="912"/>
                </a:lnTo>
                <a:lnTo>
                  <a:pt x="558" y="906"/>
                </a:lnTo>
                <a:lnTo>
                  <a:pt x="564" y="906"/>
                </a:lnTo>
                <a:lnTo>
                  <a:pt x="570" y="900"/>
                </a:lnTo>
                <a:lnTo>
                  <a:pt x="576" y="900"/>
                </a:lnTo>
                <a:lnTo>
                  <a:pt x="576" y="894"/>
                </a:lnTo>
                <a:lnTo>
                  <a:pt x="570" y="888"/>
                </a:lnTo>
                <a:lnTo>
                  <a:pt x="570" y="882"/>
                </a:lnTo>
                <a:lnTo>
                  <a:pt x="564" y="876"/>
                </a:lnTo>
                <a:lnTo>
                  <a:pt x="582" y="876"/>
                </a:lnTo>
                <a:lnTo>
                  <a:pt x="588" y="870"/>
                </a:lnTo>
                <a:lnTo>
                  <a:pt x="588" y="864"/>
                </a:lnTo>
                <a:lnTo>
                  <a:pt x="594" y="858"/>
                </a:lnTo>
                <a:lnTo>
                  <a:pt x="606" y="852"/>
                </a:lnTo>
                <a:lnTo>
                  <a:pt x="612" y="852"/>
                </a:lnTo>
                <a:lnTo>
                  <a:pt x="618" y="834"/>
                </a:lnTo>
                <a:lnTo>
                  <a:pt x="612" y="828"/>
                </a:lnTo>
                <a:lnTo>
                  <a:pt x="600" y="822"/>
                </a:lnTo>
                <a:lnTo>
                  <a:pt x="600" y="810"/>
                </a:lnTo>
                <a:lnTo>
                  <a:pt x="606" y="810"/>
                </a:lnTo>
                <a:lnTo>
                  <a:pt x="618" y="804"/>
                </a:lnTo>
                <a:lnTo>
                  <a:pt x="636" y="786"/>
                </a:lnTo>
                <a:lnTo>
                  <a:pt x="678" y="780"/>
                </a:lnTo>
                <a:lnTo>
                  <a:pt x="696" y="780"/>
                </a:lnTo>
                <a:lnTo>
                  <a:pt x="702" y="774"/>
                </a:lnTo>
                <a:lnTo>
                  <a:pt x="702" y="744"/>
                </a:lnTo>
                <a:lnTo>
                  <a:pt x="714" y="732"/>
                </a:lnTo>
                <a:lnTo>
                  <a:pt x="720" y="738"/>
                </a:lnTo>
                <a:lnTo>
                  <a:pt x="720" y="750"/>
                </a:lnTo>
                <a:lnTo>
                  <a:pt x="744" y="744"/>
                </a:lnTo>
                <a:lnTo>
                  <a:pt x="768" y="750"/>
                </a:lnTo>
                <a:lnTo>
                  <a:pt x="792" y="750"/>
                </a:lnTo>
                <a:lnTo>
                  <a:pt x="798" y="756"/>
                </a:lnTo>
                <a:lnTo>
                  <a:pt x="810" y="756"/>
                </a:lnTo>
                <a:lnTo>
                  <a:pt x="816" y="750"/>
                </a:lnTo>
                <a:lnTo>
                  <a:pt x="810" y="750"/>
                </a:lnTo>
                <a:lnTo>
                  <a:pt x="798" y="738"/>
                </a:lnTo>
                <a:lnTo>
                  <a:pt x="798" y="732"/>
                </a:lnTo>
                <a:lnTo>
                  <a:pt x="810" y="732"/>
                </a:lnTo>
                <a:lnTo>
                  <a:pt x="810" y="708"/>
                </a:lnTo>
                <a:lnTo>
                  <a:pt x="840" y="714"/>
                </a:lnTo>
                <a:lnTo>
                  <a:pt x="834" y="708"/>
                </a:lnTo>
                <a:lnTo>
                  <a:pt x="840" y="702"/>
                </a:lnTo>
                <a:lnTo>
                  <a:pt x="858" y="708"/>
                </a:lnTo>
                <a:lnTo>
                  <a:pt x="858" y="696"/>
                </a:lnTo>
                <a:lnTo>
                  <a:pt x="864" y="690"/>
                </a:lnTo>
                <a:lnTo>
                  <a:pt x="882" y="690"/>
                </a:lnTo>
                <a:lnTo>
                  <a:pt x="888" y="696"/>
                </a:lnTo>
                <a:lnTo>
                  <a:pt x="894" y="708"/>
                </a:lnTo>
                <a:lnTo>
                  <a:pt x="906" y="714"/>
                </a:lnTo>
                <a:lnTo>
                  <a:pt x="918" y="726"/>
                </a:lnTo>
                <a:lnTo>
                  <a:pt x="930" y="726"/>
                </a:lnTo>
                <a:lnTo>
                  <a:pt x="942" y="732"/>
                </a:lnTo>
                <a:lnTo>
                  <a:pt x="960" y="732"/>
                </a:lnTo>
                <a:lnTo>
                  <a:pt x="966" y="738"/>
                </a:lnTo>
                <a:lnTo>
                  <a:pt x="978" y="738"/>
                </a:lnTo>
                <a:lnTo>
                  <a:pt x="990" y="732"/>
                </a:lnTo>
                <a:lnTo>
                  <a:pt x="996" y="726"/>
                </a:lnTo>
                <a:lnTo>
                  <a:pt x="1026" y="726"/>
                </a:lnTo>
                <a:lnTo>
                  <a:pt x="1038" y="732"/>
                </a:lnTo>
                <a:lnTo>
                  <a:pt x="1044" y="738"/>
                </a:lnTo>
                <a:lnTo>
                  <a:pt x="1062" y="738"/>
                </a:lnTo>
                <a:lnTo>
                  <a:pt x="1062" y="726"/>
                </a:lnTo>
                <a:lnTo>
                  <a:pt x="1068" y="720"/>
                </a:lnTo>
                <a:lnTo>
                  <a:pt x="1068" y="714"/>
                </a:lnTo>
                <a:lnTo>
                  <a:pt x="1092" y="714"/>
                </a:lnTo>
                <a:lnTo>
                  <a:pt x="1092" y="678"/>
                </a:lnTo>
                <a:lnTo>
                  <a:pt x="1098" y="672"/>
                </a:lnTo>
                <a:lnTo>
                  <a:pt x="1098" y="660"/>
                </a:lnTo>
                <a:lnTo>
                  <a:pt x="1110" y="654"/>
                </a:lnTo>
                <a:lnTo>
                  <a:pt x="1116" y="654"/>
                </a:lnTo>
                <a:lnTo>
                  <a:pt x="1128" y="648"/>
                </a:lnTo>
                <a:lnTo>
                  <a:pt x="1158" y="648"/>
                </a:lnTo>
                <a:lnTo>
                  <a:pt x="1170" y="642"/>
                </a:lnTo>
                <a:lnTo>
                  <a:pt x="1206" y="642"/>
                </a:lnTo>
                <a:lnTo>
                  <a:pt x="1206" y="654"/>
                </a:lnTo>
                <a:lnTo>
                  <a:pt x="1242" y="660"/>
                </a:lnTo>
                <a:lnTo>
                  <a:pt x="1248" y="660"/>
                </a:lnTo>
                <a:lnTo>
                  <a:pt x="1260" y="672"/>
                </a:lnTo>
                <a:lnTo>
                  <a:pt x="1266" y="684"/>
                </a:lnTo>
                <a:lnTo>
                  <a:pt x="1266" y="702"/>
                </a:lnTo>
                <a:lnTo>
                  <a:pt x="1260" y="702"/>
                </a:lnTo>
                <a:lnTo>
                  <a:pt x="1260" y="696"/>
                </a:lnTo>
                <a:lnTo>
                  <a:pt x="1254" y="696"/>
                </a:lnTo>
                <a:lnTo>
                  <a:pt x="1254" y="708"/>
                </a:lnTo>
                <a:lnTo>
                  <a:pt x="1278" y="708"/>
                </a:lnTo>
                <a:lnTo>
                  <a:pt x="1284" y="696"/>
                </a:lnTo>
                <a:lnTo>
                  <a:pt x="1284" y="690"/>
                </a:lnTo>
                <a:lnTo>
                  <a:pt x="1308" y="684"/>
                </a:lnTo>
                <a:lnTo>
                  <a:pt x="1314" y="672"/>
                </a:lnTo>
                <a:lnTo>
                  <a:pt x="1350" y="672"/>
                </a:lnTo>
                <a:lnTo>
                  <a:pt x="1362" y="660"/>
                </a:lnTo>
                <a:lnTo>
                  <a:pt x="1356" y="660"/>
                </a:lnTo>
                <a:close/>
                <a:moveTo>
                  <a:pt x="564" y="726"/>
                </a:moveTo>
                <a:lnTo>
                  <a:pt x="540" y="738"/>
                </a:lnTo>
                <a:lnTo>
                  <a:pt x="546" y="756"/>
                </a:lnTo>
                <a:lnTo>
                  <a:pt x="576" y="756"/>
                </a:lnTo>
                <a:lnTo>
                  <a:pt x="570" y="738"/>
                </a:lnTo>
                <a:lnTo>
                  <a:pt x="564" y="726"/>
                </a:lnTo>
                <a:close/>
                <a:moveTo>
                  <a:pt x="522" y="714"/>
                </a:moveTo>
                <a:lnTo>
                  <a:pt x="516" y="720"/>
                </a:lnTo>
                <a:lnTo>
                  <a:pt x="510" y="732"/>
                </a:lnTo>
                <a:lnTo>
                  <a:pt x="510" y="750"/>
                </a:lnTo>
                <a:lnTo>
                  <a:pt x="528" y="768"/>
                </a:lnTo>
                <a:lnTo>
                  <a:pt x="528" y="756"/>
                </a:lnTo>
                <a:lnTo>
                  <a:pt x="534" y="744"/>
                </a:lnTo>
                <a:lnTo>
                  <a:pt x="534" y="720"/>
                </a:lnTo>
                <a:lnTo>
                  <a:pt x="528" y="714"/>
                </a:lnTo>
                <a:lnTo>
                  <a:pt x="522" y="714"/>
                </a:lnTo>
                <a:close/>
                <a:moveTo>
                  <a:pt x="606" y="738"/>
                </a:moveTo>
                <a:lnTo>
                  <a:pt x="618" y="732"/>
                </a:lnTo>
                <a:lnTo>
                  <a:pt x="624" y="732"/>
                </a:lnTo>
                <a:lnTo>
                  <a:pt x="630" y="726"/>
                </a:lnTo>
                <a:lnTo>
                  <a:pt x="618" y="720"/>
                </a:lnTo>
                <a:lnTo>
                  <a:pt x="588" y="720"/>
                </a:lnTo>
                <a:lnTo>
                  <a:pt x="576" y="732"/>
                </a:lnTo>
                <a:lnTo>
                  <a:pt x="582" y="744"/>
                </a:lnTo>
                <a:lnTo>
                  <a:pt x="606" y="73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2" name="Nigeria"/>
          <p:cNvSpPr>
            <a:spLocks/>
          </p:cNvSpPr>
          <p:nvPr/>
        </p:nvSpPr>
        <p:spPr bwMode="gray">
          <a:xfrm>
            <a:off x="4096608" y="3809080"/>
            <a:ext cx="336550" cy="311150"/>
          </a:xfrm>
          <a:custGeom>
            <a:avLst/>
            <a:gdLst>
              <a:gd name="T0" fmla="*/ 2147483647 w 840"/>
              <a:gd name="T1" fmla="*/ 2147483647 h 768"/>
              <a:gd name="T2" fmla="*/ 2147483647 w 840"/>
              <a:gd name="T3" fmla="*/ 2147483647 h 768"/>
              <a:gd name="T4" fmla="*/ 2147483647 w 840"/>
              <a:gd name="T5" fmla="*/ 2147483647 h 768"/>
              <a:gd name="T6" fmla="*/ 2147483647 w 840"/>
              <a:gd name="T7" fmla="*/ 2147483647 h 768"/>
              <a:gd name="T8" fmla="*/ 2147483647 w 840"/>
              <a:gd name="T9" fmla="*/ 2147483647 h 768"/>
              <a:gd name="T10" fmla="*/ 2147483647 w 840"/>
              <a:gd name="T11" fmla="*/ 2147483647 h 768"/>
              <a:gd name="T12" fmla="*/ 2147483647 w 840"/>
              <a:gd name="T13" fmla="*/ 2147483647 h 768"/>
              <a:gd name="T14" fmla="*/ 2147483647 w 840"/>
              <a:gd name="T15" fmla="*/ 2147483647 h 768"/>
              <a:gd name="T16" fmla="*/ 2147483647 w 840"/>
              <a:gd name="T17" fmla="*/ 2147483647 h 768"/>
              <a:gd name="T18" fmla="*/ 2147483647 w 840"/>
              <a:gd name="T19" fmla="*/ 2147483647 h 768"/>
              <a:gd name="T20" fmla="*/ 2147483647 w 840"/>
              <a:gd name="T21" fmla="*/ 2147483647 h 768"/>
              <a:gd name="T22" fmla="*/ 2147483647 w 840"/>
              <a:gd name="T23" fmla="*/ 2147483647 h 768"/>
              <a:gd name="T24" fmla="*/ 2147483647 w 840"/>
              <a:gd name="T25" fmla="*/ 2147483647 h 768"/>
              <a:gd name="T26" fmla="*/ 2147483647 w 840"/>
              <a:gd name="T27" fmla="*/ 2147483647 h 768"/>
              <a:gd name="T28" fmla="*/ 2147483647 w 840"/>
              <a:gd name="T29" fmla="*/ 2147483647 h 768"/>
              <a:gd name="T30" fmla="*/ 2147483647 w 840"/>
              <a:gd name="T31" fmla="*/ 2147483647 h 768"/>
              <a:gd name="T32" fmla="*/ 2147483647 w 840"/>
              <a:gd name="T33" fmla="*/ 2147483647 h 768"/>
              <a:gd name="T34" fmla="*/ 2147483647 w 840"/>
              <a:gd name="T35" fmla="*/ 2147483647 h 768"/>
              <a:gd name="T36" fmla="*/ 2147483647 w 840"/>
              <a:gd name="T37" fmla="*/ 2147483647 h 768"/>
              <a:gd name="T38" fmla="*/ 2147483647 w 840"/>
              <a:gd name="T39" fmla="*/ 2147483647 h 768"/>
              <a:gd name="T40" fmla="*/ 2147483647 w 840"/>
              <a:gd name="T41" fmla="*/ 2147483647 h 768"/>
              <a:gd name="T42" fmla="*/ 2147483647 w 840"/>
              <a:gd name="T43" fmla="*/ 2147483647 h 768"/>
              <a:gd name="T44" fmla="*/ 2147483647 w 840"/>
              <a:gd name="T45" fmla="*/ 2147483647 h 768"/>
              <a:gd name="T46" fmla="*/ 2147483647 w 840"/>
              <a:gd name="T47" fmla="*/ 2147483647 h 768"/>
              <a:gd name="T48" fmla="*/ 2147483647 w 840"/>
              <a:gd name="T49" fmla="*/ 2147483647 h 768"/>
              <a:gd name="T50" fmla="*/ 2147483647 w 840"/>
              <a:gd name="T51" fmla="*/ 2147483647 h 768"/>
              <a:gd name="T52" fmla="*/ 2147483647 w 840"/>
              <a:gd name="T53" fmla="*/ 2147483647 h 768"/>
              <a:gd name="T54" fmla="*/ 2147483647 w 840"/>
              <a:gd name="T55" fmla="*/ 2147483647 h 768"/>
              <a:gd name="T56" fmla="*/ 2147483647 w 840"/>
              <a:gd name="T57" fmla="*/ 2147483647 h 768"/>
              <a:gd name="T58" fmla="*/ 2147483647 w 840"/>
              <a:gd name="T59" fmla="*/ 2147483647 h 768"/>
              <a:gd name="T60" fmla="*/ 2147483647 w 840"/>
              <a:gd name="T61" fmla="*/ 2147483647 h 768"/>
              <a:gd name="T62" fmla="*/ 2147483647 w 840"/>
              <a:gd name="T63" fmla="*/ 2147483647 h 768"/>
              <a:gd name="T64" fmla="*/ 2147483647 w 840"/>
              <a:gd name="T65" fmla="*/ 2147483647 h 768"/>
              <a:gd name="T66" fmla="*/ 2147483647 w 840"/>
              <a:gd name="T67" fmla="*/ 2147483647 h 768"/>
              <a:gd name="T68" fmla="*/ 2147483647 w 840"/>
              <a:gd name="T69" fmla="*/ 2147483647 h 768"/>
              <a:gd name="T70" fmla="*/ 2147483647 w 840"/>
              <a:gd name="T71" fmla="*/ 2147483647 h 768"/>
              <a:gd name="T72" fmla="*/ 2147483647 w 840"/>
              <a:gd name="T73" fmla="*/ 2147483647 h 768"/>
              <a:gd name="T74" fmla="*/ 2147483647 w 840"/>
              <a:gd name="T75" fmla="*/ 2147483647 h 768"/>
              <a:gd name="T76" fmla="*/ 2147483647 w 840"/>
              <a:gd name="T77" fmla="*/ 2147483647 h 768"/>
              <a:gd name="T78" fmla="*/ 2147483647 w 840"/>
              <a:gd name="T79" fmla="*/ 2147483647 h 768"/>
              <a:gd name="T80" fmla="*/ 2147483647 w 840"/>
              <a:gd name="T81" fmla="*/ 2147483647 h 768"/>
              <a:gd name="T82" fmla="*/ 2147483647 w 840"/>
              <a:gd name="T83" fmla="*/ 2147483647 h 768"/>
              <a:gd name="T84" fmla="*/ 2147483647 w 840"/>
              <a:gd name="T85" fmla="*/ 2147483647 h 768"/>
              <a:gd name="T86" fmla="*/ 2147483647 w 840"/>
              <a:gd name="T87" fmla="*/ 2147483647 h 768"/>
              <a:gd name="T88" fmla="*/ 2147483647 w 840"/>
              <a:gd name="T89" fmla="*/ 2147483647 h 768"/>
              <a:gd name="T90" fmla="*/ 2147483647 w 840"/>
              <a:gd name="T91" fmla="*/ 2147483647 h 768"/>
              <a:gd name="T92" fmla="*/ 2147483647 w 840"/>
              <a:gd name="T93" fmla="*/ 2147483647 h 768"/>
              <a:gd name="T94" fmla="*/ 2147483647 w 840"/>
              <a:gd name="T95" fmla="*/ 2147483647 h 768"/>
              <a:gd name="T96" fmla="*/ 2147483647 w 840"/>
              <a:gd name="T97" fmla="*/ 2147483647 h 768"/>
              <a:gd name="T98" fmla="*/ 2147483647 w 840"/>
              <a:gd name="T99" fmla="*/ 2147483647 h 768"/>
              <a:gd name="T100" fmla="*/ 2147483647 w 840"/>
              <a:gd name="T101" fmla="*/ 2147483647 h 768"/>
              <a:gd name="T102" fmla="*/ 2147483647 w 840"/>
              <a:gd name="T103" fmla="*/ 2147483647 h 768"/>
              <a:gd name="T104" fmla="*/ 2147483647 w 840"/>
              <a:gd name="T105" fmla="*/ 2147483647 h 768"/>
              <a:gd name="T106" fmla="*/ 2147483647 w 840"/>
              <a:gd name="T107" fmla="*/ 2147483647 h 768"/>
              <a:gd name="T108" fmla="*/ 2147483647 w 840"/>
              <a:gd name="T109" fmla="*/ 2147483647 h 768"/>
              <a:gd name="T110" fmla="*/ 2147483647 w 840"/>
              <a:gd name="T111" fmla="*/ 2147483647 h 768"/>
              <a:gd name="T112" fmla="*/ 2147483647 w 840"/>
              <a:gd name="T113" fmla="*/ 2147483647 h 768"/>
              <a:gd name="T114" fmla="*/ 2147483647 w 840"/>
              <a:gd name="T115" fmla="*/ 2147483647 h 768"/>
              <a:gd name="T116" fmla="*/ 2147483647 w 840"/>
              <a:gd name="T117" fmla="*/ 2147483647 h 768"/>
              <a:gd name="T118" fmla="*/ 2147483647 w 840"/>
              <a:gd name="T119" fmla="*/ 2147483647 h 76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840"/>
              <a:gd name="T181" fmla="*/ 0 h 768"/>
              <a:gd name="T182" fmla="*/ 840 w 840"/>
              <a:gd name="T183" fmla="*/ 768 h 76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840" h="768">
                <a:moveTo>
                  <a:pt x="420" y="738"/>
                </a:moveTo>
                <a:lnTo>
                  <a:pt x="420" y="732"/>
                </a:lnTo>
                <a:lnTo>
                  <a:pt x="426" y="726"/>
                </a:lnTo>
                <a:lnTo>
                  <a:pt x="426" y="714"/>
                </a:lnTo>
                <a:lnTo>
                  <a:pt x="432" y="702"/>
                </a:lnTo>
                <a:lnTo>
                  <a:pt x="432" y="648"/>
                </a:lnTo>
                <a:lnTo>
                  <a:pt x="498" y="594"/>
                </a:lnTo>
                <a:lnTo>
                  <a:pt x="498" y="588"/>
                </a:lnTo>
                <a:lnTo>
                  <a:pt x="504" y="582"/>
                </a:lnTo>
                <a:lnTo>
                  <a:pt x="516" y="558"/>
                </a:lnTo>
                <a:lnTo>
                  <a:pt x="522" y="552"/>
                </a:lnTo>
                <a:lnTo>
                  <a:pt x="528" y="552"/>
                </a:lnTo>
                <a:lnTo>
                  <a:pt x="534" y="558"/>
                </a:lnTo>
                <a:lnTo>
                  <a:pt x="546" y="564"/>
                </a:lnTo>
                <a:lnTo>
                  <a:pt x="552" y="564"/>
                </a:lnTo>
                <a:lnTo>
                  <a:pt x="558" y="558"/>
                </a:lnTo>
                <a:lnTo>
                  <a:pt x="558" y="546"/>
                </a:lnTo>
                <a:lnTo>
                  <a:pt x="552" y="540"/>
                </a:lnTo>
                <a:lnTo>
                  <a:pt x="564" y="540"/>
                </a:lnTo>
                <a:lnTo>
                  <a:pt x="570" y="552"/>
                </a:lnTo>
                <a:lnTo>
                  <a:pt x="582" y="564"/>
                </a:lnTo>
                <a:lnTo>
                  <a:pt x="588" y="576"/>
                </a:lnTo>
                <a:lnTo>
                  <a:pt x="588" y="582"/>
                </a:lnTo>
                <a:lnTo>
                  <a:pt x="594" y="594"/>
                </a:lnTo>
                <a:lnTo>
                  <a:pt x="600" y="600"/>
                </a:lnTo>
                <a:lnTo>
                  <a:pt x="606" y="600"/>
                </a:lnTo>
                <a:lnTo>
                  <a:pt x="624" y="582"/>
                </a:lnTo>
                <a:lnTo>
                  <a:pt x="624" y="570"/>
                </a:lnTo>
                <a:lnTo>
                  <a:pt x="630" y="558"/>
                </a:lnTo>
                <a:lnTo>
                  <a:pt x="642" y="552"/>
                </a:lnTo>
                <a:lnTo>
                  <a:pt x="648" y="546"/>
                </a:lnTo>
                <a:lnTo>
                  <a:pt x="648" y="516"/>
                </a:lnTo>
                <a:lnTo>
                  <a:pt x="672" y="486"/>
                </a:lnTo>
                <a:lnTo>
                  <a:pt x="684" y="438"/>
                </a:lnTo>
                <a:lnTo>
                  <a:pt x="696" y="432"/>
                </a:lnTo>
                <a:lnTo>
                  <a:pt x="702" y="426"/>
                </a:lnTo>
                <a:lnTo>
                  <a:pt x="714" y="420"/>
                </a:lnTo>
                <a:lnTo>
                  <a:pt x="720" y="414"/>
                </a:lnTo>
                <a:lnTo>
                  <a:pt x="720" y="402"/>
                </a:lnTo>
                <a:lnTo>
                  <a:pt x="726" y="384"/>
                </a:lnTo>
                <a:lnTo>
                  <a:pt x="726" y="354"/>
                </a:lnTo>
                <a:lnTo>
                  <a:pt x="744" y="354"/>
                </a:lnTo>
                <a:lnTo>
                  <a:pt x="750" y="348"/>
                </a:lnTo>
                <a:lnTo>
                  <a:pt x="756" y="330"/>
                </a:lnTo>
                <a:lnTo>
                  <a:pt x="756" y="300"/>
                </a:lnTo>
                <a:lnTo>
                  <a:pt x="762" y="294"/>
                </a:lnTo>
                <a:lnTo>
                  <a:pt x="768" y="264"/>
                </a:lnTo>
                <a:lnTo>
                  <a:pt x="774" y="252"/>
                </a:lnTo>
                <a:lnTo>
                  <a:pt x="786" y="240"/>
                </a:lnTo>
                <a:lnTo>
                  <a:pt x="786" y="234"/>
                </a:lnTo>
                <a:lnTo>
                  <a:pt x="792" y="228"/>
                </a:lnTo>
                <a:lnTo>
                  <a:pt x="792" y="222"/>
                </a:lnTo>
                <a:lnTo>
                  <a:pt x="798" y="216"/>
                </a:lnTo>
                <a:lnTo>
                  <a:pt x="798" y="210"/>
                </a:lnTo>
                <a:lnTo>
                  <a:pt x="810" y="210"/>
                </a:lnTo>
                <a:lnTo>
                  <a:pt x="822" y="204"/>
                </a:lnTo>
                <a:lnTo>
                  <a:pt x="840" y="186"/>
                </a:lnTo>
                <a:lnTo>
                  <a:pt x="840" y="174"/>
                </a:lnTo>
                <a:lnTo>
                  <a:pt x="834" y="168"/>
                </a:lnTo>
                <a:lnTo>
                  <a:pt x="834" y="162"/>
                </a:lnTo>
                <a:lnTo>
                  <a:pt x="840" y="156"/>
                </a:lnTo>
                <a:lnTo>
                  <a:pt x="840" y="126"/>
                </a:lnTo>
                <a:lnTo>
                  <a:pt x="810" y="126"/>
                </a:lnTo>
                <a:lnTo>
                  <a:pt x="810" y="120"/>
                </a:lnTo>
                <a:lnTo>
                  <a:pt x="804" y="108"/>
                </a:lnTo>
                <a:lnTo>
                  <a:pt x="804" y="60"/>
                </a:lnTo>
                <a:lnTo>
                  <a:pt x="774" y="12"/>
                </a:lnTo>
                <a:lnTo>
                  <a:pt x="756" y="12"/>
                </a:lnTo>
                <a:lnTo>
                  <a:pt x="750" y="18"/>
                </a:lnTo>
                <a:lnTo>
                  <a:pt x="750" y="24"/>
                </a:lnTo>
                <a:lnTo>
                  <a:pt x="744" y="30"/>
                </a:lnTo>
                <a:lnTo>
                  <a:pt x="744" y="36"/>
                </a:lnTo>
                <a:lnTo>
                  <a:pt x="720" y="36"/>
                </a:lnTo>
                <a:lnTo>
                  <a:pt x="714" y="42"/>
                </a:lnTo>
                <a:lnTo>
                  <a:pt x="702" y="48"/>
                </a:lnTo>
                <a:lnTo>
                  <a:pt x="696" y="54"/>
                </a:lnTo>
                <a:lnTo>
                  <a:pt x="684" y="60"/>
                </a:lnTo>
                <a:lnTo>
                  <a:pt x="654" y="60"/>
                </a:lnTo>
                <a:lnTo>
                  <a:pt x="648" y="54"/>
                </a:lnTo>
                <a:lnTo>
                  <a:pt x="636" y="48"/>
                </a:lnTo>
                <a:lnTo>
                  <a:pt x="600" y="36"/>
                </a:lnTo>
                <a:lnTo>
                  <a:pt x="546" y="36"/>
                </a:lnTo>
                <a:lnTo>
                  <a:pt x="528" y="42"/>
                </a:lnTo>
                <a:lnTo>
                  <a:pt x="516" y="54"/>
                </a:lnTo>
                <a:lnTo>
                  <a:pt x="504" y="60"/>
                </a:lnTo>
                <a:lnTo>
                  <a:pt x="492" y="84"/>
                </a:lnTo>
                <a:lnTo>
                  <a:pt x="486" y="90"/>
                </a:lnTo>
                <a:lnTo>
                  <a:pt x="480" y="90"/>
                </a:lnTo>
                <a:lnTo>
                  <a:pt x="468" y="84"/>
                </a:lnTo>
                <a:lnTo>
                  <a:pt x="438" y="84"/>
                </a:lnTo>
                <a:lnTo>
                  <a:pt x="414" y="72"/>
                </a:lnTo>
                <a:lnTo>
                  <a:pt x="402" y="60"/>
                </a:lnTo>
                <a:lnTo>
                  <a:pt x="390" y="54"/>
                </a:lnTo>
                <a:lnTo>
                  <a:pt x="384" y="48"/>
                </a:lnTo>
                <a:lnTo>
                  <a:pt x="372" y="42"/>
                </a:lnTo>
                <a:lnTo>
                  <a:pt x="360" y="42"/>
                </a:lnTo>
                <a:lnTo>
                  <a:pt x="336" y="54"/>
                </a:lnTo>
                <a:lnTo>
                  <a:pt x="324" y="66"/>
                </a:lnTo>
                <a:lnTo>
                  <a:pt x="312" y="72"/>
                </a:lnTo>
                <a:lnTo>
                  <a:pt x="306" y="72"/>
                </a:lnTo>
                <a:lnTo>
                  <a:pt x="294" y="66"/>
                </a:lnTo>
                <a:lnTo>
                  <a:pt x="288" y="60"/>
                </a:lnTo>
                <a:lnTo>
                  <a:pt x="288" y="54"/>
                </a:lnTo>
                <a:lnTo>
                  <a:pt x="282" y="48"/>
                </a:lnTo>
                <a:lnTo>
                  <a:pt x="282" y="42"/>
                </a:lnTo>
                <a:lnTo>
                  <a:pt x="258" y="18"/>
                </a:lnTo>
                <a:lnTo>
                  <a:pt x="222" y="18"/>
                </a:lnTo>
                <a:lnTo>
                  <a:pt x="222" y="12"/>
                </a:lnTo>
                <a:lnTo>
                  <a:pt x="210" y="0"/>
                </a:lnTo>
                <a:lnTo>
                  <a:pt x="198" y="0"/>
                </a:lnTo>
                <a:lnTo>
                  <a:pt x="186" y="6"/>
                </a:lnTo>
                <a:lnTo>
                  <a:pt x="180" y="6"/>
                </a:lnTo>
                <a:lnTo>
                  <a:pt x="180" y="12"/>
                </a:lnTo>
                <a:lnTo>
                  <a:pt x="126" y="12"/>
                </a:lnTo>
                <a:lnTo>
                  <a:pt x="102" y="36"/>
                </a:lnTo>
                <a:lnTo>
                  <a:pt x="102" y="60"/>
                </a:lnTo>
                <a:lnTo>
                  <a:pt x="96" y="78"/>
                </a:lnTo>
                <a:lnTo>
                  <a:pt x="90" y="90"/>
                </a:lnTo>
                <a:lnTo>
                  <a:pt x="84" y="96"/>
                </a:lnTo>
                <a:lnTo>
                  <a:pt x="78" y="108"/>
                </a:lnTo>
                <a:lnTo>
                  <a:pt x="72" y="114"/>
                </a:lnTo>
                <a:lnTo>
                  <a:pt x="66" y="114"/>
                </a:lnTo>
                <a:lnTo>
                  <a:pt x="66" y="168"/>
                </a:lnTo>
                <a:lnTo>
                  <a:pt x="60" y="180"/>
                </a:lnTo>
                <a:lnTo>
                  <a:pt x="60" y="186"/>
                </a:lnTo>
                <a:lnTo>
                  <a:pt x="54" y="192"/>
                </a:lnTo>
                <a:lnTo>
                  <a:pt x="66" y="216"/>
                </a:lnTo>
                <a:lnTo>
                  <a:pt x="72" y="222"/>
                </a:lnTo>
                <a:lnTo>
                  <a:pt x="78" y="234"/>
                </a:lnTo>
                <a:lnTo>
                  <a:pt x="78" y="246"/>
                </a:lnTo>
                <a:lnTo>
                  <a:pt x="84" y="252"/>
                </a:lnTo>
                <a:lnTo>
                  <a:pt x="84" y="264"/>
                </a:lnTo>
                <a:lnTo>
                  <a:pt x="78" y="270"/>
                </a:lnTo>
                <a:lnTo>
                  <a:pt x="72" y="270"/>
                </a:lnTo>
                <a:lnTo>
                  <a:pt x="60" y="276"/>
                </a:lnTo>
                <a:lnTo>
                  <a:pt x="60" y="318"/>
                </a:lnTo>
                <a:lnTo>
                  <a:pt x="48" y="324"/>
                </a:lnTo>
                <a:lnTo>
                  <a:pt x="42" y="336"/>
                </a:lnTo>
                <a:lnTo>
                  <a:pt x="36" y="342"/>
                </a:lnTo>
                <a:lnTo>
                  <a:pt x="36" y="372"/>
                </a:lnTo>
                <a:lnTo>
                  <a:pt x="24" y="396"/>
                </a:lnTo>
                <a:lnTo>
                  <a:pt x="6" y="396"/>
                </a:lnTo>
                <a:lnTo>
                  <a:pt x="0" y="426"/>
                </a:lnTo>
                <a:lnTo>
                  <a:pt x="6" y="462"/>
                </a:lnTo>
                <a:lnTo>
                  <a:pt x="0" y="492"/>
                </a:lnTo>
                <a:lnTo>
                  <a:pt x="0" y="606"/>
                </a:lnTo>
                <a:lnTo>
                  <a:pt x="6" y="612"/>
                </a:lnTo>
                <a:lnTo>
                  <a:pt x="30" y="612"/>
                </a:lnTo>
                <a:lnTo>
                  <a:pt x="54" y="600"/>
                </a:lnTo>
                <a:lnTo>
                  <a:pt x="60" y="594"/>
                </a:lnTo>
                <a:lnTo>
                  <a:pt x="66" y="600"/>
                </a:lnTo>
                <a:lnTo>
                  <a:pt x="108" y="600"/>
                </a:lnTo>
                <a:lnTo>
                  <a:pt x="126" y="606"/>
                </a:lnTo>
                <a:lnTo>
                  <a:pt x="138" y="618"/>
                </a:lnTo>
                <a:lnTo>
                  <a:pt x="150" y="636"/>
                </a:lnTo>
                <a:lnTo>
                  <a:pt x="156" y="648"/>
                </a:lnTo>
                <a:lnTo>
                  <a:pt x="168" y="660"/>
                </a:lnTo>
                <a:lnTo>
                  <a:pt x="186" y="660"/>
                </a:lnTo>
                <a:lnTo>
                  <a:pt x="180" y="666"/>
                </a:lnTo>
                <a:lnTo>
                  <a:pt x="180" y="678"/>
                </a:lnTo>
                <a:lnTo>
                  <a:pt x="174" y="684"/>
                </a:lnTo>
                <a:lnTo>
                  <a:pt x="186" y="684"/>
                </a:lnTo>
                <a:lnTo>
                  <a:pt x="198" y="678"/>
                </a:lnTo>
                <a:lnTo>
                  <a:pt x="198" y="684"/>
                </a:lnTo>
                <a:lnTo>
                  <a:pt x="192" y="690"/>
                </a:lnTo>
                <a:lnTo>
                  <a:pt x="186" y="702"/>
                </a:lnTo>
                <a:lnTo>
                  <a:pt x="186" y="714"/>
                </a:lnTo>
                <a:lnTo>
                  <a:pt x="204" y="750"/>
                </a:lnTo>
                <a:lnTo>
                  <a:pt x="216" y="762"/>
                </a:lnTo>
                <a:lnTo>
                  <a:pt x="234" y="768"/>
                </a:lnTo>
                <a:lnTo>
                  <a:pt x="270" y="768"/>
                </a:lnTo>
                <a:lnTo>
                  <a:pt x="276" y="762"/>
                </a:lnTo>
                <a:lnTo>
                  <a:pt x="282" y="762"/>
                </a:lnTo>
                <a:lnTo>
                  <a:pt x="288" y="738"/>
                </a:lnTo>
                <a:lnTo>
                  <a:pt x="312" y="750"/>
                </a:lnTo>
                <a:lnTo>
                  <a:pt x="336" y="744"/>
                </a:lnTo>
                <a:lnTo>
                  <a:pt x="354" y="756"/>
                </a:lnTo>
                <a:lnTo>
                  <a:pt x="396" y="756"/>
                </a:lnTo>
                <a:lnTo>
                  <a:pt x="396" y="732"/>
                </a:lnTo>
                <a:lnTo>
                  <a:pt x="420" y="732"/>
                </a:lnTo>
                <a:lnTo>
                  <a:pt x="420" y="738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3" name="Niger"/>
          <p:cNvSpPr>
            <a:spLocks/>
          </p:cNvSpPr>
          <p:nvPr/>
        </p:nvSpPr>
        <p:spPr bwMode="gray">
          <a:xfrm>
            <a:off x="4025171" y="3497930"/>
            <a:ext cx="446087" cy="379413"/>
          </a:xfrm>
          <a:custGeom>
            <a:avLst/>
            <a:gdLst>
              <a:gd name="T0" fmla="*/ 2147483647 w 1110"/>
              <a:gd name="T1" fmla="*/ 2147483647 h 942"/>
              <a:gd name="T2" fmla="*/ 2147483647 w 1110"/>
              <a:gd name="T3" fmla="*/ 2147483647 h 942"/>
              <a:gd name="T4" fmla="*/ 2147483647 w 1110"/>
              <a:gd name="T5" fmla="*/ 2147483647 h 942"/>
              <a:gd name="T6" fmla="*/ 2147483647 w 1110"/>
              <a:gd name="T7" fmla="*/ 2147483647 h 942"/>
              <a:gd name="T8" fmla="*/ 2147483647 w 1110"/>
              <a:gd name="T9" fmla="*/ 2147483647 h 942"/>
              <a:gd name="T10" fmla="*/ 2147483647 w 1110"/>
              <a:gd name="T11" fmla="*/ 2147483647 h 942"/>
              <a:gd name="T12" fmla="*/ 2147483647 w 1110"/>
              <a:gd name="T13" fmla="*/ 2147483647 h 942"/>
              <a:gd name="T14" fmla="*/ 2147483647 w 1110"/>
              <a:gd name="T15" fmla="*/ 2147483647 h 942"/>
              <a:gd name="T16" fmla="*/ 2147483647 w 1110"/>
              <a:gd name="T17" fmla="*/ 2147483647 h 942"/>
              <a:gd name="T18" fmla="*/ 2147483647 w 1110"/>
              <a:gd name="T19" fmla="*/ 2147483647 h 942"/>
              <a:gd name="T20" fmla="*/ 2147483647 w 1110"/>
              <a:gd name="T21" fmla="*/ 2147483647 h 942"/>
              <a:gd name="T22" fmla="*/ 2147483647 w 1110"/>
              <a:gd name="T23" fmla="*/ 2147483647 h 942"/>
              <a:gd name="T24" fmla="*/ 2147483647 w 1110"/>
              <a:gd name="T25" fmla="*/ 2147483647 h 942"/>
              <a:gd name="T26" fmla="*/ 2147483647 w 1110"/>
              <a:gd name="T27" fmla="*/ 2147483647 h 942"/>
              <a:gd name="T28" fmla="*/ 2147483647 w 1110"/>
              <a:gd name="T29" fmla="*/ 2147483647 h 942"/>
              <a:gd name="T30" fmla="*/ 2147483647 w 1110"/>
              <a:gd name="T31" fmla="*/ 2147483647 h 942"/>
              <a:gd name="T32" fmla="*/ 2147483647 w 1110"/>
              <a:gd name="T33" fmla="*/ 2147483647 h 942"/>
              <a:gd name="T34" fmla="*/ 2147483647 w 1110"/>
              <a:gd name="T35" fmla="*/ 2147483647 h 942"/>
              <a:gd name="T36" fmla="*/ 2147483647 w 1110"/>
              <a:gd name="T37" fmla="*/ 2147483647 h 942"/>
              <a:gd name="T38" fmla="*/ 2147483647 w 1110"/>
              <a:gd name="T39" fmla="*/ 2147483647 h 942"/>
              <a:gd name="T40" fmla="*/ 2147483647 w 1110"/>
              <a:gd name="T41" fmla="*/ 2147483647 h 942"/>
              <a:gd name="T42" fmla="*/ 2147483647 w 1110"/>
              <a:gd name="T43" fmla="*/ 2147483647 h 942"/>
              <a:gd name="T44" fmla="*/ 2147483647 w 1110"/>
              <a:gd name="T45" fmla="*/ 2147483647 h 942"/>
              <a:gd name="T46" fmla="*/ 2147483647 w 1110"/>
              <a:gd name="T47" fmla="*/ 2147483647 h 942"/>
              <a:gd name="T48" fmla="*/ 2147483647 w 1110"/>
              <a:gd name="T49" fmla="*/ 2147483647 h 942"/>
              <a:gd name="T50" fmla="*/ 2147483647 w 1110"/>
              <a:gd name="T51" fmla="*/ 2147483647 h 942"/>
              <a:gd name="T52" fmla="*/ 2147483647 w 1110"/>
              <a:gd name="T53" fmla="*/ 2147483647 h 942"/>
              <a:gd name="T54" fmla="*/ 2147483647 w 1110"/>
              <a:gd name="T55" fmla="*/ 2147483647 h 942"/>
              <a:gd name="T56" fmla="*/ 2147483647 w 1110"/>
              <a:gd name="T57" fmla="*/ 2147483647 h 942"/>
              <a:gd name="T58" fmla="*/ 2147483647 w 1110"/>
              <a:gd name="T59" fmla="*/ 2147483647 h 942"/>
              <a:gd name="T60" fmla="*/ 2147483647 w 1110"/>
              <a:gd name="T61" fmla="*/ 2147483647 h 942"/>
              <a:gd name="T62" fmla="*/ 2147483647 w 1110"/>
              <a:gd name="T63" fmla="*/ 2147483647 h 942"/>
              <a:gd name="T64" fmla="*/ 2147483647 w 1110"/>
              <a:gd name="T65" fmla="*/ 2147483647 h 942"/>
              <a:gd name="T66" fmla="*/ 2147483647 w 1110"/>
              <a:gd name="T67" fmla="*/ 2147483647 h 942"/>
              <a:gd name="T68" fmla="*/ 2147483647 w 1110"/>
              <a:gd name="T69" fmla="*/ 2147483647 h 942"/>
              <a:gd name="T70" fmla="*/ 2147483647 w 1110"/>
              <a:gd name="T71" fmla="*/ 2147483647 h 942"/>
              <a:gd name="T72" fmla="*/ 2147483647 w 1110"/>
              <a:gd name="T73" fmla="*/ 2147483647 h 942"/>
              <a:gd name="T74" fmla="*/ 2147483647 w 1110"/>
              <a:gd name="T75" fmla="*/ 2147483647 h 942"/>
              <a:gd name="T76" fmla="*/ 2147483647 w 1110"/>
              <a:gd name="T77" fmla="*/ 2147483647 h 942"/>
              <a:gd name="T78" fmla="*/ 2147483647 w 1110"/>
              <a:gd name="T79" fmla="*/ 2147483647 h 942"/>
              <a:gd name="T80" fmla="*/ 2147483647 w 1110"/>
              <a:gd name="T81" fmla="*/ 2147483647 h 942"/>
              <a:gd name="T82" fmla="*/ 2147483647 w 1110"/>
              <a:gd name="T83" fmla="*/ 2147483647 h 942"/>
              <a:gd name="T84" fmla="*/ 2147483647 w 1110"/>
              <a:gd name="T85" fmla="*/ 2147483647 h 942"/>
              <a:gd name="T86" fmla="*/ 2147483647 w 1110"/>
              <a:gd name="T87" fmla="*/ 2147483647 h 942"/>
              <a:gd name="T88" fmla="*/ 2147483647 w 1110"/>
              <a:gd name="T89" fmla="*/ 2147483647 h 942"/>
              <a:gd name="T90" fmla="*/ 2147483647 w 1110"/>
              <a:gd name="T91" fmla="*/ 2147483647 h 942"/>
              <a:gd name="T92" fmla="*/ 2147483647 w 1110"/>
              <a:gd name="T93" fmla="*/ 2147483647 h 942"/>
              <a:gd name="T94" fmla="*/ 2147483647 w 1110"/>
              <a:gd name="T95" fmla="*/ 2147483647 h 942"/>
              <a:gd name="T96" fmla="*/ 2147483647 w 1110"/>
              <a:gd name="T97" fmla="*/ 2147483647 h 942"/>
              <a:gd name="T98" fmla="*/ 0 w 1110"/>
              <a:gd name="T99" fmla="*/ 2147483647 h 942"/>
              <a:gd name="T100" fmla="*/ 2147483647 w 1110"/>
              <a:gd name="T101" fmla="*/ 2147483647 h 94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110"/>
              <a:gd name="T154" fmla="*/ 0 h 942"/>
              <a:gd name="T155" fmla="*/ 1110 w 1110"/>
              <a:gd name="T156" fmla="*/ 942 h 94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110" h="942">
                <a:moveTo>
                  <a:pt x="54" y="792"/>
                </a:moveTo>
                <a:lnTo>
                  <a:pt x="54" y="810"/>
                </a:lnTo>
                <a:lnTo>
                  <a:pt x="66" y="810"/>
                </a:lnTo>
                <a:lnTo>
                  <a:pt x="48" y="828"/>
                </a:lnTo>
                <a:lnTo>
                  <a:pt x="48" y="834"/>
                </a:lnTo>
                <a:lnTo>
                  <a:pt x="72" y="858"/>
                </a:lnTo>
                <a:lnTo>
                  <a:pt x="84" y="864"/>
                </a:lnTo>
                <a:lnTo>
                  <a:pt x="90" y="876"/>
                </a:lnTo>
                <a:lnTo>
                  <a:pt x="108" y="876"/>
                </a:lnTo>
                <a:lnTo>
                  <a:pt x="120" y="864"/>
                </a:lnTo>
                <a:lnTo>
                  <a:pt x="132" y="864"/>
                </a:lnTo>
                <a:lnTo>
                  <a:pt x="144" y="876"/>
                </a:lnTo>
                <a:lnTo>
                  <a:pt x="150" y="888"/>
                </a:lnTo>
                <a:lnTo>
                  <a:pt x="126" y="894"/>
                </a:lnTo>
                <a:lnTo>
                  <a:pt x="150" y="930"/>
                </a:lnTo>
                <a:lnTo>
                  <a:pt x="150" y="906"/>
                </a:lnTo>
                <a:lnTo>
                  <a:pt x="180" y="894"/>
                </a:lnTo>
                <a:lnTo>
                  <a:pt x="192" y="906"/>
                </a:lnTo>
                <a:lnTo>
                  <a:pt x="198" y="918"/>
                </a:lnTo>
                <a:lnTo>
                  <a:pt x="204" y="924"/>
                </a:lnTo>
                <a:lnTo>
                  <a:pt x="210" y="924"/>
                </a:lnTo>
                <a:lnTo>
                  <a:pt x="216" y="930"/>
                </a:lnTo>
                <a:lnTo>
                  <a:pt x="222" y="930"/>
                </a:lnTo>
                <a:lnTo>
                  <a:pt x="234" y="936"/>
                </a:lnTo>
                <a:lnTo>
                  <a:pt x="240" y="942"/>
                </a:lnTo>
                <a:lnTo>
                  <a:pt x="240" y="888"/>
                </a:lnTo>
                <a:lnTo>
                  <a:pt x="246" y="888"/>
                </a:lnTo>
                <a:lnTo>
                  <a:pt x="252" y="882"/>
                </a:lnTo>
                <a:lnTo>
                  <a:pt x="258" y="870"/>
                </a:lnTo>
                <a:lnTo>
                  <a:pt x="264" y="864"/>
                </a:lnTo>
                <a:lnTo>
                  <a:pt x="270" y="852"/>
                </a:lnTo>
                <a:lnTo>
                  <a:pt x="276" y="834"/>
                </a:lnTo>
                <a:lnTo>
                  <a:pt x="276" y="810"/>
                </a:lnTo>
                <a:lnTo>
                  <a:pt x="300" y="786"/>
                </a:lnTo>
                <a:lnTo>
                  <a:pt x="354" y="786"/>
                </a:lnTo>
                <a:lnTo>
                  <a:pt x="354" y="780"/>
                </a:lnTo>
                <a:lnTo>
                  <a:pt x="360" y="780"/>
                </a:lnTo>
                <a:lnTo>
                  <a:pt x="372" y="774"/>
                </a:lnTo>
                <a:lnTo>
                  <a:pt x="384" y="774"/>
                </a:lnTo>
                <a:lnTo>
                  <a:pt x="396" y="786"/>
                </a:lnTo>
                <a:lnTo>
                  <a:pt x="396" y="792"/>
                </a:lnTo>
                <a:lnTo>
                  <a:pt x="432" y="792"/>
                </a:lnTo>
                <a:lnTo>
                  <a:pt x="456" y="816"/>
                </a:lnTo>
                <a:lnTo>
                  <a:pt x="456" y="822"/>
                </a:lnTo>
                <a:lnTo>
                  <a:pt x="462" y="828"/>
                </a:lnTo>
                <a:lnTo>
                  <a:pt x="462" y="834"/>
                </a:lnTo>
                <a:lnTo>
                  <a:pt x="468" y="840"/>
                </a:lnTo>
                <a:lnTo>
                  <a:pt x="480" y="846"/>
                </a:lnTo>
                <a:lnTo>
                  <a:pt x="486" y="846"/>
                </a:lnTo>
                <a:lnTo>
                  <a:pt x="498" y="840"/>
                </a:lnTo>
                <a:lnTo>
                  <a:pt x="510" y="828"/>
                </a:lnTo>
                <a:lnTo>
                  <a:pt x="534" y="816"/>
                </a:lnTo>
                <a:lnTo>
                  <a:pt x="546" y="816"/>
                </a:lnTo>
                <a:lnTo>
                  <a:pt x="558" y="822"/>
                </a:lnTo>
                <a:lnTo>
                  <a:pt x="564" y="828"/>
                </a:lnTo>
                <a:lnTo>
                  <a:pt x="576" y="834"/>
                </a:lnTo>
                <a:lnTo>
                  <a:pt x="588" y="846"/>
                </a:lnTo>
                <a:lnTo>
                  <a:pt x="612" y="858"/>
                </a:lnTo>
                <a:lnTo>
                  <a:pt x="642" y="858"/>
                </a:lnTo>
                <a:lnTo>
                  <a:pt x="654" y="864"/>
                </a:lnTo>
                <a:lnTo>
                  <a:pt x="660" y="864"/>
                </a:lnTo>
                <a:lnTo>
                  <a:pt x="666" y="858"/>
                </a:lnTo>
                <a:lnTo>
                  <a:pt x="678" y="834"/>
                </a:lnTo>
                <a:lnTo>
                  <a:pt x="690" y="828"/>
                </a:lnTo>
                <a:lnTo>
                  <a:pt x="702" y="816"/>
                </a:lnTo>
                <a:lnTo>
                  <a:pt x="720" y="810"/>
                </a:lnTo>
                <a:lnTo>
                  <a:pt x="774" y="810"/>
                </a:lnTo>
                <a:lnTo>
                  <a:pt x="810" y="822"/>
                </a:lnTo>
                <a:lnTo>
                  <a:pt x="822" y="828"/>
                </a:lnTo>
                <a:lnTo>
                  <a:pt x="828" y="834"/>
                </a:lnTo>
                <a:lnTo>
                  <a:pt x="858" y="834"/>
                </a:lnTo>
                <a:lnTo>
                  <a:pt x="870" y="828"/>
                </a:lnTo>
                <a:lnTo>
                  <a:pt x="876" y="822"/>
                </a:lnTo>
                <a:lnTo>
                  <a:pt x="888" y="816"/>
                </a:lnTo>
                <a:lnTo>
                  <a:pt x="894" y="810"/>
                </a:lnTo>
                <a:lnTo>
                  <a:pt x="918" y="810"/>
                </a:lnTo>
                <a:lnTo>
                  <a:pt x="918" y="804"/>
                </a:lnTo>
                <a:lnTo>
                  <a:pt x="924" y="798"/>
                </a:lnTo>
                <a:lnTo>
                  <a:pt x="924" y="792"/>
                </a:lnTo>
                <a:lnTo>
                  <a:pt x="930" y="786"/>
                </a:lnTo>
                <a:lnTo>
                  <a:pt x="936" y="786"/>
                </a:lnTo>
                <a:lnTo>
                  <a:pt x="930" y="726"/>
                </a:lnTo>
                <a:lnTo>
                  <a:pt x="948" y="720"/>
                </a:lnTo>
                <a:lnTo>
                  <a:pt x="948" y="714"/>
                </a:lnTo>
                <a:lnTo>
                  <a:pt x="954" y="708"/>
                </a:lnTo>
                <a:lnTo>
                  <a:pt x="954" y="696"/>
                </a:lnTo>
                <a:lnTo>
                  <a:pt x="960" y="678"/>
                </a:lnTo>
                <a:lnTo>
                  <a:pt x="966" y="666"/>
                </a:lnTo>
                <a:lnTo>
                  <a:pt x="978" y="648"/>
                </a:lnTo>
                <a:lnTo>
                  <a:pt x="984" y="636"/>
                </a:lnTo>
                <a:lnTo>
                  <a:pt x="1002" y="618"/>
                </a:lnTo>
                <a:lnTo>
                  <a:pt x="1026" y="588"/>
                </a:lnTo>
                <a:lnTo>
                  <a:pt x="1050" y="564"/>
                </a:lnTo>
                <a:lnTo>
                  <a:pt x="1068" y="540"/>
                </a:lnTo>
                <a:lnTo>
                  <a:pt x="1074" y="534"/>
                </a:lnTo>
                <a:lnTo>
                  <a:pt x="1092" y="288"/>
                </a:lnTo>
                <a:lnTo>
                  <a:pt x="1110" y="252"/>
                </a:lnTo>
                <a:lnTo>
                  <a:pt x="1080" y="216"/>
                </a:lnTo>
                <a:lnTo>
                  <a:pt x="1074" y="192"/>
                </a:lnTo>
                <a:lnTo>
                  <a:pt x="1044" y="156"/>
                </a:lnTo>
                <a:lnTo>
                  <a:pt x="1056" y="108"/>
                </a:lnTo>
                <a:lnTo>
                  <a:pt x="1038" y="42"/>
                </a:lnTo>
                <a:lnTo>
                  <a:pt x="1020" y="48"/>
                </a:lnTo>
                <a:lnTo>
                  <a:pt x="1002" y="60"/>
                </a:lnTo>
                <a:lnTo>
                  <a:pt x="990" y="66"/>
                </a:lnTo>
                <a:lnTo>
                  <a:pt x="984" y="66"/>
                </a:lnTo>
                <a:lnTo>
                  <a:pt x="978" y="60"/>
                </a:lnTo>
                <a:lnTo>
                  <a:pt x="966" y="54"/>
                </a:lnTo>
                <a:lnTo>
                  <a:pt x="960" y="42"/>
                </a:lnTo>
                <a:lnTo>
                  <a:pt x="954" y="36"/>
                </a:lnTo>
                <a:lnTo>
                  <a:pt x="942" y="30"/>
                </a:lnTo>
                <a:lnTo>
                  <a:pt x="936" y="24"/>
                </a:lnTo>
                <a:lnTo>
                  <a:pt x="930" y="24"/>
                </a:lnTo>
                <a:lnTo>
                  <a:pt x="918" y="18"/>
                </a:lnTo>
                <a:lnTo>
                  <a:pt x="900" y="12"/>
                </a:lnTo>
                <a:lnTo>
                  <a:pt x="888" y="12"/>
                </a:lnTo>
                <a:lnTo>
                  <a:pt x="876" y="6"/>
                </a:lnTo>
                <a:lnTo>
                  <a:pt x="864" y="6"/>
                </a:lnTo>
                <a:lnTo>
                  <a:pt x="828" y="0"/>
                </a:lnTo>
                <a:lnTo>
                  <a:pt x="816" y="6"/>
                </a:lnTo>
                <a:lnTo>
                  <a:pt x="786" y="30"/>
                </a:lnTo>
                <a:lnTo>
                  <a:pt x="738" y="66"/>
                </a:lnTo>
                <a:lnTo>
                  <a:pt x="684" y="102"/>
                </a:lnTo>
                <a:lnTo>
                  <a:pt x="624" y="144"/>
                </a:lnTo>
                <a:lnTo>
                  <a:pt x="576" y="180"/>
                </a:lnTo>
                <a:lnTo>
                  <a:pt x="534" y="210"/>
                </a:lnTo>
                <a:lnTo>
                  <a:pt x="510" y="222"/>
                </a:lnTo>
                <a:lnTo>
                  <a:pt x="480" y="246"/>
                </a:lnTo>
                <a:lnTo>
                  <a:pt x="450" y="282"/>
                </a:lnTo>
                <a:lnTo>
                  <a:pt x="414" y="312"/>
                </a:lnTo>
                <a:lnTo>
                  <a:pt x="390" y="330"/>
                </a:lnTo>
                <a:lnTo>
                  <a:pt x="366" y="336"/>
                </a:lnTo>
                <a:lnTo>
                  <a:pt x="324" y="342"/>
                </a:lnTo>
                <a:lnTo>
                  <a:pt x="282" y="354"/>
                </a:lnTo>
                <a:lnTo>
                  <a:pt x="282" y="558"/>
                </a:lnTo>
                <a:lnTo>
                  <a:pt x="264" y="582"/>
                </a:lnTo>
                <a:lnTo>
                  <a:pt x="264" y="594"/>
                </a:lnTo>
                <a:lnTo>
                  <a:pt x="258" y="606"/>
                </a:lnTo>
                <a:lnTo>
                  <a:pt x="258" y="624"/>
                </a:lnTo>
                <a:lnTo>
                  <a:pt x="252" y="636"/>
                </a:lnTo>
                <a:lnTo>
                  <a:pt x="240" y="642"/>
                </a:lnTo>
                <a:lnTo>
                  <a:pt x="222" y="648"/>
                </a:lnTo>
                <a:lnTo>
                  <a:pt x="198" y="648"/>
                </a:lnTo>
                <a:lnTo>
                  <a:pt x="186" y="654"/>
                </a:lnTo>
                <a:lnTo>
                  <a:pt x="138" y="648"/>
                </a:lnTo>
                <a:lnTo>
                  <a:pt x="138" y="666"/>
                </a:lnTo>
                <a:lnTo>
                  <a:pt x="72" y="660"/>
                </a:lnTo>
                <a:lnTo>
                  <a:pt x="48" y="678"/>
                </a:lnTo>
                <a:lnTo>
                  <a:pt x="0" y="690"/>
                </a:lnTo>
                <a:lnTo>
                  <a:pt x="0" y="726"/>
                </a:lnTo>
                <a:lnTo>
                  <a:pt x="6" y="738"/>
                </a:lnTo>
                <a:lnTo>
                  <a:pt x="6" y="762"/>
                </a:lnTo>
                <a:lnTo>
                  <a:pt x="18" y="786"/>
                </a:lnTo>
                <a:lnTo>
                  <a:pt x="30" y="792"/>
                </a:lnTo>
                <a:lnTo>
                  <a:pt x="54" y="79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4" name="Netherlands"/>
          <p:cNvSpPr>
            <a:spLocks/>
          </p:cNvSpPr>
          <p:nvPr/>
        </p:nvSpPr>
        <p:spPr bwMode="gray">
          <a:xfrm>
            <a:off x="4128358" y="2537493"/>
            <a:ext cx="109538" cy="84137"/>
          </a:xfrm>
          <a:custGeom>
            <a:avLst/>
            <a:gdLst>
              <a:gd name="T0" fmla="*/ 0 w 270"/>
              <a:gd name="T1" fmla="*/ 2147483647 h 210"/>
              <a:gd name="T2" fmla="*/ 2147483647 w 270"/>
              <a:gd name="T3" fmla="*/ 2147483647 h 210"/>
              <a:gd name="T4" fmla="*/ 2147483647 w 270"/>
              <a:gd name="T5" fmla="*/ 2147483647 h 210"/>
              <a:gd name="T6" fmla="*/ 2147483647 w 270"/>
              <a:gd name="T7" fmla="*/ 2147483647 h 210"/>
              <a:gd name="T8" fmla="*/ 2147483647 w 270"/>
              <a:gd name="T9" fmla="*/ 2147483647 h 210"/>
              <a:gd name="T10" fmla="*/ 2147483647 w 270"/>
              <a:gd name="T11" fmla="*/ 2147483647 h 210"/>
              <a:gd name="T12" fmla="*/ 2147483647 w 270"/>
              <a:gd name="T13" fmla="*/ 2147483647 h 210"/>
              <a:gd name="T14" fmla="*/ 2147483647 w 270"/>
              <a:gd name="T15" fmla="*/ 2147483647 h 210"/>
              <a:gd name="T16" fmla="*/ 2147483647 w 270"/>
              <a:gd name="T17" fmla="*/ 2147483647 h 210"/>
              <a:gd name="T18" fmla="*/ 2147483647 w 270"/>
              <a:gd name="T19" fmla="*/ 2147483647 h 210"/>
              <a:gd name="T20" fmla="*/ 2147483647 w 270"/>
              <a:gd name="T21" fmla="*/ 2147483647 h 210"/>
              <a:gd name="T22" fmla="*/ 2147483647 w 270"/>
              <a:gd name="T23" fmla="*/ 2147483647 h 210"/>
              <a:gd name="T24" fmla="*/ 2147483647 w 270"/>
              <a:gd name="T25" fmla="*/ 2147483647 h 210"/>
              <a:gd name="T26" fmla="*/ 2147483647 w 270"/>
              <a:gd name="T27" fmla="*/ 2147483647 h 210"/>
              <a:gd name="T28" fmla="*/ 2147483647 w 270"/>
              <a:gd name="T29" fmla="*/ 2147483647 h 210"/>
              <a:gd name="T30" fmla="*/ 2147483647 w 270"/>
              <a:gd name="T31" fmla="*/ 2147483647 h 210"/>
              <a:gd name="T32" fmla="*/ 2147483647 w 270"/>
              <a:gd name="T33" fmla="*/ 2147483647 h 210"/>
              <a:gd name="T34" fmla="*/ 2147483647 w 270"/>
              <a:gd name="T35" fmla="*/ 2147483647 h 210"/>
              <a:gd name="T36" fmla="*/ 2147483647 w 270"/>
              <a:gd name="T37" fmla="*/ 2147483647 h 210"/>
              <a:gd name="T38" fmla="*/ 2147483647 w 270"/>
              <a:gd name="T39" fmla="*/ 2147483647 h 210"/>
              <a:gd name="T40" fmla="*/ 2147483647 w 270"/>
              <a:gd name="T41" fmla="*/ 2147483647 h 210"/>
              <a:gd name="T42" fmla="*/ 2147483647 w 270"/>
              <a:gd name="T43" fmla="*/ 2147483647 h 210"/>
              <a:gd name="T44" fmla="*/ 2147483647 w 270"/>
              <a:gd name="T45" fmla="*/ 2147483647 h 210"/>
              <a:gd name="T46" fmla="*/ 2147483647 w 270"/>
              <a:gd name="T47" fmla="*/ 2147483647 h 210"/>
              <a:gd name="T48" fmla="*/ 2147483647 w 270"/>
              <a:gd name="T49" fmla="*/ 2147483647 h 210"/>
              <a:gd name="T50" fmla="*/ 2147483647 w 270"/>
              <a:gd name="T51" fmla="*/ 2147483647 h 210"/>
              <a:gd name="T52" fmla="*/ 2147483647 w 270"/>
              <a:gd name="T53" fmla="*/ 2147483647 h 210"/>
              <a:gd name="T54" fmla="*/ 2147483647 w 270"/>
              <a:gd name="T55" fmla="*/ 2147483647 h 210"/>
              <a:gd name="T56" fmla="*/ 2147483647 w 270"/>
              <a:gd name="T57" fmla="*/ 2147483647 h 210"/>
              <a:gd name="T58" fmla="*/ 2147483647 w 270"/>
              <a:gd name="T59" fmla="*/ 0 h 210"/>
              <a:gd name="T60" fmla="*/ 2147483647 w 270"/>
              <a:gd name="T61" fmla="*/ 2147483647 h 210"/>
              <a:gd name="T62" fmla="*/ 2147483647 w 270"/>
              <a:gd name="T63" fmla="*/ 2147483647 h 210"/>
              <a:gd name="T64" fmla="*/ 2147483647 w 270"/>
              <a:gd name="T65" fmla="*/ 2147483647 h 210"/>
              <a:gd name="T66" fmla="*/ 2147483647 w 270"/>
              <a:gd name="T67" fmla="*/ 2147483647 h 210"/>
              <a:gd name="T68" fmla="*/ 2147483647 w 270"/>
              <a:gd name="T69" fmla="*/ 2147483647 h 210"/>
              <a:gd name="T70" fmla="*/ 2147483647 w 270"/>
              <a:gd name="T71" fmla="*/ 2147483647 h 210"/>
              <a:gd name="T72" fmla="*/ 2147483647 w 270"/>
              <a:gd name="T73" fmla="*/ 2147483647 h 210"/>
              <a:gd name="T74" fmla="*/ 2147483647 w 270"/>
              <a:gd name="T75" fmla="*/ 2147483647 h 210"/>
              <a:gd name="T76" fmla="*/ 2147483647 w 270"/>
              <a:gd name="T77" fmla="*/ 2147483647 h 210"/>
              <a:gd name="T78" fmla="*/ 2147483647 w 270"/>
              <a:gd name="T79" fmla="*/ 2147483647 h 210"/>
              <a:gd name="T80" fmla="*/ 2147483647 w 270"/>
              <a:gd name="T81" fmla="*/ 2147483647 h 210"/>
              <a:gd name="T82" fmla="*/ 2147483647 w 270"/>
              <a:gd name="T83" fmla="*/ 2147483647 h 210"/>
              <a:gd name="T84" fmla="*/ 2147483647 w 270"/>
              <a:gd name="T85" fmla="*/ 2147483647 h 210"/>
              <a:gd name="T86" fmla="*/ 2147483647 w 270"/>
              <a:gd name="T87" fmla="*/ 2147483647 h 210"/>
              <a:gd name="T88" fmla="*/ 2147483647 w 270"/>
              <a:gd name="T89" fmla="*/ 2147483647 h 21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70"/>
              <a:gd name="T136" fmla="*/ 0 h 210"/>
              <a:gd name="T137" fmla="*/ 270 w 270"/>
              <a:gd name="T138" fmla="*/ 210 h 21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70" h="210">
                <a:moveTo>
                  <a:pt x="18" y="156"/>
                </a:moveTo>
                <a:lnTo>
                  <a:pt x="0" y="174"/>
                </a:lnTo>
                <a:lnTo>
                  <a:pt x="12" y="162"/>
                </a:lnTo>
                <a:lnTo>
                  <a:pt x="24" y="162"/>
                </a:lnTo>
                <a:lnTo>
                  <a:pt x="30" y="168"/>
                </a:lnTo>
                <a:lnTo>
                  <a:pt x="54" y="168"/>
                </a:lnTo>
                <a:lnTo>
                  <a:pt x="60" y="174"/>
                </a:lnTo>
                <a:lnTo>
                  <a:pt x="66" y="162"/>
                </a:lnTo>
                <a:lnTo>
                  <a:pt x="84" y="168"/>
                </a:lnTo>
                <a:lnTo>
                  <a:pt x="84" y="156"/>
                </a:lnTo>
                <a:lnTo>
                  <a:pt x="96" y="162"/>
                </a:lnTo>
                <a:lnTo>
                  <a:pt x="96" y="156"/>
                </a:lnTo>
                <a:lnTo>
                  <a:pt x="132" y="156"/>
                </a:lnTo>
                <a:lnTo>
                  <a:pt x="132" y="168"/>
                </a:lnTo>
                <a:lnTo>
                  <a:pt x="138" y="174"/>
                </a:lnTo>
                <a:lnTo>
                  <a:pt x="150" y="174"/>
                </a:lnTo>
                <a:lnTo>
                  <a:pt x="162" y="168"/>
                </a:lnTo>
                <a:lnTo>
                  <a:pt x="168" y="168"/>
                </a:lnTo>
                <a:lnTo>
                  <a:pt x="174" y="174"/>
                </a:lnTo>
                <a:lnTo>
                  <a:pt x="174" y="192"/>
                </a:lnTo>
                <a:lnTo>
                  <a:pt x="168" y="198"/>
                </a:lnTo>
                <a:lnTo>
                  <a:pt x="168" y="210"/>
                </a:lnTo>
                <a:lnTo>
                  <a:pt x="180" y="210"/>
                </a:lnTo>
                <a:lnTo>
                  <a:pt x="180" y="198"/>
                </a:lnTo>
                <a:lnTo>
                  <a:pt x="186" y="192"/>
                </a:lnTo>
                <a:lnTo>
                  <a:pt x="186" y="180"/>
                </a:lnTo>
                <a:lnTo>
                  <a:pt x="180" y="174"/>
                </a:lnTo>
                <a:lnTo>
                  <a:pt x="186" y="168"/>
                </a:lnTo>
                <a:lnTo>
                  <a:pt x="198" y="162"/>
                </a:lnTo>
                <a:lnTo>
                  <a:pt x="198" y="156"/>
                </a:lnTo>
                <a:lnTo>
                  <a:pt x="192" y="150"/>
                </a:lnTo>
                <a:lnTo>
                  <a:pt x="192" y="144"/>
                </a:lnTo>
                <a:lnTo>
                  <a:pt x="186" y="120"/>
                </a:lnTo>
                <a:lnTo>
                  <a:pt x="192" y="120"/>
                </a:lnTo>
                <a:lnTo>
                  <a:pt x="198" y="126"/>
                </a:lnTo>
                <a:lnTo>
                  <a:pt x="222" y="126"/>
                </a:lnTo>
                <a:lnTo>
                  <a:pt x="222" y="120"/>
                </a:lnTo>
                <a:lnTo>
                  <a:pt x="228" y="114"/>
                </a:lnTo>
                <a:lnTo>
                  <a:pt x="234" y="114"/>
                </a:lnTo>
                <a:lnTo>
                  <a:pt x="240" y="102"/>
                </a:lnTo>
                <a:lnTo>
                  <a:pt x="246" y="96"/>
                </a:lnTo>
                <a:lnTo>
                  <a:pt x="252" y="96"/>
                </a:lnTo>
                <a:lnTo>
                  <a:pt x="252" y="90"/>
                </a:lnTo>
                <a:lnTo>
                  <a:pt x="240" y="78"/>
                </a:lnTo>
                <a:lnTo>
                  <a:pt x="234" y="78"/>
                </a:lnTo>
                <a:lnTo>
                  <a:pt x="228" y="72"/>
                </a:lnTo>
                <a:lnTo>
                  <a:pt x="228" y="66"/>
                </a:lnTo>
                <a:lnTo>
                  <a:pt x="234" y="66"/>
                </a:lnTo>
                <a:lnTo>
                  <a:pt x="246" y="60"/>
                </a:lnTo>
                <a:lnTo>
                  <a:pt x="258" y="60"/>
                </a:lnTo>
                <a:lnTo>
                  <a:pt x="252" y="54"/>
                </a:lnTo>
                <a:lnTo>
                  <a:pt x="252" y="36"/>
                </a:lnTo>
                <a:lnTo>
                  <a:pt x="258" y="36"/>
                </a:lnTo>
                <a:lnTo>
                  <a:pt x="270" y="30"/>
                </a:lnTo>
                <a:lnTo>
                  <a:pt x="264" y="18"/>
                </a:lnTo>
                <a:lnTo>
                  <a:pt x="270" y="12"/>
                </a:lnTo>
                <a:lnTo>
                  <a:pt x="264" y="12"/>
                </a:lnTo>
                <a:lnTo>
                  <a:pt x="252" y="6"/>
                </a:lnTo>
                <a:lnTo>
                  <a:pt x="246" y="6"/>
                </a:lnTo>
                <a:lnTo>
                  <a:pt x="234" y="0"/>
                </a:lnTo>
                <a:lnTo>
                  <a:pt x="180" y="0"/>
                </a:lnTo>
                <a:lnTo>
                  <a:pt x="168" y="12"/>
                </a:lnTo>
                <a:lnTo>
                  <a:pt x="156" y="18"/>
                </a:lnTo>
                <a:lnTo>
                  <a:pt x="156" y="30"/>
                </a:lnTo>
                <a:lnTo>
                  <a:pt x="162" y="36"/>
                </a:lnTo>
                <a:lnTo>
                  <a:pt x="162" y="54"/>
                </a:lnTo>
                <a:lnTo>
                  <a:pt x="168" y="60"/>
                </a:lnTo>
                <a:lnTo>
                  <a:pt x="174" y="60"/>
                </a:lnTo>
                <a:lnTo>
                  <a:pt x="180" y="66"/>
                </a:lnTo>
                <a:lnTo>
                  <a:pt x="180" y="78"/>
                </a:lnTo>
                <a:lnTo>
                  <a:pt x="168" y="84"/>
                </a:lnTo>
                <a:lnTo>
                  <a:pt x="162" y="90"/>
                </a:lnTo>
                <a:lnTo>
                  <a:pt x="144" y="90"/>
                </a:lnTo>
                <a:lnTo>
                  <a:pt x="138" y="84"/>
                </a:lnTo>
                <a:lnTo>
                  <a:pt x="138" y="66"/>
                </a:lnTo>
                <a:lnTo>
                  <a:pt x="150" y="54"/>
                </a:lnTo>
                <a:lnTo>
                  <a:pt x="150" y="36"/>
                </a:lnTo>
                <a:lnTo>
                  <a:pt x="144" y="30"/>
                </a:lnTo>
                <a:lnTo>
                  <a:pt x="144" y="24"/>
                </a:lnTo>
                <a:lnTo>
                  <a:pt x="132" y="36"/>
                </a:lnTo>
                <a:lnTo>
                  <a:pt x="120" y="42"/>
                </a:lnTo>
                <a:lnTo>
                  <a:pt x="114" y="48"/>
                </a:lnTo>
                <a:lnTo>
                  <a:pt x="102" y="54"/>
                </a:lnTo>
                <a:lnTo>
                  <a:pt x="96" y="66"/>
                </a:lnTo>
                <a:lnTo>
                  <a:pt x="96" y="84"/>
                </a:lnTo>
                <a:lnTo>
                  <a:pt x="90" y="90"/>
                </a:lnTo>
                <a:lnTo>
                  <a:pt x="90" y="102"/>
                </a:lnTo>
                <a:lnTo>
                  <a:pt x="60" y="132"/>
                </a:lnTo>
                <a:lnTo>
                  <a:pt x="72" y="144"/>
                </a:lnTo>
                <a:lnTo>
                  <a:pt x="42" y="144"/>
                </a:lnTo>
                <a:lnTo>
                  <a:pt x="18" y="15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5" name="Nicaragua"/>
          <p:cNvSpPr>
            <a:spLocks/>
          </p:cNvSpPr>
          <p:nvPr/>
        </p:nvSpPr>
        <p:spPr bwMode="gray">
          <a:xfrm>
            <a:off x="1524858" y="3778918"/>
            <a:ext cx="131763" cy="133350"/>
          </a:xfrm>
          <a:custGeom>
            <a:avLst/>
            <a:gdLst>
              <a:gd name="T0" fmla="*/ 2147483647 w 324"/>
              <a:gd name="T1" fmla="*/ 2147483647 h 330"/>
              <a:gd name="T2" fmla="*/ 2147483647 w 324"/>
              <a:gd name="T3" fmla="*/ 0 h 330"/>
              <a:gd name="T4" fmla="*/ 2147483647 w 324"/>
              <a:gd name="T5" fmla="*/ 2147483647 h 330"/>
              <a:gd name="T6" fmla="*/ 2147483647 w 324"/>
              <a:gd name="T7" fmla="*/ 2147483647 h 330"/>
              <a:gd name="T8" fmla="*/ 2147483647 w 324"/>
              <a:gd name="T9" fmla="*/ 0 h 330"/>
              <a:gd name="T10" fmla="*/ 2147483647 w 324"/>
              <a:gd name="T11" fmla="*/ 2147483647 h 330"/>
              <a:gd name="T12" fmla="*/ 2147483647 w 324"/>
              <a:gd name="T13" fmla="*/ 2147483647 h 330"/>
              <a:gd name="T14" fmla="*/ 2147483647 w 324"/>
              <a:gd name="T15" fmla="*/ 2147483647 h 330"/>
              <a:gd name="T16" fmla="*/ 2147483647 w 324"/>
              <a:gd name="T17" fmla="*/ 2147483647 h 330"/>
              <a:gd name="T18" fmla="*/ 2147483647 w 324"/>
              <a:gd name="T19" fmla="*/ 2147483647 h 330"/>
              <a:gd name="T20" fmla="*/ 2147483647 w 324"/>
              <a:gd name="T21" fmla="*/ 2147483647 h 330"/>
              <a:gd name="T22" fmla="*/ 2147483647 w 324"/>
              <a:gd name="T23" fmla="*/ 2147483647 h 330"/>
              <a:gd name="T24" fmla="*/ 2147483647 w 324"/>
              <a:gd name="T25" fmla="*/ 2147483647 h 330"/>
              <a:gd name="T26" fmla="*/ 2147483647 w 324"/>
              <a:gd name="T27" fmla="*/ 2147483647 h 330"/>
              <a:gd name="T28" fmla="*/ 2147483647 w 324"/>
              <a:gd name="T29" fmla="*/ 2147483647 h 330"/>
              <a:gd name="T30" fmla="*/ 2147483647 w 324"/>
              <a:gd name="T31" fmla="*/ 2147483647 h 330"/>
              <a:gd name="T32" fmla="*/ 2147483647 w 324"/>
              <a:gd name="T33" fmla="*/ 2147483647 h 330"/>
              <a:gd name="T34" fmla="*/ 2147483647 w 324"/>
              <a:gd name="T35" fmla="*/ 2147483647 h 330"/>
              <a:gd name="T36" fmla="*/ 2147483647 w 324"/>
              <a:gd name="T37" fmla="*/ 2147483647 h 330"/>
              <a:gd name="T38" fmla="*/ 2147483647 w 324"/>
              <a:gd name="T39" fmla="*/ 2147483647 h 330"/>
              <a:gd name="T40" fmla="*/ 2147483647 w 324"/>
              <a:gd name="T41" fmla="*/ 2147483647 h 330"/>
              <a:gd name="T42" fmla="*/ 2147483647 w 324"/>
              <a:gd name="T43" fmla="*/ 2147483647 h 330"/>
              <a:gd name="T44" fmla="*/ 2147483647 w 324"/>
              <a:gd name="T45" fmla="*/ 2147483647 h 330"/>
              <a:gd name="T46" fmla="*/ 2147483647 w 324"/>
              <a:gd name="T47" fmla="*/ 2147483647 h 330"/>
              <a:gd name="T48" fmla="*/ 2147483647 w 324"/>
              <a:gd name="T49" fmla="*/ 2147483647 h 330"/>
              <a:gd name="T50" fmla="*/ 2147483647 w 324"/>
              <a:gd name="T51" fmla="*/ 2147483647 h 330"/>
              <a:gd name="T52" fmla="*/ 2147483647 w 324"/>
              <a:gd name="T53" fmla="*/ 2147483647 h 330"/>
              <a:gd name="T54" fmla="*/ 2147483647 w 324"/>
              <a:gd name="T55" fmla="*/ 2147483647 h 330"/>
              <a:gd name="T56" fmla="*/ 2147483647 w 324"/>
              <a:gd name="T57" fmla="*/ 2147483647 h 330"/>
              <a:gd name="T58" fmla="*/ 2147483647 w 324"/>
              <a:gd name="T59" fmla="*/ 2147483647 h 330"/>
              <a:gd name="T60" fmla="*/ 2147483647 w 324"/>
              <a:gd name="T61" fmla="*/ 2147483647 h 330"/>
              <a:gd name="T62" fmla="*/ 2147483647 w 324"/>
              <a:gd name="T63" fmla="*/ 2147483647 h 330"/>
              <a:gd name="T64" fmla="*/ 2147483647 w 324"/>
              <a:gd name="T65" fmla="*/ 2147483647 h 330"/>
              <a:gd name="T66" fmla="*/ 2147483647 w 324"/>
              <a:gd name="T67" fmla="*/ 2147483647 h 330"/>
              <a:gd name="T68" fmla="*/ 2147483647 w 324"/>
              <a:gd name="T69" fmla="*/ 2147483647 h 330"/>
              <a:gd name="T70" fmla="*/ 2147483647 w 324"/>
              <a:gd name="T71" fmla="*/ 2147483647 h 330"/>
              <a:gd name="T72" fmla="*/ 2147483647 w 324"/>
              <a:gd name="T73" fmla="*/ 2147483647 h 330"/>
              <a:gd name="T74" fmla="*/ 2147483647 w 324"/>
              <a:gd name="T75" fmla="*/ 2147483647 h 330"/>
              <a:gd name="T76" fmla="*/ 2147483647 w 324"/>
              <a:gd name="T77" fmla="*/ 2147483647 h 330"/>
              <a:gd name="T78" fmla="*/ 2147483647 w 324"/>
              <a:gd name="T79" fmla="*/ 2147483647 h 330"/>
              <a:gd name="T80" fmla="*/ 2147483647 w 324"/>
              <a:gd name="T81" fmla="*/ 2147483647 h 33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24"/>
              <a:gd name="T124" fmla="*/ 0 h 330"/>
              <a:gd name="T125" fmla="*/ 324 w 324"/>
              <a:gd name="T126" fmla="*/ 330 h 330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24" h="330">
                <a:moveTo>
                  <a:pt x="324" y="18"/>
                </a:moveTo>
                <a:lnTo>
                  <a:pt x="318" y="12"/>
                </a:lnTo>
                <a:lnTo>
                  <a:pt x="318" y="6"/>
                </a:lnTo>
                <a:lnTo>
                  <a:pt x="312" y="0"/>
                </a:lnTo>
                <a:lnTo>
                  <a:pt x="264" y="0"/>
                </a:lnTo>
                <a:lnTo>
                  <a:pt x="264" y="6"/>
                </a:lnTo>
                <a:lnTo>
                  <a:pt x="252" y="18"/>
                </a:lnTo>
                <a:lnTo>
                  <a:pt x="240" y="18"/>
                </a:lnTo>
                <a:lnTo>
                  <a:pt x="222" y="0"/>
                </a:lnTo>
                <a:lnTo>
                  <a:pt x="210" y="0"/>
                </a:lnTo>
                <a:lnTo>
                  <a:pt x="198" y="12"/>
                </a:lnTo>
                <a:lnTo>
                  <a:pt x="198" y="30"/>
                </a:lnTo>
                <a:lnTo>
                  <a:pt x="180" y="30"/>
                </a:lnTo>
                <a:lnTo>
                  <a:pt x="168" y="54"/>
                </a:lnTo>
                <a:lnTo>
                  <a:pt x="144" y="78"/>
                </a:lnTo>
                <a:lnTo>
                  <a:pt x="126" y="78"/>
                </a:lnTo>
                <a:lnTo>
                  <a:pt x="120" y="72"/>
                </a:lnTo>
                <a:lnTo>
                  <a:pt x="120" y="66"/>
                </a:lnTo>
                <a:lnTo>
                  <a:pt x="108" y="66"/>
                </a:lnTo>
                <a:lnTo>
                  <a:pt x="102" y="72"/>
                </a:lnTo>
                <a:lnTo>
                  <a:pt x="96" y="84"/>
                </a:lnTo>
                <a:lnTo>
                  <a:pt x="60" y="84"/>
                </a:lnTo>
                <a:lnTo>
                  <a:pt x="54" y="90"/>
                </a:lnTo>
                <a:lnTo>
                  <a:pt x="54" y="102"/>
                </a:lnTo>
                <a:lnTo>
                  <a:pt x="60" y="108"/>
                </a:lnTo>
                <a:lnTo>
                  <a:pt x="60" y="120"/>
                </a:lnTo>
                <a:lnTo>
                  <a:pt x="66" y="126"/>
                </a:lnTo>
                <a:lnTo>
                  <a:pt x="48" y="126"/>
                </a:lnTo>
                <a:lnTo>
                  <a:pt x="48" y="144"/>
                </a:lnTo>
                <a:lnTo>
                  <a:pt x="36" y="150"/>
                </a:lnTo>
                <a:lnTo>
                  <a:pt x="0" y="150"/>
                </a:lnTo>
                <a:lnTo>
                  <a:pt x="48" y="204"/>
                </a:lnTo>
                <a:lnTo>
                  <a:pt x="48" y="210"/>
                </a:lnTo>
                <a:lnTo>
                  <a:pt x="54" y="216"/>
                </a:lnTo>
                <a:lnTo>
                  <a:pt x="54" y="228"/>
                </a:lnTo>
                <a:lnTo>
                  <a:pt x="66" y="252"/>
                </a:lnTo>
                <a:lnTo>
                  <a:pt x="72" y="258"/>
                </a:lnTo>
                <a:lnTo>
                  <a:pt x="96" y="270"/>
                </a:lnTo>
                <a:lnTo>
                  <a:pt x="108" y="282"/>
                </a:lnTo>
                <a:lnTo>
                  <a:pt x="114" y="294"/>
                </a:lnTo>
                <a:lnTo>
                  <a:pt x="138" y="294"/>
                </a:lnTo>
                <a:lnTo>
                  <a:pt x="132" y="294"/>
                </a:lnTo>
                <a:lnTo>
                  <a:pt x="120" y="282"/>
                </a:lnTo>
                <a:lnTo>
                  <a:pt x="120" y="276"/>
                </a:lnTo>
                <a:lnTo>
                  <a:pt x="126" y="270"/>
                </a:lnTo>
                <a:lnTo>
                  <a:pt x="138" y="270"/>
                </a:lnTo>
                <a:lnTo>
                  <a:pt x="138" y="264"/>
                </a:lnTo>
                <a:lnTo>
                  <a:pt x="132" y="258"/>
                </a:lnTo>
                <a:lnTo>
                  <a:pt x="126" y="258"/>
                </a:lnTo>
                <a:lnTo>
                  <a:pt x="120" y="264"/>
                </a:lnTo>
                <a:lnTo>
                  <a:pt x="114" y="264"/>
                </a:lnTo>
                <a:lnTo>
                  <a:pt x="114" y="222"/>
                </a:lnTo>
                <a:lnTo>
                  <a:pt x="120" y="222"/>
                </a:lnTo>
                <a:lnTo>
                  <a:pt x="132" y="228"/>
                </a:lnTo>
                <a:lnTo>
                  <a:pt x="144" y="240"/>
                </a:lnTo>
                <a:lnTo>
                  <a:pt x="156" y="246"/>
                </a:lnTo>
                <a:lnTo>
                  <a:pt x="180" y="270"/>
                </a:lnTo>
                <a:lnTo>
                  <a:pt x="192" y="306"/>
                </a:lnTo>
                <a:lnTo>
                  <a:pt x="210" y="306"/>
                </a:lnTo>
                <a:lnTo>
                  <a:pt x="216" y="312"/>
                </a:lnTo>
                <a:lnTo>
                  <a:pt x="222" y="312"/>
                </a:lnTo>
                <a:lnTo>
                  <a:pt x="222" y="318"/>
                </a:lnTo>
                <a:lnTo>
                  <a:pt x="234" y="330"/>
                </a:lnTo>
                <a:lnTo>
                  <a:pt x="270" y="330"/>
                </a:lnTo>
                <a:lnTo>
                  <a:pt x="270" y="324"/>
                </a:lnTo>
                <a:lnTo>
                  <a:pt x="258" y="312"/>
                </a:lnTo>
                <a:lnTo>
                  <a:pt x="252" y="300"/>
                </a:lnTo>
                <a:lnTo>
                  <a:pt x="252" y="276"/>
                </a:lnTo>
                <a:lnTo>
                  <a:pt x="264" y="264"/>
                </a:lnTo>
                <a:lnTo>
                  <a:pt x="270" y="264"/>
                </a:lnTo>
                <a:lnTo>
                  <a:pt x="270" y="246"/>
                </a:lnTo>
                <a:lnTo>
                  <a:pt x="264" y="234"/>
                </a:lnTo>
                <a:lnTo>
                  <a:pt x="264" y="222"/>
                </a:lnTo>
                <a:lnTo>
                  <a:pt x="270" y="174"/>
                </a:lnTo>
                <a:lnTo>
                  <a:pt x="282" y="192"/>
                </a:lnTo>
                <a:lnTo>
                  <a:pt x="288" y="108"/>
                </a:lnTo>
                <a:lnTo>
                  <a:pt x="288" y="102"/>
                </a:lnTo>
                <a:lnTo>
                  <a:pt x="294" y="96"/>
                </a:lnTo>
                <a:lnTo>
                  <a:pt x="306" y="72"/>
                </a:lnTo>
                <a:lnTo>
                  <a:pt x="312" y="66"/>
                </a:lnTo>
                <a:lnTo>
                  <a:pt x="324" y="42"/>
                </a:lnTo>
                <a:lnTo>
                  <a:pt x="324" y="1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6" name="New Zeeland"/>
          <p:cNvSpPr>
            <a:spLocks noEditPoints="1"/>
          </p:cNvSpPr>
          <p:nvPr/>
        </p:nvSpPr>
        <p:spPr bwMode="gray">
          <a:xfrm>
            <a:off x="8290783" y="5372768"/>
            <a:ext cx="511175" cy="395287"/>
          </a:xfrm>
          <a:custGeom>
            <a:avLst/>
            <a:gdLst>
              <a:gd name="T0" fmla="*/ 2147483647 w 1272"/>
              <a:gd name="T1" fmla="*/ 2147483647 h 984"/>
              <a:gd name="T2" fmla="*/ 2147483647 w 1272"/>
              <a:gd name="T3" fmla="*/ 2147483647 h 984"/>
              <a:gd name="T4" fmla="*/ 2147483647 w 1272"/>
              <a:gd name="T5" fmla="*/ 2147483647 h 984"/>
              <a:gd name="T6" fmla="*/ 2147483647 w 1272"/>
              <a:gd name="T7" fmla="*/ 2147483647 h 984"/>
              <a:gd name="T8" fmla="*/ 2147483647 w 1272"/>
              <a:gd name="T9" fmla="*/ 2147483647 h 984"/>
              <a:gd name="T10" fmla="*/ 2147483647 w 1272"/>
              <a:gd name="T11" fmla="*/ 2147483647 h 984"/>
              <a:gd name="T12" fmla="*/ 2147483647 w 1272"/>
              <a:gd name="T13" fmla="*/ 2147483647 h 984"/>
              <a:gd name="T14" fmla="*/ 2147483647 w 1272"/>
              <a:gd name="T15" fmla="*/ 2147483647 h 984"/>
              <a:gd name="T16" fmla="*/ 2147483647 w 1272"/>
              <a:gd name="T17" fmla="*/ 2147483647 h 984"/>
              <a:gd name="T18" fmla="*/ 2147483647 w 1272"/>
              <a:gd name="T19" fmla="*/ 2147483647 h 984"/>
              <a:gd name="T20" fmla="*/ 2147483647 w 1272"/>
              <a:gd name="T21" fmla="*/ 2147483647 h 984"/>
              <a:gd name="T22" fmla="*/ 2147483647 w 1272"/>
              <a:gd name="T23" fmla="*/ 2147483647 h 984"/>
              <a:gd name="T24" fmla="*/ 2147483647 w 1272"/>
              <a:gd name="T25" fmla="*/ 2147483647 h 984"/>
              <a:gd name="T26" fmla="*/ 2147483647 w 1272"/>
              <a:gd name="T27" fmla="*/ 2147483647 h 984"/>
              <a:gd name="T28" fmla="*/ 2147483647 w 1272"/>
              <a:gd name="T29" fmla="*/ 2147483647 h 984"/>
              <a:gd name="T30" fmla="*/ 2147483647 w 1272"/>
              <a:gd name="T31" fmla="*/ 2147483647 h 984"/>
              <a:gd name="T32" fmla="*/ 2147483647 w 1272"/>
              <a:gd name="T33" fmla="*/ 2147483647 h 984"/>
              <a:gd name="T34" fmla="*/ 2147483647 w 1272"/>
              <a:gd name="T35" fmla="*/ 2147483647 h 984"/>
              <a:gd name="T36" fmla="*/ 2147483647 w 1272"/>
              <a:gd name="T37" fmla="*/ 2147483647 h 984"/>
              <a:gd name="T38" fmla="*/ 2147483647 w 1272"/>
              <a:gd name="T39" fmla="*/ 2147483647 h 984"/>
              <a:gd name="T40" fmla="*/ 2147483647 w 1272"/>
              <a:gd name="T41" fmla="*/ 2147483647 h 984"/>
              <a:gd name="T42" fmla="*/ 2147483647 w 1272"/>
              <a:gd name="T43" fmla="*/ 2147483647 h 984"/>
              <a:gd name="T44" fmla="*/ 2147483647 w 1272"/>
              <a:gd name="T45" fmla="*/ 2147483647 h 984"/>
              <a:gd name="T46" fmla="*/ 2147483647 w 1272"/>
              <a:gd name="T47" fmla="*/ 2147483647 h 984"/>
              <a:gd name="T48" fmla="*/ 2147483647 w 1272"/>
              <a:gd name="T49" fmla="*/ 2147483647 h 984"/>
              <a:gd name="T50" fmla="*/ 2147483647 w 1272"/>
              <a:gd name="T51" fmla="*/ 2147483647 h 984"/>
              <a:gd name="T52" fmla="*/ 2147483647 w 1272"/>
              <a:gd name="T53" fmla="*/ 2147483647 h 984"/>
              <a:gd name="T54" fmla="*/ 2147483647 w 1272"/>
              <a:gd name="T55" fmla="*/ 2147483647 h 984"/>
              <a:gd name="T56" fmla="*/ 2147483647 w 1272"/>
              <a:gd name="T57" fmla="*/ 2147483647 h 984"/>
              <a:gd name="T58" fmla="*/ 2147483647 w 1272"/>
              <a:gd name="T59" fmla="*/ 2147483647 h 984"/>
              <a:gd name="T60" fmla="*/ 2147483647 w 1272"/>
              <a:gd name="T61" fmla="*/ 2147483647 h 984"/>
              <a:gd name="T62" fmla="*/ 2147483647 w 1272"/>
              <a:gd name="T63" fmla="*/ 2147483647 h 984"/>
              <a:gd name="T64" fmla="*/ 2147483647 w 1272"/>
              <a:gd name="T65" fmla="*/ 2147483647 h 984"/>
              <a:gd name="T66" fmla="*/ 2147483647 w 1272"/>
              <a:gd name="T67" fmla="*/ 2147483647 h 984"/>
              <a:gd name="T68" fmla="*/ 2147483647 w 1272"/>
              <a:gd name="T69" fmla="*/ 2147483647 h 984"/>
              <a:gd name="T70" fmla="*/ 2147483647 w 1272"/>
              <a:gd name="T71" fmla="*/ 2147483647 h 984"/>
              <a:gd name="T72" fmla="*/ 2147483647 w 1272"/>
              <a:gd name="T73" fmla="*/ 2147483647 h 984"/>
              <a:gd name="T74" fmla="*/ 2147483647 w 1272"/>
              <a:gd name="T75" fmla="*/ 2147483647 h 984"/>
              <a:gd name="T76" fmla="*/ 2147483647 w 1272"/>
              <a:gd name="T77" fmla="*/ 2147483647 h 984"/>
              <a:gd name="T78" fmla="*/ 2147483647 w 1272"/>
              <a:gd name="T79" fmla="*/ 2147483647 h 984"/>
              <a:gd name="T80" fmla="*/ 2147483647 w 1272"/>
              <a:gd name="T81" fmla="*/ 2147483647 h 984"/>
              <a:gd name="T82" fmla="*/ 2147483647 w 1272"/>
              <a:gd name="T83" fmla="*/ 2147483647 h 984"/>
              <a:gd name="T84" fmla="*/ 2147483647 w 1272"/>
              <a:gd name="T85" fmla="*/ 2147483647 h 984"/>
              <a:gd name="T86" fmla="*/ 2147483647 w 1272"/>
              <a:gd name="T87" fmla="*/ 2147483647 h 984"/>
              <a:gd name="T88" fmla="*/ 2147483647 w 1272"/>
              <a:gd name="T89" fmla="*/ 2147483647 h 984"/>
              <a:gd name="T90" fmla="*/ 2147483647 w 1272"/>
              <a:gd name="T91" fmla="*/ 2147483647 h 984"/>
              <a:gd name="T92" fmla="*/ 2147483647 w 1272"/>
              <a:gd name="T93" fmla="*/ 2147483647 h 984"/>
              <a:gd name="T94" fmla="*/ 2147483647 w 1272"/>
              <a:gd name="T95" fmla="*/ 2147483647 h 984"/>
              <a:gd name="T96" fmla="*/ 2147483647 w 1272"/>
              <a:gd name="T97" fmla="*/ 2147483647 h 984"/>
              <a:gd name="T98" fmla="*/ 2147483647 w 1272"/>
              <a:gd name="T99" fmla="*/ 2147483647 h 984"/>
              <a:gd name="T100" fmla="*/ 2147483647 w 1272"/>
              <a:gd name="T101" fmla="*/ 2147483647 h 984"/>
              <a:gd name="T102" fmla="*/ 2147483647 w 1272"/>
              <a:gd name="T103" fmla="*/ 2147483647 h 984"/>
              <a:gd name="T104" fmla="*/ 2147483647 w 1272"/>
              <a:gd name="T105" fmla="*/ 2147483647 h 984"/>
              <a:gd name="T106" fmla="*/ 2147483647 w 1272"/>
              <a:gd name="T107" fmla="*/ 2147483647 h 984"/>
              <a:gd name="T108" fmla="*/ 2147483647 w 1272"/>
              <a:gd name="T109" fmla="*/ 2147483647 h 984"/>
              <a:gd name="T110" fmla="*/ 2147483647 w 1272"/>
              <a:gd name="T111" fmla="*/ 2147483647 h 984"/>
              <a:gd name="T112" fmla="*/ 2147483647 w 1272"/>
              <a:gd name="T113" fmla="*/ 2147483647 h 984"/>
              <a:gd name="T114" fmla="*/ 2147483647 w 1272"/>
              <a:gd name="T115" fmla="*/ 2147483647 h 984"/>
              <a:gd name="T116" fmla="*/ 2147483647 w 1272"/>
              <a:gd name="T117" fmla="*/ 2147483647 h 984"/>
              <a:gd name="T118" fmla="*/ 2147483647 w 1272"/>
              <a:gd name="T119" fmla="*/ 2147483647 h 984"/>
              <a:gd name="T120" fmla="*/ 2147483647 w 1272"/>
              <a:gd name="T121" fmla="*/ 2147483647 h 98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272"/>
              <a:gd name="T184" fmla="*/ 0 h 984"/>
              <a:gd name="T185" fmla="*/ 1272 w 1272"/>
              <a:gd name="T186" fmla="*/ 984 h 98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272" h="984">
                <a:moveTo>
                  <a:pt x="750" y="564"/>
                </a:moveTo>
                <a:lnTo>
                  <a:pt x="738" y="564"/>
                </a:lnTo>
                <a:lnTo>
                  <a:pt x="744" y="528"/>
                </a:lnTo>
                <a:lnTo>
                  <a:pt x="720" y="546"/>
                </a:lnTo>
                <a:lnTo>
                  <a:pt x="726" y="540"/>
                </a:lnTo>
                <a:lnTo>
                  <a:pt x="726" y="504"/>
                </a:lnTo>
                <a:lnTo>
                  <a:pt x="708" y="504"/>
                </a:lnTo>
                <a:lnTo>
                  <a:pt x="702" y="510"/>
                </a:lnTo>
                <a:lnTo>
                  <a:pt x="696" y="522"/>
                </a:lnTo>
                <a:lnTo>
                  <a:pt x="690" y="528"/>
                </a:lnTo>
                <a:lnTo>
                  <a:pt x="672" y="540"/>
                </a:lnTo>
                <a:lnTo>
                  <a:pt x="660" y="546"/>
                </a:lnTo>
                <a:lnTo>
                  <a:pt x="654" y="558"/>
                </a:lnTo>
                <a:lnTo>
                  <a:pt x="642" y="570"/>
                </a:lnTo>
                <a:lnTo>
                  <a:pt x="630" y="576"/>
                </a:lnTo>
                <a:lnTo>
                  <a:pt x="618" y="588"/>
                </a:lnTo>
                <a:lnTo>
                  <a:pt x="606" y="588"/>
                </a:lnTo>
                <a:lnTo>
                  <a:pt x="588" y="600"/>
                </a:lnTo>
                <a:lnTo>
                  <a:pt x="576" y="606"/>
                </a:lnTo>
                <a:lnTo>
                  <a:pt x="546" y="636"/>
                </a:lnTo>
                <a:lnTo>
                  <a:pt x="540" y="648"/>
                </a:lnTo>
                <a:lnTo>
                  <a:pt x="534" y="648"/>
                </a:lnTo>
                <a:lnTo>
                  <a:pt x="528" y="654"/>
                </a:lnTo>
                <a:lnTo>
                  <a:pt x="510" y="660"/>
                </a:lnTo>
                <a:lnTo>
                  <a:pt x="498" y="666"/>
                </a:lnTo>
                <a:lnTo>
                  <a:pt x="462" y="678"/>
                </a:lnTo>
                <a:lnTo>
                  <a:pt x="438" y="690"/>
                </a:lnTo>
                <a:lnTo>
                  <a:pt x="426" y="702"/>
                </a:lnTo>
                <a:lnTo>
                  <a:pt x="414" y="708"/>
                </a:lnTo>
                <a:lnTo>
                  <a:pt x="408" y="720"/>
                </a:lnTo>
                <a:lnTo>
                  <a:pt x="396" y="726"/>
                </a:lnTo>
                <a:lnTo>
                  <a:pt x="378" y="726"/>
                </a:lnTo>
                <a:lnTo>
                  <a:pt x="366" y="732"/>
                </a:lnTo>
                <a:lnTo>
                  <a:pt x="312" y="750"/>
                </a:lnTo>
                <a:lnTo>
                  <a:pt x="288" y="762"/>
                </a:lnTo>
                <a:lnTo>
                  <a:pt x="270" y="774"/>
                </a:lnTo>
                <a:lnTo>
                  <a:pt x="246" y="786"/>
                </a:lnTo>
                <a:lnTo>
                  <a:pt x="222" y="792"/>
                </a:lnTo>
                <a:lnTo>
                  <a:pt x="198" y="804"/>
                </a:lnTo>
                <a:lnTo>
                  <a:pt x="180" y="810"/>
                </a:lnTo>
                <a:lnTo>
                  <a:pt x="174" y="816"/>
                </a:lnTo>
                <a:lnTo>
                  <a:pt x="168" y="828"/>
                </a:lnTo>
                <a:lnTo>
                  <a:pt x="168" y="846"/>
                </a:lnTo>
                <a:lnTo>
                  <a:pt x="156" y="834"/>
                </a:lnTo>
                <a:lnTo>
                  <a:pt x="150" y="834"/>
                </a:lnTo>
                <a:lnTo>
                  <a:pt x="144" y="840"/>
                </a:lnTo>
                <a:lnTo>
                  <a:pt x="120" y="852"/>
                </a:lnTo>
                <a:lnTo>
                  <a:pt x="108" y="864"/>
                </a:lnTo>
                <a:lnTo>
                  <a:pt x="72" y="882"/>
                </a:lnTo>
                <a:lnTo>
                  <a:pt x="66" y="882"/>
                </a:lnTo>
                <a:lnTo>
                  <a:pt x="54" y="888"/>
                </a:lnTo>
                <a:lnTo>
                  <a:pt x="36" y="888"/>
                </a:lnTo>
                <a:lnTo>
                  <a:pt x="18" y="894"/>
                </a:lnTo>
                <a:lnTo>
                  <a:pt x="12" y="906"/>
                </a:lnTo>
                <a:lnTo>
                  <a:pt x="0" y="912"/>
                </a:lnTo>
                <a:lnTo>
                  <a:pt x="18" y="912"/>
                </a:lnTo>
                <a:lnTo>
                  <a:pt x="24" y="918"/>
                </a:lnTo>
                <a:lnTo>
                  <a:pt x="30" y="918"/>
                </a:lnTo>
                <a:lnTo>
                  <a:pt x="24" y="924"/>
                </a:lnTo>
                <a:lnTo>
                  <a:pt x="24" y="942"/>
                </a:lnTo>
                <a:lnTo>
                  <a:pt x="30" y="948"/>
                </a:lnTo>
                <a:lnTo>
                  <a:pt x="42" y="948"/>
                </a:lnTo>
                <a:lnTo>
                  <a:pt x="54" y="942"/>
                </a:lnTo>
                <a:lnTo>
                  <a:pt x="60" y="936"/>
                </a:lnTo>
                <a:lnTo>
                  <a:pt x="72" y="948"/>
                </a:lnTo>
                <a:lnTo>
                  <a:pt x="96" y="948"/>
                </a:lnTo>
                <a:lnTo>
                  <a:pt x="102" y="954"/>
                </a:lnTo>
                <a:lnTo>
                  <a:pt x="132" y="954"/>
                </a:lnTo>
                <a:lnTo>
                  <a:pt x="150" y="972"/>
                </a:lnTo>
                <a:lnTo>
                  <a:pt x="180" y="966"/>
                </a:lnTo>
                <a:lnTo>
                  <a:pt x="192" y="972"/>
                </a:lnTo>
                <a:lnTo>
                  <a:pt x="198" y="978"/>
                </a:lnTo>
                <a:lnTo>
                  <a:pt x="216" y="984"/>
                </a:lnTo>
                <a:lnTo>
                  <a:pt x="228" y="984"/>
                </a:lnTo>
                <a:lnTo>
                  <a:pt x="252" y="972"/>
                </a:lnTo>
                <a:lnTo>
                  <a:pt x="264" y="948"/>
                </a:lnTo>
                <a:lnTo>
                  <a:pt x="288" y="936"/>
                </a:lnTo>
                <a:lnTo>
                  <a:pt x="312" y="936"/>
                </a:lnTo>
                <a:lnTo>
                  <a:pt x="336" y="924"/>
                </a:lnTo>
                <a:lnTo>
                  <a:pt x="342" y="912"/>
                </a:lnTo>
                <a:lnTo>
                  <a:pt x="342" y="894"/>
                </a:lnTo>
                <a:lnTo>
                  <a:pt x="348" y="882"/>
                </a:lnTo>
                <a:lnTo>
                  <a:pt x="372" y="870"/>
                </a:lnTo>
                <a:lnTo>
                  <a:pt x="396" y="870"/>
                </a:lnTo>
                <a:lnTo>
                  <a:pt x="408" y="858"/>
                </a:lnTo>
                <a:lnTo>
                  <a:pt x="408" y="846"/>
                </a:lnTo>
                <a:lnTo>
                  <a:pt x="402" y="840"/>
                </a:lnTo>
                <a:lnTo>
                  <a:pt x="420" y="840"/>
                </a:lnTo>
                <a:lnTo>
                  <a:pt x="480" y="792"/>
                </a:lnTo>
                <a:lnTo>
                  <a:pt x="462" y="774"/>
                </a:lnTo>
                <a:lnTo>
                  <a:pt x="504" y="792"/>
                </a:lnTo>
                <a:lnTo>
                  <a:pt x="504" y="774"/>
                </a:lnTo>
                <a:lnTo>
                  <a:pt x="510" y="768"/>
                </a:lnTo>
                <a:lnTo>
                  <a:pt x="540" y="768"/>
                </a:lnTo>
                <a:lnTo>
                  <a:pt x="546" y="774"/>
                </a:lnTo>
                <a:lnTo>
                  <a:pt x="558" y="780"/>
                </a:lnTo>
                <a:lnTo>
                  <a:pt x="570" y="780"/>
                </a:lnTo>
                <a:lnTo>
                  <a:pt x="576" y="774"/>
                </a:lnTo>
                <a:lnTo>
                  <a:pt x="576" y="768"/>
                </a:lnTo>
                <a:lnTo>
                  <a:pt x="582" y="762"/>
                </a:lnTo>
                <a:lnTo>
                  <a:pt x="582" y="756"/>
                </a:lnTo>
                <a:lnTo>
                  <a:pt x="570" y="744"/>
                </a:lnTo>
                <a:lnTo>
                  <a:pt x="612" y="702"/>
                </a:lnTo>
                <a:lnTo>
                  <a:pt x="618" y="702"/>
                </a:lnTo>
                <a:lnTo>
                  <a:pt x="624" y="696"/>
                </a:lnTo>
                <a:lnTo>
                  <a:pt x="660" y="678"/>
                </a:lnTo>
                <a:lnTo>
                  <a:pt x="666" y="666"/>
                </a:lnTo>
                <a:lnTo>
                  <a:pt x="672" y="660"/>
                </a:lnTo>
                <a:lnTo>
                  <a:pt x="672" y="654"/>
                </a:lnTo>
                <a:lnTo>
                  <a:pt x="696" y="654"/>
                </a:lnTo>
                <a:lnTo>
                  <a:pt x="708" y="648"/>
                </a:lnTo>
                <a:lnTo>
                  <a:pt x="738" y="618"/>
                </a:lnTo>
                <a:lnTo>
                  <a:pt x="738" y="612"/>
                </a:lnTo>
                <a:lnTo>
                  <a:pt x="744" y="612"/>
                </a:lnTo>
                <a:lnTo>
                  <a:pt x="750" y="606"/>
                </a:lnTo>
                <a:lnTo>
                  <a:pt x="768" y="594"/>
                </a:lnTo>
                <a:lnTo>
                  <a:pt x="780" y="582"/>
                </a:lnTo>
                <a:lnTo>
                  <a:pt x="786" y="570"/>
                </a:lnTo>
                <a:lnTo>
                  <a:pt x="786" y="546"/>
                </a:lnTo>
                <a:lnTo>
                  <a:pt x="780" y="540"/>
                </a:lnTo>
                <a:lnTo>
                  <a:pt x="780" y="534"/>
                </a:lnTo>
                <a:lnTo>
                  <a:pt x="750" y="564"/>
                </a:lnTo>
                <a:close/>
                <a:moveTo>
                  <a:pt x="1224" y="324"/>
                </a:moveTo>
                <a:lnTo>
                  <a:pt x="1236" y="318"/>
                </a:lnTo>
                <a:lnTo>
                  <a:pt x="1242" y="318"/>
                </a:lnTo>
                <a:lnTo>
                  <a:pt x="1266" y="306"/>
                </a:lnTo>
                <a:lnTo>
                  <a:pt x="1272" y="300"/>
                </a:lnTo>
                <a:lnTo>
                  <a:pt x="1272" y="282"/>
                </a:lnTo>
                <a:lnTo>
                  <a:pt x="1266" y="270"/>
                </a:lnTo>
                <a:lnTo>
                  <a:pt x="1260" y="264"/>
                </a:lnTo>
                <a:lnTo>
                  <a:pt x="1248" y="264"/>
                </a:lnTo>
                <a:lnTo>
                  <a:pt x="1236" y="276"/>
                </a:lnTo>
                <a:lnTo>
                  <a:pt x="1236" y="282"/>
                </a:lnTo>
                <a:lnTo>
                  <a:pt x="1224" y="282"/>
                </a:lnTo>
                <a:lnTo>
                  <a:pt x="1212" y="276"/>
                </a:lnTo>
                <a:lnTo>
                  <a:pt x="1200" y="276"/>
                </a:lnTo>
                <a:lnTo>
                  <a:pt x="1194" y="282"/>
                </a:lnTo>
                <a:lnTo>
                  <a:pt x="1176" y="288"/>
                </a:lnTo>
                <a:lnTo>
                  <a:pt x="1158" y="288"/>
                </a:lnTo>
                <a:lnTo>
                  <a:pt x="1146" y="276"/>
                </a:lnTo>
                <a:lnTo>
                  <a:pt x="1146" y="222"/>
                </a:lnTo>
                <a:lnTo>
                  <a:pt x="1170" y="180"/>
                </a:lnTo>
                <a:lnTo>
                  <a:pt x="1170" y="174"/>
                </a:lnTo>
                <a:lnTo>
                  <a:pt x="1164" y="162"/>
                </a:lnTo>
                <a:lnTo>
                  <a:pt x="1158" y="156"/>
                </a:lnTo>
                <a:lnTo>
                  <a:pt x="1146" y="156"/>
                </a:lnTo>
                <a:lnTo>
                  <a:pt x="1140" y="168"/>
                </a:lnTo>
                <a:lnTo>
                  <a:pt x="1134" y="174"/>
                </a:lnTo>
                <a:lnTo>
                  <a:pt x="1134" y="204"/>
                </a:lnTo>
                <a:lnTo>
                  <a:pt x="1128" y="216"/>
                </a:lnTo>
                <a:lnTo>
                  <a:pt x="1116" y="222"/>
                </a:lnTo>
                <a:lnTo>
                  <a:pt x="1116" y="192"/>
                </a:lnTo>
                <a:lnTo>
                  <a:pt x="1092" y="174"/>
                </a:lnTo>
                <a:lnTo>
                  <a:pt x="1104" y="150"/>
                </a:lnTo>
                <a:lnTo>
                  <a:pt x="1116" y="138"/>
                </a:lnTo>
                <a:lnTo>
                  <a:pt x="1122" y="126"/>
                </a:lnTo>
                <a:lnTo>
                  <a:pt x="1128" y="108"/>
                </a:lnTo>
                <a:lnTo>
                  <a:pt x="1128" y="84"/>
                </a:lnTo>
                <a:lnTo>
                  <a:pt x="1116" y="78"/>
                </a:lnTo>
                <a:lnTo>
                  <a:pt x="1110" y="72"/>
                </a:lnTo>
                <a:lnTo>
                  <a:pt x="1098" y="66"/>
                </a:lnTo>
                <a:lnTo>
                  <a:pt x="1092" y="60"/>
                </a:lnTo>
                <a:lnTo>
                  <a:pt x="1080" y="60"/>
                </a:lnTo>
                <a:lnTo>
                  <a:pt x="1086" y="42"/>
                </a:lnTo>
                <a:lnTo>
                  <a:pt x="1062" y="42"/>
                </a:lnTo>
                <a:lnTo>
                  <a:pt x="1044" y="18"/>
                </a:lnTo>
                <a:lnTo>
                  <a:pt x="1050" y="0"/>
                </a:lnTo>
                <a:lnTo>
                  <a:pt x="1020" y="18"/>
                </a:lnTo>
                <a:lnTo>
                  <a:pt x="1044" y="54"/>
                </a:lnTo>
                <a:lnTo>
                  <a:pt x="1032" y="90"/>
                </a:lnTo>
                <a:lnTo>
                  <a:pt x="1056" y="102"/>
                </a:lnTo>
                <a:lnTo>
                  <a:pt x="1044" y="108"/>
                </a:lnTo>
                <a:lnTo>
                  <a:pt x="1044" y="126"/>
                </a:lnTo>
                <a:lnTo>
                  <a:pt x="1068" y="132"/>
                </a:lnTo>
                <a:lnTo>
                  <a:pt x="1044" y="150"/>
                </a:lnTo>
                <a:lnTo>
                  <a:pt x="1062" y="156"/>
                </a:lnTo>
                <a:lnTo>
                  <a:pt x="1062" y="168"/>
                </a:lnTo>
                <a:lnTo>
                  <a:pt x="1056" y="174"/>
                </a:lnTo>
                <a:lnTo>
                  <a:pt x="1056" y="192"/>
                </a:lnTo>
                <a:lnTo>
                  <a:pt x="1068" y="198"/>
                </a:lnTo>
                <a:lnTo>
                  <a:pt x="1074" y="204"/>
                </a:lnTo>
                <a:lnTo>
                  <a:pt x="1056" y="210"/>
                </a:lnTo>
                <a:lnTo>
                  <a:pt x="1044" y="222"/>
                </a:lnTo>
                <a:lnTo>
                  <a:pt x="1062" y="234"/>
                </a:lnTo>
                <a:lnTo>
                  <a:pt x="1038" y="258"/>
                </a:lnTo>
                <a:lnTo>
                  <a:pt x="1032" y="270"/>
                </a:lnTo>
                <a:lnTo>
                  <a:pt x="1026" y="276"/>
                </a:lnTo>
                <a:lnTo>
                  <a:pt x="1026" y="288"/>
                </a:lnTo>
                <a:lnTo>
                  <a:pt x="1038" y="300"/>
                </a:lnTo>
                <a:lnTo>
                  <a:pt x="1026" y="300"/>
                </a:lnTo>
                <a:lnTo>
                  <a:pt x="1014" y="306"/>
                </a:lnTo>
                <a:lnTo>
                  <a:pt x="1002" y="306"/>
                </a:lnTo>
                <a:lnTo>
                  <a:pt x="978" y="318"/>
                </a:lnTo>
                <a:lnTo>
                  <a:pt x="948" y="348"/>
                </a:lnTo>
                <a:lnTo>
                  <a:pt x="930" y="360"/>
                </a:lnTo>
                <a:lnTo>
                  <a:pt x="894" y="372"/>
                </a:lnTo>
                <a:lnTo>
                  <a:pt x="870" y="384"/>
                </a:lnTo>
                <a:lnTo>
                  <a:pt x="858" y="396"/>
                </a:lnTo>
                <a:lnTo>
                  <a:pt x="858" y="432"/>
                </a:lnTo>
                <a:lnTo>
                  <a:pt x="864" y="444"/>
                </a:lnTo>
                <a:lnTo>
                  <a:pt x="870" y="450"/>
                </a:lnTo>
                <a:lnTo>
                  <a:pt x="870" y="456"/>
                </a:lnTo>
                <a:lnTo>
                  <a:pt x="924" y="456"/>
                </a:lnTo>
                <a:lnTo>
                  <a:pt x="924" y="474"/>
                </a:lnTo>
                <a:lnTo>
                  <a:pt x="918" y="486"/>
                </a:lnTo>
                <a:lnTo>
                  <a:pt x="918" y="522"/>
                </a:lnTo>
                <a:lnTo>
                  <a:pt x="894" y="534"/>
                </a:lnTo>
                <a:lnTo>
                  <a:pt x="882" y="534"/>
                </a:lnTo>
                <a:lnTo>
                  <a:pt x="864" y="540"/>
                </a:lnTo>
                <a:lnTo>
                  <a:pt x="852" y="546"/>
                </a:lnTo>
                <a:lnTo>
                  <a:pt x="852" y="558"/>
                </a:lnTo>
                <a:lnTo>
                  <a:pt x="840" y="570"/>
                </a:lnTo>
                <a:lnTo>
                  <a:pt x="852" y="576"/>
                </a:lnTo>
                <a:lnTo>
                  <a:pt x="858" y="582"/>
                </a:lnTo>
                <a:lnTo>
                  <a:pt x="876" y="588"/>
                </a:lnTo>
                <a:lnTo>
                  <a:pt x="888" y="588"/>
                </a:lnTo>
                <a:lnTo>
                  <a:pt x="912" y="576"/>
                </a:lnTo>
                <a:lnTo>
                  <a:pt x="924" y="558"/>
                </a:lnTo>
                <a:lnTo>
                  <a:pt x="972" y="510"/>
                </a:lnTo>
                <a:lnTo>
                  <a:pt x="996" y="498"/>
                </a:lnTo>
                <a:lnTo>
                  <a:pt x="1014" y="492"/>
                </a:lnTo>
                <a:lnTo>
                  <a:pt x="1026" y="486"/>
                </a:lnTo>
                <a:lnTo>
                  <a:pt x="1032" y="480"/>
                </a:lnTo>
                <a:lnTo>
                  <a:pt x="1038" y="480"/>
                </a:lnTo>
                <a:lnTo>
                  <a:pt x="1044" y="474"/>
                </a:lnTo>
                <a:lnTo>
                  <a:pt x="1050" y="462"/>
                </a:lnTo>
                <a:lnTo>
                  <a:pt x="1056" y="462"/>
                </a:lnTo>
                <a:lnTo>
                  <a:pt x="1062" y="456"/>
                </a:lnTo>
                <a:lnTo>
                  <a:pt x="1074" y="450"/>
                </a:lnTo>
                <a:lnTo>
                  <a:pt x="1080" y="444"/>
                </a:lnTo>
                <a:lnTo>
                  <a:pt x="1080" y="420"/>
                </a:lnTo>
                <a:lnTo>
                  <a:pt x="1074" y="414"/>
                </a:lnTo>
                <a:lnTo>
                  <a:pt x="1080" y="414"/>
                </a:lnTo>
                <a:lnTo>
                  <a:pt x="1086" y="408"/>
                </a:lnTo>
                <a:lnTo>
                  <a:pt x="1110" y="396"/>
                </a:lnTo>
                <a:lnTo>
                  <a:pt x="1140" y="396"/>
                </a:lnTo>
                <a:lnTo>
                  <a:pt x="1152" y="402"/>
                </a:lnTo>
                <a:lnTo>
                  <a:pt x="1164" y="402"/>
                </a:lnTo>
                <a:lnTo>
                  <a:pt x="1176" y="390"/>
                </a:lnTo>
                <a:lnTo>
                  <a:pt x="1176" y="360"/>
                </a:lnTo>
                <a:lnTo>
                  <a:pt x="1200" y="360"/>
                </a:lnTo>
                <a:lnTo>
                  <a:pt x="1212" y="354"/>
                </a:lnTo>
                <a:lnTo>
                  <a:pt x="1218" y="354"/>
                </a:lnTo>
                <a:lnTo>
                  <a:pt x="1224" y="348"/>
                </a:lnTo>
                <a:lnTo>
                  <a:pt x="1224" y="3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7" name="Newfoundland"/>
          <p:cNvSpPr>
            <a:spLocks/>
          </p:cNvSpPr>
          <p:nvPr/>
        </p:nvSpPr>
        <p:spPr bwMode="gray">
          <a:xfrm>
            <a:off x="2551971" y="2597818"/>
            <a:ext cx="171450" cy="153987"/>
          </a:xfrm>
          <a:custGeom>
            <a:avLst/>
            <a:gdLst>
              <a:gd name="T0" fmla="*/ 2147483647 w 426"/>
              <a:gd name="T1" fmla="*/ 2147483647 h 384"/>
              <a:gd name="T2" fmla="*/ 2147483647 w 426"/>
              <a:gd name="T3" fmla="*/ 2147483647 h 384"/>
              <a:gd name="T4" fmla="*/ 2147483647 w 426"/>
              <a:gd name="T5" fmla="*/ 0 h 384"/>
              <a:gd name="T6" fmla="*/ 2147483647 w 426"/>
              <a:gd name="T7" fmla="*/ 2147483647 h 384"/>
              <a:gd name="T8" fmla="*/ 2147483647 w 426"/>
              <a:gd name="T9" fmla="*/ 2147483647 h 384"/>
              <a:gd name="T10" fmla="*/ 2147483647 w 426"/>
              <a:gd name="T11" fmla="*/ 2147483647 h 384"/>
              <a:gd name="T12" fmla="*/ 2147483647 w 426"/>
              <a:gd name="T13" fmla="*/ 2147483647 h 384"/>
              <a:gd name="T14" fmla="*/ 2147483647 w 426"/>
              <a:gd name="T15" fmla="*/ 2147483647 h 384"/>
              <a:gd name="T16" fmla="*/ 2147483647 w 426"/>
              <a:gd name="T17" fmla="*/ 2147483647 h 384"/>
              <a:gd name="T18" fmla="*/ 2147483647 w 426"/>
              <a:gd name="T19" fmla="*/ 2147483647 h 384"/>
              <a:gd name="T20" fmla="*/ 2147483647 w 426"/>
              <a:gd name="T21" fmla="*/ 2147483647 h 384"/>
              <a:gd name="T22" fmla="*/ 2147483647 w 426"/>
              <a:gd name="T23" fmla="*/ 2147483647 h 384"/>
              <a:gd name="T24" fmla="*/ 2147483647 w 426"/>
              <a:gd name="T25" fmla="*/ 2147483647 h 384"/>
              <a:gd name="T26" fmla="*/ 2147483647 w 426"/>
              <a:gd name="T27" fmla="*/ 2147483647 h 384"/>
              <a:gd name="T28" fmla="*/ 2147483647 w 426"/>
              <a:gd name="T29" fmla="*/ 2147483647 h 384"/>
              <a:gd name="T30" fmla="*/ 2147483647 w 426"/>
              <a:gd name="T31" fmla="*/ 2147483647 h 384"/>
              <a:gd name="T32" fmla="*/ 2147483647 w 426"/>
              <a:gd name="T33" fmla="*/ 2147483647 h 384"/>
              <a:gd name="T34" fmla="*/ 2147483647 w 426"/>
              <a:gd name="T35" fmla="*/ 2147483647 h 384"/>
              <a:gd name="T36" fmla="*/ 2147483647 w 426"/>
              <a:gd name="T37" fmla="*/ 2147483647 h 384"/>
              <a:gd name="T38" fmla="*/ 2147483647 w 426"/>
              <a:gd name="T39" fmla="*/ 2147483647 h 384"/>
              <a:gd name="T40" fmla="*/ 2147483647 w 426"/>
              <a:gd name="T41" fmla="*/ 2147483647 h 384"/>
              <a:gd name="T42" fmla="*/ 2147483647 w 426"/>
              <a:gd name="T43" fmla="*/ 2147483647 h 384"/>
              <a:gd name="T44" fmla="*/ 2147483647 w 426"/>
              <a:gd name="T45" fmla="*/ 2147483647 h 384"/>
              <a:gd name="T46" fmla="*/ 2147483647 w 426"/>
              <a:gd name="T47" fmla="*/ 2147483647 h 384"/>
              <a:gd name="T48" fmla="*/ 2147483647 w 426"/>
              <a:gd name="T49" fmla="*/ 2147483647 h 384"/>
              <a:gd name="T50" fmla="*/ 2147483647 w 426"/>
              <a:gd name="T51" fmla="*/ 2147483647 h 384"/>
              <a:gd name="T52" fmla="*/ 2147483647 w 426"/>
              <a:gd name="T53" fmla="*/ 2147483647 h 384"/>
              <a:gd name="T54" fmla="*/ 2147483647 w 426"/>
              <a:gd name="T55" fmla="*/ 2147483647 h 384"/>
              <a:gd name="T56" fmla="*/ 2147483647 w 426"/>
              <a:gd name="T57" fmla="*/ 2147483647 h 384"/>
              <a:gd name="T58" fmla="*/ 2147483647 w 426"/>
              <a:gd name="T59" fmla="*/ 2147483647 h 384"/>
              <a:gd name="T60" fmla="*/ 2147483647 w 426"/>
              <a:gd name="T61" fmla="*/ 2147483647 h 384"/>
              <a:gd name="T62" fmla="*/ 2147483647 w 426"/>
              <a:gd name="T63" fmla="*/ 2147483647 h 384"/>
              <a:gd name="T64" fmla="*/ 2147483647 w 426"/>
              <a:gd name="T65" fmla="*/ 2147483647 h 384"/>
              <a:gd name="T66" fmla="*/ 2147483647 w 426"/>
              <a:gd name="T67" fmla="*/ 2147483647 h 384"/>
              <a:gd name="T68" fmla="*/ 2147483647 w 426"/>
              <a:gd name="T69" fmla="*/ 2147483647 h 384"/>
              <a:gd name="T70" fmla="*/ 2147483647 w 426"/>
              <a:gd name="T71" fmla="*/ 2147483647 h 384"/>
              <a:gd name="T72" fmla="*/ 2147483647 w 426"/>
              <a:gd name="T73" fmla="*/ 2147483647 h 384"/>
              <a:gd name="T74" fmla="*/ 2147483647 w 426"/>
              <a:gd name="T75" fmla="*/ 2147483647 h 384"/>
              <a:gd name="T76" fmla="*/ 2147483647 w 426"/>
              <a:gd name="T77" fmla="*/ 2147483647 h 384"/>
              <a:gd name="T78" fmla="*/ 2147483647 w 426"/>
              <a:gd name="T79" fmla="*/ 2147483647 h 384"/>
              <a:gd name="T80" fmla="*/ 2147483647 w 426"/>
              <a:gd name="T81" fmla="*/ 2147483647 h 384"/>
              <a:gd name="T82" fmla="*/ 2147483647 w 426"/>
              <a:gd name="T83" fmla="*/ 2147483647 h 38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26"/>
              <a:gd name="T127" fmla="*/ 0 h 384"/>
              <a:gd name="T128" fmla="*/ 426 w 426"/>
              <a:gd name="T129" fmla="*/ 384 h 38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26" h="384">
                <a:moveTo>
                  <a:pt x="258" y="18"/>
                </a:moveTo>
                <a:lnTo>
                  <a:pt x="270" y="12"/>
                </a:lnTo>
                <a:lnTo>
                  <a:pt x="276" y="12"/>
                </a:lnTo>
                <a:lnTo>
                  <a:pt x="294" y="6"/>
                </a:lnTo>
                <a:lnTo>
                  <a:pt x="306" y="0"/>
                </a:lnTo>
                <a:lnTo>
                  <a:pt x="330" y="0"/>
                </a:lnTo>
                <a:lnTo>
                  <a:pt x="342" y="6"/>
                </a:lnTo>
                <a:lnTo>
                  <a:pt x="342" y="18"/>
                </a:lnTo>
                <a:lnTo>
                  <a:pt x="336" y="24"/>
                </a:lnTo>
                <a:lnTo>
                  <a:pt x="312" y="42"/>
                </a:lnTo>
                <a:lnTo>
                  <a:pt x="312" y="48"/>
                </a:lnTo>
                <a:lnTo>
                  <a:pt x="306" y="54"/>
                </a:lnTo>
                <a:lnTo>
                  <a:pt x="300" y="72"/>
                </a:lnTo>
                <a:lnTo>
                  <a:pt x="276" y="96"/>
                </a:lnTo>
                <a:lnTo>
                  <a:pt x="258" y="102"/>
                </a:lnTo>
                <a:lnTo>
                  <a:pt x="246" y="102"/>
                </a:lnTo>
                <a:lnTo>
                  <a:pt x="210" y="150"/>
                </a:lnTo>
                <a:lnTo>
                  <a:pt x="210" y="174"/>
                </a:lnTo>
                <a:lnTo>
                  <a:pt x="234" y="156"/>
                </a:lnTo>
                <a:lnTo>
                  <a:pt x="264" y="108"/>
                </a:lnTo>
                <a:lnTo>
                  <a:pt x="282" y="126"/>
                </a:lnTo>
                <a:lnTo>
                  <a:pt x="306" y="138"/>
                </a:lnTo>
                <a:lnTo>
                  <a:pt x="294" y="168"/>
                </a:lnTo>
                <a:lnTo>
                  <a:pt x="324" y="168"/>
                </a:lnTo>
                <a:lnTo>
                  <a:pt x="330" y="192"/>
                </a:lnTo>
                <a:lnTo>
                  <a:pt x="384" y="162"/>
                </a:lnTo>
                <a:lnTo>
                  <a:pt x="402" y="174"/>
                </a:lnTo>
                <a:lnTo>
                  <a:pt x="396" y="180"/>
                </a:lnTo>
                <a:lnTo>
                  <a:pt x="390" y="192"/>
                </a:lnTo>
                <a:lnTo>
                  <a:pt x="378" y="204"/>
                </a:lnTo>
                <a:lnTo>
                  <a:pt x="372" y="204"/>
                </a:lnTo>
                <a:lnTo>
                  <a:pt x="384" y="204"/>
                </a:lnTo>
                <a:lnTo>
                  <a:pt x="396" y="210"/>
                </a:lnTo>
                <a:lnTo>
                  <a:pt x="408" y="210"/>
                </a:lnTo>
                <a:lnTo>
                  <a:pt x="408" y="216"/>
                </a:lnTo>
                <a:lnTo>
                  <a:pt x="396" y="240"/>
                </a:lnTo>
                <a:lnTo>
                  <a:pt x="384" y="252"/>
                </a:lnTo>
                <a:lnTo>
                  <a:pt x="378" y="264"/>
                </a:lnTo>
                <a:lnTo>
                  <a:pt x="366" y="276"/>
                </a:lnTo>
                <a:lnTo>
                  <a:pt x="360" y="288"/>
                </a:lnTo>
                <a:lnTo>
                  <a:pt x="354" y="294"/>
                </a:lnTo>
                <a:lnTo>
                  <a:pt x="390" y="294"/>
                </a:lnTo>
                <a:lnTo>
                  <a:pt x="354" y="312"/>
                </a:lnTo>
                <a:lnTo>
                  <a:pt x="384" y="312"/>
                </a:lnTo>
                <a:lnTo>
                  <a:pt x="420" y="300"/>
                </a:lnTo>
                <a:lnTo>
                  <a:pt x="426" y="324"/>
                </a:lnTo>
                <a:lnTo>
                  <a:pt x="360" y="384"/>
                </a:lnTo>
                <a:lnTo>
                  <a:pt x="318" y="378"/>
                </a:lnTo>
                <a:lnTo>
                  <a:pt x="336" y="354"/>
                </a:lnTo>
                <a:lnTo>
                  <a:pt x="306" y="360"/>
                </a:lnTo>
                <a:lnTo>
                  <a:pt x="300" y="348"/>
                </a:lnTo>
                <a:lnTo>
                  <a:pt x="228" y="360"/>
                </a:lnTo>
                <a:lnTo>
                  <a:pt x="192" y="354"/>
                </a:lnTo>
                <a:lnTo>
                  <a:pt x="186" y="348"/>
                </a:lnTo>
                <a:lnTo>
                  <a:pt x="228" y="336"/>
                </a:lnTo>
                <a:lnTo>
                  <a:pt x="234" y="330"/>
                </a:lnTo>
                <a:lnTo>
                  <a:pt x="234" y="324"/>
                </a:lnTo>
                <a:lnTo>
                  <a:pt x="228" y="324"/>
                </a:lnTo>
                <a:lnTo>
                  <a:pt x="222" y="318"/>
                </a:lnTo>
                <a:lnTo>
                  <a:pt x="198" y="318"/>
                </a:lnTo>
                <a:lnTo>
                  <a:pt x="162" y="312"/>
                </a:lnTo>
                <a:lnTo>
                  <a:pt x="126" y="300"/>
                </a:lnTo>
                <a:lnTo>
                  <a:pt x="96" y="294"/>
                </a:lnTo>
                <a:lnTo>
                  <a:pt x="78" y="294"/>
                </a:lnTo>
                <a:lnTo>
                  <a:pt x="72" y="300"/>
                </a:lnTo>
                <a:lnTo>
                  <a:pt x="48" y="300"/>
                </a:lnTo>
                <a:lnTo>
                  <a:pt x="36" y="306"/>
                </a:lnTo>
                <a:lnTo>
                  <a:pt x="24" y="306"/>
                </a:lnTo>
                <a:lnTo>
                  <a:pt x="12" y="300"/>
                </a:lnTo>
                <a:lnTo>
                  <a:pt x="6" y="294"/>
                </a:lnTo>
                <a:lnTo>
                  <a:pt x="18" y="282"/>
                </a:lnTo>
                <a:lnTo>
                  <a:pt x="24" y="282"/>
                </a:lnTo>
                <a:lnTo>
                  <a:pt x="30" y="276"/>
                </a:lnTo>
                <a:lnTo>
                  <a:pt x="42" y="276"/>
                </a:lnTo>
                <a:lnTo>
                  <a:pt x="30" y="276"/>
                </a:lnTo>
                <a:lnTo>
                  <a:pt x="12" y="270"/>
                </a:lnTo>
                <a:lnTo>
                  <a:pt x="0" y="258"/>
                </a:lnTo>
                <a:lnTo>
                  <a:pt x="6" y="252"/>
                </a:lnTo>
                <a:lnTo>
                  <a:pt x="18" y="252"/>
                </a:lnTo>
                <a:lnTo>
                  <a:pt x="54" y="234"/>
                </a:lnTo>
                <a:lnTo>
                  <a:pt x="60" y="228"/>
                </a:lnTo>
                <a:lnTo>
                  <a:pt x="66" y="228"/>
                </a:lnTo>
                <a:lnTo>
                  <a:pt x="204" y="90"/>
                </a:lnTo>
                <a:lnTo>
                  <a:pt x="258" y="1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8" name="Nepal"/>
          <p:cNvSpPr>
            <a:spLocks/>
          </p:cNvSpPr>
          <p:nvPr/>
        </p:nvSpPr>
        <p:spPr bwMode="gray">
          <a:xfrm>
            <a:off x="6238146" y="3270918"/>
            <a:ext cx="236537" cy="133350"/>
          </a:xfrm>
          <a:custGeom>
            <a:avLst/>
            <a:gdLst>
              <a:gd name="T0" fmla="*/ 2147483647 w 588"/>
              <a:gd name="T1" fmla="*/ 2147483647 h 330"/>
              <a:gd name="T2" fmla="*/ 2147483647 w 588"/>
              <a:gd name="T3" fmla="*/ 2147483647 h 330"/>
              <a:gd name="T4" fmla="*/ 2147483647 w 588"/>
              <a:gd name="T5" fmla="*/ 2147483647 h 330"/>
              <a:gd name="T6" fmla="*/ 2147483647 w 588"/>
              <a:gd name="T7" fmla="*/ 2147483647 h 330"/>
              <a:gd name="T8" fmla="*/ 2147483647 w 588"/>
              <a:gd name="T9" fmla="*/ 2147483647 h 330"/>
              <a:gd name="T10" fmla="*/ 2147483647 w 588"/>
              <a:gd name="T11" fmla="*/ 2147483647 h 330"/>
              <a:gd name="T12" fmla="*/ 2147483647 w 588"/>
              <a:gd name="T13" fmla="*/ 2147483647 h 330"/>
              <a:gd name="T14" fmla="*/ 2147483647 w 588"/>
              <a:gd name="T15" fmla="*/ 2147483647 h 330"/>
              <a:gd name="T16" fmla="*/ 2147483647 w 588"/>
              <a:gd name="T17" fmla="*/ 2147483647 h 330"/>
              <a:gd name="T18" fmla="*/ 2147483647 w 588"/>
              <a:gd name="T19" fmla="*/ 2147483647 h 330"/>
              <a:gd name="T20" fmla="*/ 2147483647 w 588"/>
              <a:gd name="T21" fmla="*/ 2147483647 h 330"/>
              <a:gd name="T22" fmla="*/ 2147483647 w 588"/>
              <a:gd name="T23" fmla="*/ 2147483647 h 330"/>
              <a:gd name="T24" fmla="*/ 2147483647 w 588"/>
              <a:gd name="T25" fmla="*/ 2147483647 h 330"/>
              <a:gd name="T26" fmla="*/ 2147483647 w 588"/>
              <a:gd name="T27" fmla="*/ 2147483647 h 330"/>
              <a:gd name="T28" fmla="*/ 2147483647 w 588"/>
              <a:gd name="T29" fmla="*/ 2147483647 h 330"/>
              <a:gd name="T30" fmla="*/ 2147483647 w 588"/>
              <a:gd name="T31" fmla="*/ 2147483647 h 330"/>
              <a:gd name="T32" fmla="*/ 2147483647 w 588"/>
              <a:gd name="T33" fmla="*/ 2147483647 h 330"/>
              <a:gd name="T34" fmla="*/ 2147483647 w 588"/>
              <a:gd name="T35" fmla="*/ 2147483647 h 330"/>
              <a:gd name="T36" fmla="*/ 2147483647 w 588"/>
              <a:gd name="T37" fmla="*/ 2147483647 h 330"/>
              <a:gd name="T38" fmla="*/ 2147483647 w 588"/>
              <a:gd name="T39" fmla="*/ 2147483647 h 330"/>
              <a:gd name="T40" fmla="*/ 2147483647 w 588"/>
              <a:gd name="T41" fmla="*/ 2147483647 h 330"/>
              <a:gd name="T42" fmla="*/ 2147483647 w 588"/>
              <a:gd name="T43" fmla="*/ 2147483647 h 330"/>
              <a:gd name="T44" fmla="*/ 2147483647 w 588"/>
              <a:gd name="T45" fmla="*/ 2147483647 h 330"/>
              <a:gd name="T46" fmla="*/ 2147483647 w 588"/>
              <a:gd name="T47" fmla="*/ 2147483647 h 330"/>
              <a:gd name="T48" fmla="*/ 2147483647 w 588"/>
              <a:gd name="T49" fmla="*/ 2147483647 h 330"/>
              <a:gd name="T50" fmla="*/ 2147483647 w 588"/>
              <a:gd name="T51" fmla="*/ 2147483647 h 330"/>
              <a:gd name="T52" fmla="*/ 2147483647 w 588"/>
              <a:gd name="T53" fmla="*/ 2147483647 h 330"/>
              <a:gd name="T54" fmla="*/ 2147483647 w 588"/>
              <a:gd name="T55" fmla="*/ 2147483647 h 330"/>
              <a:gd name="T56" fmla="*/ 2147483647 w 588"/>
              <a:gd name="T57" fmla="*/ 2147483647 h 330"/>
              <a:gd name="T58" fmla="*/ 2147483647 w 588"/>
              <a:gd name="T59" fmla="*/ 2147483647 h 330"/>
              <a:gd name="T60" fmla="*/ 2147483647 w 588"/>
              <a:gd name="T61" fmla="*/ 2147483647 h 330"/>
              <a:gd name="T62" fmla="*/ 2147483647 w 588"/>
              <a:gd name="T63" fmla="*/ 2147483647 h 330"/>
              <a:gd name="T64" fmla="*/ 2147483647 w 588"/>
              <a:gd name="T65" fmla="*/ 2147483647 h 330"/>
              <a:gd name="T66" fmla="*/ 2147483647 w 588"/>
              <a:gd name="T67" fmla="*/ 2147483647 h 330"/>
              <a:gd name="T68" fmla="*/ 2147483647 w 588"/>
              <a:gd name="T69" fmla="*/ 2147483647 h 330"/>
              <a:gd name="T70" fmla="*/ 2147483647 w 588"/>
              <a:gd name="T71" fmla="*/ 0 h 330"/>
              <a:gd name="T72" fmla="*/ 2147483647 w 588"/>
              <a:gd name="T73" fmla="*/ 2147483647 h 330"/>
              <a:gd name="T74" fmla="*/ 2147483647 w 588"/>
              <a:gd name="T75" fmla="*/ 2147483647 h 330"/>
              <a:gd name="T76" fmla="*/ 2147483647 w 588"/>
              <a:gd name="T77" fmla="*/ 2147483647 h 330"/>
              <a:gd name="T78" fmla="*/ 2147483647 w 588"/>
              <a:gd name="T79" fmla="*/ 2147483647 h 330"/>
              <a:gd name="T80" fmla="*/ 2147483647 w 588"/>
              <a:gd name="T81" fmla="*/ 2147483647 h 330"/>
              <a:gd name="T82" fmla="*/ 2147483647 w 588"/>
              <a:gd name="T83" fmla="*/ 2147483647 h 330"/>
              <a:gd name="T84" fmla="*/ 0 w 588"/>
              <a:gd name="T85" fmla="*/ 2147483647 h 330"/>
              <a:gd name="T86" fmla="*/ 2147483647 w 588"/>
              <a:gd name="T87" fmla="*/ 2147483647 h 330"/>
              <a:gd name="T88" fmla="*/ 2147483647 w 588"/>
              <a:gd name="T89" fmla="*/ 2147483647 h 330"/>
              <a:gd name="T90" fmla="*/ 2147483647 w 588"/>
              <a:gd name="T91" fmla="*/ 2147483647 h 330"/>
              <a:gd name="T92" fmla="*/ 2147483647 w 588"/>
              <a:gd name="T93" fmla="*/ 2147483647 h 330"/>
              <a:gd name="T94" fmla="*/ 2147483647 w 588"/>
              <a:gd name="T95" fmla="*/ 2147483647 h 330"/>
              <a:gd name="T96" fmla="*/ 2147483647 w 588"/>
              <a:gd name="T97" fmla="*/ 2147483647 h 330"/>
              <a:gd name="T98" fmla="*/ 2147483647 w 588"/>
              <a:gd name="T99" fmla="*/ 2147483647 h 330"/>
              <a:gd name="T100" fmla="*/ 2147483647 w 588"/>
              <a:gd name="T101" fmla="*/ 2147483647 h 330"/>
              <a:gd name="T102" fmla="*/ 2147483647 w 588"/>
              <a:gd name="T103" fmla="*/ 2147483647 h 330"/>
              <a:gd name="T104" fmla="*/ 2147483647 w 588"/>
              <a:gd name="T105" fmla="*/ 2147483647 h 330"/>
              <a:gd name="T106" fmla="*/ 2147483647 w 588"/>
              <a:gd name="T107" fmla="*/ 2147483647 h 330"/>
              <a:gd name="T108" fmla="*/ 2147483647 w 588"/>
              <a:gd name="T109" fmla="*/ 2147483647 h 3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88"/>
              <a:gd name="T166" fmla="*/ 0 h 330"/>
              <a:gd name="T167" fmla="*/ 588 w 588"/>
              <a:gd name="T168" fmla="*/ 330 h 33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88" h="330">
                <a:moveTo>
                  <a:pt x="294" y="234"/>
                </a:moveTo>
                <a:lnTo>
                  <a:pt x="306" y="246"/>
                </a:lnTo>
                <a:lnTo>
                  <a:pt x="306" y="252"/>
                </a:lnTo>
                <a:lnTo>
                  <a:pt x="330" y="252"/>
                </a:lnTo>
                <a:lnTo>
                  <a:pt x="384" y="306"/>
                </a:lnTo>
                <a:lnTo>
                  <a:pt x="402" y="294"/>
                </a:lnTo>
                <a:lnTo>
                  <a:pt x="432" y="312"/>
                </a:lnTo>
                <a:lnTo>
                  <a:pt x="438" y="306"/>
                </a:lnTo>
                <a:lnTo>
                  <a:pt x="456" y="306"/>
                </a:lnTo>
                <a:lnTo>
                  <a:pt x="474" y="312"/>
                </a:lnTo>
                <a:lnTo>
                  <a:pt x="486" y="318"/>
                </a:lnTo>
                <a:lnTo>
                  <a:pt x="492" y="330"/>
                </a:lnTo>
                <a:lnTo>
                  <a:pt x="498" y="318"/>
                </a:lnTo>
                <a:lnTo>
                  <a:pt x="510" y="312"/>
                </a:lnTo>
                <a:lnTo>
                  <a:pt x="516" y="312"/>
                </a:lnTo>
                <a:lnTo>
                  <a:pt x="522" y="318"/>
                </a:lnTo>
                <a:lnTo>
                  <a:pt x="522" y="330"/>
                </a:lnTo>
                <a:lnTo>
                  <a:pt x="588" y="330"/>
                </a:lnTo>
                <a:lnTo>
                  <a:pt x="588" y="294"/>
                </a:lnTo>
                <a:lnTo>
                  <a:pt x="576" y="270"/>
                </a:lnTo>
                <a:lnTo>
                  <a:pt x="576" y="222"/>
                </a:lnTo>
                <a:lnTo>
                  <a:pt x="564" y="204"/>
                </a:lnTo>
                <a:lnTo>
                  <a:pt x="540" y="216"/>
                </a:lnTo>
                <a:lnTo>
                  <a:pt x="522" y="216"/>
                </a:lnTo>
                <a:lnTo>
                  <a:pt x="498" y="204"/>
                </a:lnTo>
                <a:lnTo>
                  <a:pt x="480" y="198"/>
                </a:lnTo>
                <a:lnTo>
                  <a:pt x="474" y="192"/>
                </a:lnTo>
                <a:lnTo>
                  <a:pt x="462" y="186"/>
                </a:lnTo>
                <a:lnTo>
                  <a:pt x="462" y="192"/>
                </a:lnTo>
                <a:lnTo>
                  <a:pt x="456" y="198"/>
                </a:lnTo>
                <a:lnTo>
                  <a:pt x="438" y="198"/>
                </a:lnTo>
                <a:lnTo>
                  <a:pt x="432" y="192"/>
                </a:lnTo>
                <a:lnTo>
                  <a:pt x="432" y="180"/>
                </a:lnTo>
                <a:lnTo>
                  <a:pt x="432" y="186"/>
                </a:lnTo>
                <a:lnTo>
                  <a:pt x="420" y="198"/>
                </a:lnTo>
                <a:lnTo>
                  <a:pt x="408" y="198"/>
                </a:lnTo>
                <a:lnTo>
                  <a:pt x="402" y="192"/>
                </a:lnTo>
                <a:lnTo>
                  <a:pt x="402" y="174"/>
                </a:lnTo>
                <a:lnTo>
                  <a:pt x="396" y="174"/>
                </a:lnTo>
                <a:lnTo>
                  <a:pt x="390" y="180"/>
                </a:lnTo>
                <a:lnTo>
                  <a:pt x="378" y="180"/>
                </a:lnTo>
                <a:lnTo>
                  <a:pt x="360" y="174"/>
                </a:lnTo>
                <a:lnTo>
                  <a:pt x="354" y="168"/>
                </a:lnTo>
                <a:lnTo>
                  <a:pt x="348" y="168"/>
                </a:lnTo>
                <a:lnTo>
                  <a:pt x="348" y="162"/>
                </a:lnTo>
                <a:lnTo>
                  <a:pt x="354" y="156"/>
                </a:lnTo>
                <a:lnTo>
                  <a:pt x="354" y="150"/>
                </a:lnTo>
                <a:lnTo>
                  <a:pt x="348" y="144"/>
                </a:lnTo>
                <a:lnTo>
                  <a:pt x="342" y="144"/>
                </a:lnTo>
                <a:lnTo>
                  <a:pt x="330" y="150"/>
                </a:lnTo>
                <a:lnTo>
                  <a:pt x="324" y="156"/>
                </a:lnTo>
                <a:lnTo>
                  <a:pt x="312" y="150"/>
                </a:lnTo>
                <a:lnTo>
                  <a:pt x="282" y="120"/>
                </a:lnTo>
                <a:lnTo>
                  <a:pt x="282" y="102"/>
                </a:lnTo>
                <a:lnTo>
                  <a:pt x="276" y="90"/>
                </a:lnTo>
                <a:lnTo>
                  <a:pt x="270" y="84"/>
                </a:lnTo>
                <a:lnTo>
                  <a:pt x="258" y="84"/>
                </a:lnTo>
                <a:lnTo>
                  <a:pt x="252" y="96"/>
                </a:lnTo>
                <a:lnTo>
                  <a:pt x="246" y="102"/>
                </a:lnTo>
                <a:lnTo>
                  <a:pt x="246" y="108"/>
                </a:lnTo>
                <a:lnTo>
                  <a:pt x="234" y="108"/>
                </a:lnTo>
                <a:lnTo>
                  <a:pt x="234" y="96"/>
                </a:lnTo>
                <a:lnTo>
                  <a:pt x="228" y="90"/>
                </a:lnTo>
                <a:lnTo>
                  <a:pt x="222" y="78"/>
                </a:lnTo>
                <a:lnTo>
                  <a:pt x="216" y="72"/>
                </a:lnTo>
                <a:lnTo>
                  <a:pt x="210" y="60"/>
                </a:lnTo>
                <a:lnTo>
                  <a:pt x="168" y="54"/>
                </a:lnTo>
                <a:lnTo>
                  <a:pt x="150" y="36"/>
                </a:lnTo>
                <a:lnTo>
                  <a:pt x="138" y="30"/>
                </a:lnTo>
                <a:lnTo>
                  <a:pt x="132" y="18"/>
                </a:lnTo>
                <a:lnTo>
                  <a:pt x="120" y="6"/>
                </a:lnTo>
                <a:lnTo>
                  <a:pt x="108" y="0"/>
                </a:lnTo>
                <a:lnTo>
                  <a:pt x="96" y="0"/>
                </a:lnTo>
                <a:lnTo>
                  <a:pt x="84" y="6"/>
                </a:lnTo>
                <a:lnTo>
                  <a:pt x="78" y="12"/>
                </a:lnTo>
                <a:lnTo>
                  <a:pt x="54" y="30"/>
                </a:lnTo>
                <a:lnTo>
                  <a:pt x="36" y="12"/>
                </a:lnTo>
                <a:lnTo>
                  <a:pt x="30" y="36"/>
                </a:lnTo>
                <a:lnTo>
                  <a:pt x="6" y="60"/>
                </a:lnTo>
                <a:lnTo>
                  <a:pt x="12" y="72"/>
                </a:lnTo>
                <a:lnTo>
                  <a:pt x="6" y="78"/>
                </a:lnTo>
                <a:lnTo>
                  <a:pt x="6" y="84"/>
                </a:lnTo>
                <a:lnTo>
                  <a:pt x="18" y="96"/>
                </a:lnTo>
                <a:lnTo>
                  <a:pt x="12" y="96"/>
                </a:lnTo>
                <a:lnTo>
                  <a:pt x="0" y="108"/>
                </a:lnTo>
                <a:lnTo>
                  <a:pt x="0" y="120"/>
                </a:lnTo>
                <a:lnTo>
                  <a:pt x="30" y="150"/>
                </a:lnTo>
                <a:lnTo>
                  <a:pt x="42" y="144"/>
                </a:lnTo>
                <a:lnTo>
                  <a:pt x="60" y="168"/>
                </a:lnTo>
                <a:lnTo>
                  <a:pt x="84" y="168"/>
                </a:lnTo>
                <a:lnTo>
                  <a:pt x="96" y="186"/>
                </a:lnTo>
                <a:lnTo>
                  <a:pt x="138" y="204"/>
                </a:lnTo>
                <a:lnTo>
                  <a:pt x="150" y="204"/>
                </a:lnTo>
                <a:lnTo>
                  <a:pt x="156" y="210"/>
                </a:lnTo>
                <a:lnTo>
                  <a:pt x="162" y="222"/>
                </a:lnTo>
                <a:lnTo>
                  <a:pt x="168" y="228"/>
                </a:lnTo>
                <a:lnTo>
                  <a:pt x="186" y="228"/>
                </a:lnTo>
                <a:lnTo>
                  <a:pt x="192" y="222"/>
                </a:lnTo>
                <a:lnTo>
                  <a:pt x="204" y="222"/>
                </a:lnTo>
                <a:lnTo>
                  <a:pt x="204" y="234"/>
                </a:lnTo>
                <a:lnTo>
                  <a:pt x="210" y="240"/>
                </a:lnTo>
                <a:lnTo>
                  <a:pt x="234" y="240"/>
                </a:lnTo>
                <a:lnTo>
                  <a:pt x="240" y="246"/>
                </a:lnTo>
                <a:lnTo>
                  <a:pt x="246" y="258"/>
                </a:lnTo>
                <a:lnTo>
                  <a:pt x="258" y="246"/>
                </a:lnTo>
                <a:lnTo>
                  <a:pt x="276" y="246"/>
                </a:lnTo>
                <a:lnTo>
                  <a:pt x="282" y="252"/>
                </a:lnTo>
                <a:lnTo>
                  <a:pt x="282" y="258"/>
                </a:lnTo>
                <a:lnTo>
                  <a:pt x="282" y="240"/>
                </a:lnTo>
                <a:lnTo>
                  <a:pt x="288" y="234"/>
                </a:lnTo>
                <a:lnTo>
                  <a:pt x="294" y="23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9" name="Namibia"/>
          <p:cNvSpPr>
            <a:spLocks/>
          </p:cNvSpPr>
          <p:nvPr/>
        </p:nvSpPr>
        <p:spPr bwMode="gray">
          <a:xfrm>
            <a:off x="4349021" y="4809205"/>
            <a:ext cx="384175" cy="392113"/>
          </a:xfrm>
          <a:custGeom>
            <a:avLst/>
            <a:gdLst>
              <a:gd name="T0" fmla="*/ 2147483647 w 954"/>
              <a:gd name="T1" fmla="*/ 2147483647 h 972"/>
              <a:gd name="T2" fmla="*/ 2147483647 w 954"/>
              <a:gd name="T3" fmla="*/ 2147483647 h 972"/>
              <a:gd name="T4" fmla="*/ 2147483647 w 954"/>
              <a:gd name="T5" fmla="*/ 2147483647 h 972"/>
              <a:gd name="T6" fmla="*/ 2147483647 w 954"/>
              <a:gd name="T7" fmla="*/ 2147483647 h 972"/>
              <a:gd name="T8" fmla="*/ 2147483647 w 954"/>
              <a:gd name="T9" fmla="*/ 2147483647 h 972"/>
              <a:gd name="T10" fmla="*/ 2147483647 w 954"/>
              <a:gd name="T11" fmla="*/ 2147483647 h 972"/>
              <a:gd name="T12" fmla="*/ 2147483647 w 954"/>
              <a:gd name="T13" fmla="*/ 2147483647 h 972"/>
              <a:gd name="T14" fmla="*/ 2147483647 w 954"/>
              <a:gd name="T15" fmla="*/ 2147483647 h 972"/>
              <a:gd name="T16" fmla="*/ 2147483647 w 954"/>
              <a:gd name="T17" fmla="*/ 2147483647 h 972"/>
              <a:gd name="T18" fmla="*/ 2147483647 w 954"/>
              <a:gd name="T19" fmla="*/ 2147483647 h 972"/>
              <a:gd name="T20" fmla="*/ 2147483647 w 954"/>
              <a:gd name="T21" fmla="*/ 2147483647 h 972"/>
              <a:gd name="T22" fmla="*/ 2147483647 w 954"/>
              <a:gd name="T23" fmla="*/ 2147483647 h 972"/>
              <a:gd name="T24" fmla="*/ 2147483647 w 954"/>
              <a:gd name="T25" fmla="*/ 2147483647 h 972"/>
              <a:gd name="T26" fmla="*/ 2147483647 w 954"/>
              <a:gd name="T27" fmla="*/ 2147483647 h 972"/>
              <a:gd name="T28" fmla="*/ 2147483647 w 954"/>
              <a:gd name="T29" fmla="*/ 2147483647 h 972"/>
              <a:gd name="T30" fmla="*/ 2147483647 w 954"/>
              <a:gd name="T31" fmla="*/ 2147483647 h 972"/>
              <a:gd name="T32" fmla="*/ 2147483647 w 954"/>
              <a:gd name="T33" fmla="*/ 2147483647 h 972"/>
              <a:gd name="T34" fmla="*/ 2147483647 w 954"/>
              <a:gd name="T35" fmla="*/ 2147483647 h 972"/>
              <a:gd name="T36" fmla="*/ 2147483647 w 954"/>
              <a:gd name="T37" fmla="*/ 2147483647 h 972"/>
              <a:gd name="T38" fmla="*/ 2147483647 w 954"/>
              <a:gd name="T39" fmla="*/ 2147483647 h 972"/>
              <a:gd name="T40" fmla="*/ 2147483647 w 954"/>
              <a:gd name="T41" fmla="*/ 2147483647 h 972"/>
              <a:gd name="T42" fmla="*/ 2147483647 w 954"/>
              <a:gd name="T43" fmla="*/ 2147483647 h 972"/>
              <a:gd name="T44" fmla="*/ 2147483647 w 954"/>
              <a:gd name="T45" fmla="*/ 2147483647 h 972"/>
              <a:gd name="T46" fmla="*/ 2147483647 w 954"/>
              <a:gd name="T47" fmla="*/ 2147483647 h 972"/>
              <a:gd name="T48" fmla="*/ 2147483647 w 954"/>
              <a:gd name="T49" fmla="*/ 2147483647 h 972"/>
              <a:gd name="T50" fmla="*/ 2147483647 w 954"/>
              <a:gd name="T51" fmla="*/ 2147483647 h 972"/>
              <a:gd name="T52" fmla="*/ 2147483647 w 954"/>
              <a:gd name="T53" fmla="*/ 2147483647 h 972"/>
              <a:gd name="T54" fmla="*/ 2147483647 w 954"/>
              <a:gd name="T55" fmla="*/ 2147483647 h 972"/>
              <a:gd name="T56" fmla="*/ 2147483647 w 954"/>
              <a:gd name="T57" fmla="*/ 2147483647 h 972"/>
              <a:gd name="T58" fmla="*/ 2147483647 w 954"/>
              <a:gd name="T59" fmla="*/ 2147483647 h 972"/>
              <a:gd name="T60" fmla="*/ 2147483647 w 954"/>
              <a:gd name="T61" fmla="*/ 2147483647 h 972"/>
              <a:gd name="T62" fmla="*/ 2147483647 w 954"/>
              <a:gd name="T63" fmla="*/ 2147483647 h 972"/>
              <a:gd name="T64" fmla="*/ 2147483647 w 954"/>
              <a:gd name="T65" fmla="*/ 2147483647 h 972"/>
              <a:gd name="T66" fmla="*/ 2147483647 w 954"/>
              <a:gd name="T67" fmla="*/ 0 h 972"/>
              <a:gd name="T68" fmla="*/ 2147483647 w 954"/>
              <a:gd name="T69" fmla="*/ 2147483647 h 972"/>
              <a:gd name="T70" fmla="*/ 2147483647 w 954"/>
              <a:gd name="T71" fmla="*/ 2147483647 h 972"/>
              <a:gd name="T72" fmla="*/ 0 w 954"/>
              <a:gd name="T73" fmla="*/ 2147483647 h 972"/>
              <a:gd name="T74" fmla="*/ 2147483647 w 954"/>
              <a:gd name="T75" fmla="*/ 2147483647 h 972"/>
              <a:gd name="T76" fmla="*/ 2147483647 w 954"/>
              <a:gd name="T77" fmla="*/ 2147483647 h 972"/>
              <a:gd name="T78" fmla="*/ 2147483647 w 954"/>
              <a:gd name="T79" fmla="*/ 2147483647 h 972"/>
              <a:gd name="T80" fmla="*/ 2147483647 w 954"/>
              <a:gd name="T81" fmla="*/ 2147483647 h 972"/>
              <a:gd name="T82" fmla="*/ 2147483647 w 954"/>
              <a:gd name="T83" fmla="*/ 2147483647 h 972"/>
              <a:gd name="T84" fmla="*/ 2147483647 w 954"/>
              <a:gd name="T85" fmla="*/ 2147483647 h 972"/>
              <a:gd name="T86" fmla="*/ 2147483647 w 954"/>
              <a:gd name="T87" fmla="*/ 2147483647 h 972"/>
              <a:gd name="T88" fmla="*/ 2147483647 w 954"/>
              <a:gd name="T89" fmla="*/ 2147483647 h 972"/>
              <a:gd name="T90" fmla="*/ 2147483647 w 954"/>
              <a:gd name="T91" fmla="*/ 2147483647 h 972"/>
              <a:gd name="T92" fmla="*/ 2147483647 w 954"/>
              <a:gd name="T93" fmla="*/ 2147483647 h 972"/>
              <a:gd name="T94" fmla="*/ 2147483647 w 954"/>
              <a:gd name="T95" fmla="*/ 2147483647 h 972"/>
              <a:gd name="T96" fmla="*/ 2147483647 w 954"/>
              <a:gd name="T97" fmla="*/ 2147483647 h 972"/>
              <a:gd name="T98" fmla="*/ 2147483647 w 954"/>
              <a:gd name="T99" fmla="*/ 2147483647 h 972"/>
              <a:gd name="T100" fmla="*/ 2147483647 w 954"/>
              <a:gd name="T101" fmla="*/ 2147483647 h 972"/>
              <a:gd name="T102" fmla="*/ 2147483647 w 954"/>
              <a:gd name="T103" fmla="*/ 2147483647 h 972"/>
              <a:gd name="T104" fmla="*/ 2147483647 w 954"/>
              <a:gd name="T105" fmla="*/ 2147483647 h 972"/>
              <a:gd name="T106" fmla="*/ 2147483647 w 954"/>
              <a:gd name="T107" fmla="*/ 2147483647 h 972"/>
              <a:gd name="T108" fmla="*/ 2147483647 w 954"/>
              <a:gd name="T109" fmla="*/ 2147483647 h 972"/>
              <a:gd name="T110" fmla="*/ 2147483647 w 954"/>
              <a:gd name="T111" fmla="*/ 2147483647 h 972"/>
              <a:gd name="T112" fmla="*/ 2147483647 w 954"/>
              <a:gd name="T113" fmla="*/ 2147483647 h 972"/>
              <a:gd name="T114" fmla="*/ 2147483647 w 954"/>
              <a:gd name="T115" fmla="*/ 2147483647 h 972"/>
              <a:gd name="T116" fmla="*/ 2147483647 w 954"/>
              <a:gd name="T117" fmla="*/ 2147483647 h 972"/>
              <a:gd name="T118" fmla="*/ 2147483647 w 954"/>
              <a:gd name="T119" fmla="*/ 2147483647 h 97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54"/>
              <a:gd name="T181" fmla="*/ 0 h 972"/>
              <a:gd name="T182" fmla="*/ 954 w 954"/>
              <a:gd name="T183" fmla="*/ 972 h 97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54" h="972">
                <a:moveTo>
                  <a:pt x="366" y="894"/>
                </a:moveTo>
                <a:lnTo>
                  <a:pt x="372" y="894"/>
                </a:lnTo>
                <a:lnTo>
                  <a:pt x="390" y="912"/>
                </a:lnTo>
                <a:lnTo>
                  <a:pt x="390" y="936"/>
                </a:lnTo>
                <a:lnTo>
                  <a:pt x="396" y="948"/>
                </a:lnTo>
                <a:lnTo>
                  <a:pt x="402" y="954"/>
                </a:lnTo>
                <a:lnTo>
                  <a:pt x="426" y="954"/>
                </a:lnTo>
                <a:lnTo>
                  <a:pt x="432" y="960"/>
                </a:lnTo>
                <a:lnTo>
                  <a:pt x="432" y="966"/>
                </a:lnTo>
                <a:lnTo>
                  <a:pt x="438" y="972"/>
                </a:lnTo>
                <a:lnTo>
                  <a:pt x="462" y="972"/>
                </a:lnTo>
                <a:lnTo>
                  <a:pt x="474" y="960"/>
                </a:lnTo>
                <a:lnTo>
                  <a:pt x="486" y="960"/>
                </a:lnTo>
                <a:lnTo>
                  <a:pt x="498" y="972"/>
                </a:lnTo>
                <a:lnTo>
                  <a:pt x="522" y="972"/>
                </a:lnTo>
                <a:lnTo>
                  <a:pt x="522" y="948"/>
                </a:lnTo>
                <a:lnTo>
                  <a:pt x="534" y="948"/>
                </a:lnTo>
                <a:lnTo>
                  <a:pt x="534" y="942"/>
                </a:lnTo>
                <a:lnTo>
                  <a:pt x="540" y="936"/>
                </a:lnTo>
                <a:lnTo>
                  <a:pt x="552" y="930"/>
                </a:lnTo>
                <a:lnTo>
                  <a:pt x="570" y="930"/>
                </a:lnTo>
                <a:lnTo>
                  <a:pt x="582" y="414"/>
                </a:lnTo>
                <a:lnTo>
                  <a:pt x="654" y="414"/>
                </a:lnTo>
                <a:lnTo>
                  <a:pt x="648" y="288"/>
                </a:lnTo>
                <a:lnTo>
                  <a:pt x="654" y="282"/>
                </a:lnTo>
                <a:lnTo>
                  <a:pt x="654" y="108"/>
                </a:lnTo>
                <a:lnTo>
                  <a:pt x="690" y="108"/>
                </a:lnTo>
                <a:lnTo>
                  <a:pt x="708" y="102"/>
                </a:lnTo>
                <a:lnTo>
                  <a:pt x="744" y="102"/>
                </a:lnTo>
                <a:lnTo>
                  <a:pt x="792" y="90"/>
                </a:lnTo>
                <a:lnTo>
                  <a:pt x="804" y="84"/>
                </a:lnTo>
                <a:lnTo>
                  <a:pt x="822" y="84"/>
                </a:lnTo>
                <a:lnTo>
                  <a:pt x="828" y="90"/>
                </a:lnTo>
                <a:lnTo>
                  <a:pt x="828" y="108"/>
                </a:lnTo>
                <a:lnTo>
                  <a:pt x="834" y="108"/>
                </a:lnTo>
                <a:lnTo>
                  <a:pt x="834" y="126"/>
                </a:lnTo>
                <a:lnTo>
                  <a:pt x="840" y="126"/>
                </a:lnTo>
                <a:lnTo>
                  <a:pt x="882" y="84"/>
                </a:lnTo>
                <a:lnTo>
                  <a:pt x="906" y="84"/>
                </a:lnTo>
                <a:lnTo>
                  <a:pt x="918" y="72"/>
                </a:lnTo>
                <a:lnTo>
                  <a:pt x="954" y="66"/>
                </a:lnTo>
                <a:lnTo>
                  <a:pt x="936" y="48"/>
                </a:lnTo>
                <a:lnTo>
                  <a:pt x="906" y="54"/>
                </a:lnTo>
                <a:lnTo>
                  <a:pt x="906" y="48"/>
                </a:lnTo>
                <a:lnTo>
                  <a:pt x="900" y="42"/>
                </a:lnTo>
                <a:lnTo>
                  <a:pt x="882" y="42"/>
                </a:lnTo>
                <a:lnTo>
                  <a:pt x="876" y="48"/>
                </a:lnTo>
                <a:lnTo>
                  <a:pt x="870" y="48"/>
                </a:lnTo>
                <a:lnTo>
                  <a:pt x="846" y="60"/>
                </a:lnTo>
                <a:lnTo>
                  <a:pt x="828" y="54"/>
                </a:lnTo>
                <a:lnTo>
                  <a:pt x="816" y="60"/>
                </a:lnTo>
                <a:lnTo>
                  <a:pt x="780" y="72"/>
                </a:lnTo>
                <a:lnTo>
                  <a:pt x="732" y="78"/>
                </a:lnTo>
                <a:lnTo>
                  <a:pt x="696" y="84"/>
                </a:lnTo>
                <a:lnTo>
                  <a:pt x="624" y="84"/>
                </a:lnTo>
                <a:lnTo>
                  <a:pt x="618" y="72"/>
                </a:lnTo>
                <a:lnTo>
                  <a:pt x="546" y="78"/>
                </a:lnTo>
                <a:lnTo>
                  <a:pt x="540" y="66"/>
                </a:lnTo>
                <a:lnTo>
                  <a:pt x="504" y="66"/>
                </a:lnTo>
                <a:lnTo>
                  <a:pt x="480" y="42"/>
                </a:lnTo>
                <a:lnTo>
                  <a:pt x="480" y="36"/>
                </a:lnTo>
                <a:lnTo>
                  <a:pt x="174" y="36"/>
                </a:lnTo>
                <a:lnTo>
                  <a:pt x="168" y="30"/>
                </a:lnTo>
                <a:lnTo>
                  <a:pt x="156" y="30"/>
                </a:lnTo>
                <a:lnTo>
                  <a:pt x="132" y="18"/>
                </a:lnTo>
                <a:lnTo>
                  <a:pt x="126" y="6"/>
                </a:lnTo>
                <a:lnTo>
                  <a:pt x="120" y="0"/>
                </a:lnTo>
                <a:lnTo>
                  <a:pt x="90" y="0"/>
                </a:lnTo>
                <a:lnTo>
                  <a:pt x="90" y="6"/>
                </a:lnTo>
                <a:lnTo>
                  <a:pt x="72" y="24"/>
                </a:lnTo>
                <a:lnTo>
                  <a:pt x="42" y="24"/>
                </a:lnTo>
                <a:lnTo>
                  <a:pt x="36" y="18"/>
                </a:lnTo>
                <a:lnTo>
                  <a:pt x="18" y="24"/>
                </a:lnTo>
                <a:lnTo>
                  <a:pt x="0" y="24"/>
                </a:lnTo>
                <a:lnTo>
                  <a:pt x="6" y="96"/>
                </a:lnTo>
                <a:lnTo>
                  <a:pt x="12" y="108"/>
                </a:lnTo>
                <a:lnTo>
                  <a:pt x="30" y="126"/>
                </a:lnTo>
                <a:lnTo>
                  <a:pt x="36" y="138"/>
                </a:lnTo>
                <a:lnTo>
                  <a:pt x="54" y="162"/>
                </a:lnTo>
                <a:lnTo>
                  <a:pt x="72" y="192"/>
                </a:lnTo>
                <a:lnTo>
                  <a:pt x="96" y="228"/>
                </a:lnTo>
                <a:lnTo>
                  <a:pt x="102" y="258"/>
                </a:lnTo>
                <a:lnTo>
                  <a:pt x="102" y="276"/>
                </a:lnTo>
                <a:lnTo>
                  <a:pt x="114" y="294"/>
                </a:lnTo>
                <a:lnTo>
                  <a:pt x="120" y="312"/>
                </a:lnTo>
                <a:lnTo>
                  <a:pt x="138" y="348"/>
                </a:lnTo>
                <a:lnTo>
                  <a:pt x="156" y="366"/>
                </a:lnTo>
                <a:lnTo>
                  <a:pt x="156" y="390"/>
                </a:lnTo>
                <a:lnTo>
                  <a:pt x="162" y="396"/>
                </a:lnTo>
                <a:lnTo>
                  <a:pt x="174" y="402"/>
                </a:lnTo>
                <a:lnTo>
                  <a:pt x="180" y="414"/>
                </a:lnTo>
                <a:lnTo>
                  <a:pt x="192" y="420"/>
                </a:lnTo>
                <a:lnTo>
                  <a:pt x="198" y="432"/>
                </a:lnTo>
                <a:lnTo>
                  <a:pt x="198" y="582"/>
                </a:lnTo>
                <a:lnTo>
                  <a:pt x="222" y="630"/>
                </a:lnTo>
                <a:lnTo>
                  <a:pt x="222" y="678"/>
                </a:lnTo>
                <a:lnTo>
                  <a:pt x="216" y="678"/>
                </a:lnTo>
                <a:lnTo>
                  <a:pt x="228" y="726"/>
                </a:lnTo>
                <a:lnTo>
                  <a:pt x="228" y="762"/>
                </a:lnTo>
                <a:lnTo>
                  <a:pt x="240" y="762"/>
                </a:lnTo>
                <a:lnTo>
                  <a:pt x="240" y="804"/>
                </a:lnTo>
                <a:lnTo>
                  <a:pt x="252" y="810"/>
                </a:lnTo>
                <a:lnTo>
                  <a:pt x="258" y="816"/>
                </a:lnTo>
                <a:lnTo>
                  <a:pt x="258" y="846"/>
                </a:lnTo>
                <a:lnTo>
                  <a:pt x="264" y="858"/>
                </a:lnTo>
                <a:lnTo>
                  <a:pt x="270" y="864"/>
                </a:lnTo>
                <a:lnTo>
                  <a:pt x="276" y="876"/>
                </a:lnTo>
                <a:lnTo>
                  <a:pt x="282" y="894"/>
                </a:lnTo>
                <a:lnTo>
                  <a:pt x="282" y="900"/>
                </a:lnTo>
                <a:lnTo>
                  <a:pt x="288" y="912"/>
                </a:lnTo>
                <a:lnTo>
                  <a:pt x="294" y="918"/>
                </a:lnTo>
                <a:lnTo>
                  <a:pt x="318" y="930"/>
                </a:lnTo>
                <a:lnTo>
                  <a:pt x="324" y="936"/>
                </a:lnTo>
                <a:lnTo>
                  <a:pt x="330" y="936"/>
                </a:lnTo>
                <a:lnTo>
                  <a:pt x="330" y="942"/>
                </a:lnTo>
                <a:lnTo>
                  <a:pt x="348" y="930"/>
                </a:lnTo>
                <a:lnTo>
                  <a:pt x="348" y="924"/>
                </a:lnTo>
                <a:lnTo>
                  <a:pt x="354" y="918"/>
                </a:lnTo>
                <a:lnTo>
                  <a:pt x="360" y="906"/>
                </a:lnTo>
                <a:lnTo>
                  <a:pt x="360" y="900"/>
                </a:lnTo>
                <a:lnTo>
                  <a:pt x="366" y="89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0" name="Myanmar"/>
          <p:cNvSpPr>
            <a:spLocks/>
          </p:cNvSpPr>
          <p:nvPr/>
        </p:nvSpPr>
        <p:spPr bwMode="gray">
          <a:xfrm>
            <a:off x="6609621" y="3334418"/>
            <a:ext cx="255587" cy="603250"/>
          </a:xfrm>
          <a:custGeom>
            <a:avLst/>
            <a:gdLst>
              <a:gd name="T0" fmla="*/ 2147483647 w 636"/>
              <a:gd name="T1" fmla="*/ 2147483647 h 1500"/>
              <a:gd name="T2" fmla="*/ 2147483647 w 636"/>
              <a:gd name="T3" fmla="*/ 2147483647 h 1500"/>
              <a:gd name="T4" fmla="*/ 2147483647 w 636"/>
              <a:gd name="T5" fmla="*/ 2147483647 h 1500"/>
              <a:gd name="T6" fmla="*/ 2147483647 w 636"/>
              <a:gd name="T7" fmla="*/ 2147483647 h 1500"/>
              <a:gd name="T8" fmla="*/ 2147483647 w 636"/>
              <a:gd name="T9" fmla="*/ 2147483647 h 1500"/>
              <a:gd name="T10" fmla="*/ 2147483647 w 636"/>
              <a:gd name="T11" fmla="*/ 2147483647 h 1500"/>
              <a:gd name="T12" fmla="*/ 2147483647 w 636"/>
              <a:gd name="T13" fmla="*/ 2147483647 h 1500"/>
              <a:gd name="T14" fmla="*/ 2147483647 w 636"/>
              <a:gd name="T15" fmla="*/ 2147483647 h 1500"/>
              <a:gd name="T16" fmla="*/ 2147483647 w 636"/>
              <a:gd name="T17" fmla="*/ 2147483647 h 1500"/>
              <a:gd name="T18" fmla="*/ 2147483647 w 636"/>
              <a:gd name="T19" fmla="*/ 2147483647 h 1500"/>
              <a:gd name="T20" fmla="*/ 2147483647 w 636"/>
              <a:gd name="T21" fmla="*/ 2147483647 h 1500"/>
              <a:gd name="T22" fmla="*/ 2147483647 w 636"/>
              <a:gd name="T23" fmla="*/ 2147483647 h 1500"/>
              <a:gd name="T24" fmla="*/ 2147483647 w 636"/>
              <a:gd name="T25" fmla="*/ 2147483647 h 1500"/>
              <a:gd name="T26" fmla="*/ 2147483647 w 636"/>
              <a:gd name="T27" fmla="*/ 2147483647 h 1500"/>
              <a:gd name="T28" fmla="*/ 2147483647 w 636"/>
              <a:gd name="T29" fmla="*/ 2147483647 h 1500"/>
              <a:gd name="T30" fmla="*/ 2147483647 w 636"/>
              <a:gd name="T31" fmla="*/ 2147483647 h 1500"/>
              <a:gd name="T32" fmla="*/ 2147483647 w 636"/>
              <a:gd name="T33" fmla="*/ 2147483647 h 1500"/>
              <a:gd name="T34" fmla="*/ 2147483647 w 636"/>
              <a:gd name="T35" fmla="*/ 2147483647 h 1500"/>
              <a:gd name="T36" fmla="*/ 2147483647 w 636"/>
              <a:gd name="T37" fmla="*/ 2147483647 h 1500"/>
              <a:gd name="T38" fmla="*/ 2147483647 w 636"/>
              <a:gd name="T39" fmla="*/ 2147483647 h 1500"/>
              <a:gd name="T40" fmla="*/ 2147483647 w 636"/>
              <a:gd name="T41" fmla="*/ 2147483647 h 1500"/>
              <a:gd name="T42" fmla="*/ 2147483647 w 636"/>
              <a:gd name="T43" fmla="*/ 2147483647 h 1500"/>
              <a:gd name="T44" fmla="*/ 2147483647 w 636"/>
              <a:gd name="T45" fmla="*/ 2147483647 h 1500"/>
              <a:gd name="T46" fmla="*/ 2147483647 w 636"/>
              <a:gd name="T47" fmla="*/ 2147483647 h 1500"/>
              <a:gd name="T48" fmla="*/ 2147483647 w 636"/>
              <a:gd name="T49" fmla="*/ 2147483647 h 1500"/>
              <a:gd name="T50" fmla="*/ 2147483647 w 636"/>
              <a:gd name="T51" fmla="*/ 2147483647 h 1500"/>
              <a:gd name="T52" fmla="*/ 2147483647 w 636"/>
              <a:gd name="T53" fmla="*/ 2147483647 h 1500"/>
              <a:gd name="T54" fmla="*/ 2147483647 w 636"/>
              <a:gd name="T55" fmla="*/ 2147483647 h 1500"/>
              <a:gd name="T56" fmla="*/ 2147483647 w 636"/>
              <a:gd name="T57" fmla="*/ 2147483647 h 1500"/>
              <a:gd name="T58" fmla="*/ 2147483647 w 636"/>
              <a:gd name="T59" fmla="*/ 2147483647 h 1500"/>
              <a:gd name="T60" fmla="*/ 2147483647 w 636"/>
              <a:gd name="T61" fmla="*/ 2147483647 h 1500"/>
              <a:gd name="T62" fmla="*/ 2147483647 w 636"/>
              <a:gd name="T63" fmla="*/ 2147483647 h 1500"/>
              <a:gd name="T64" fmla="*/ 2147483647 w 636"/>
              <a:gd name="T65" fmla="*/ 2147483647 h 1500"/>
              <a:gd name="T66" fmla="*/ 2147483647 w 636"/>
              <a:gd name="T67" fmla="*/ 2147483647 h 1500"/>
              <a:gd name="T68" fmla="*/ 2147483647 w 636"/>
              <a:gd name="T69" fmla="*/ 2147483647 h 1500"/>
              <a:gd name="T70" fmla="*/ 2147483647 w 636"/>
              <a:gd name="T71" fmla="*/ 2147483647 h 1500"/>
              <a:gd name="T72" fmla="*/ 2147483647 w 636"/>
              <a:gd name="T73" fmla="*/ 2147483647 h 1500"/>
              <a:gd name="T74" fmla="*/ 2147483647 w 636"/>
              <a:gd name="T75" fmla="*/ 2147483647 h 1500"/>
              <a:gd name="T76" fmla="*/ 2147483647 w 636"/>
              <a:gd name="T77" fmla="*/ 2147483647 h 1500"/>
              <a:gd name="T78" fmla="*/ 2147483647 w 636"/>
              <a:gd name="T79" fmla="*/ 2147483647 h 1500"/>
              <a:gd name="T80" fmla="*/ 2147483647 w 636"/>
              <a:gd name="T81" fmla="*/ 2147483647 h 1500"/>
              <a:gd name="T82" fmla="*/ 2147483647 w 636"/>
              <a:gd name="T83" fmla="*/ 2147483647 h 1500"/>
              <a:gd name="T84" fmla="*/ 2147483647 w 636"/>
              <a:gd name="T85" fmla="*/ 2147483647 h 1500"/>
              <a:gd name="T86" fmla="*/ 2147483647 w 636"/>
              <a:gd name="T87" fmla="*/ 0 h 1500"/>
              <a:gd name="T88" fmla="*/ 2147483647 w 636"/>
              <a:gd name="T89" fmla="*/ 2147483647 h 1500"/>
              <a:gd name="T90" fmla="*/ 2147483647 w 636"/>
              <a:gd name="T91" fmla="*/ 2147483647 h 1500"/>
              <a:gd name="T92" fmla="*/ 2147483647 w 636"/>
              <a:gd name="T93" fmla="*/ 2147483647 h 1500"/>
              <a:gd name="T94" fmla="*/ 2147483647 w 636"/>
              <a:gd name="T95" fmla="*/ 2147483647 h 1500"/>
              <a:gd name="T96" fmla="*/ 2147483647 w 636"/>
              <a:gd name="T97" fmla="*/ 2147483647 h 1500"/>
              <a:gd name="T98" fmla="*/ 2147483647 w 636"/>
              <a:gd name="T99" fmla="*/ 2147483647 h 1500"/>
              <a:gd name="T100" fmla="*/ 2147483647 w 636"/>
              <a:gd name="T101" fmla="*/ 2147483647 h 1500"/>
              <a:gd name="T102" fmla="*/ 2147483647 w 636"/>
              <a:gd name="T103" fmla="*/ 2147483647 h 1500"/>
              <a:gd name="T104" fmla="*/ 2147483647 w 636"/>
              <a:gd name="T105" fmla="*/ 2147483647 h 1500"/>
              <a:gd name="T106" fmla="*/ 2147483647 w 636"/>
              <a:gd name="T107" fmla="*/ 2147483647 h 1500"/>
              <a:gd name="T108" fmla="*/ 2147483647 w 636"/>
              <a:gd name="T109" fmla="*/ 2147483647 h 15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636"/>
              <a:gd name="T166" fmla="*/ 0 h 1500"/>
              <a:gd name="T167" fmla="*/ 636 w 636"/>
              <a:gd name="T168" fmla="*/ 1500 h 150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636" h="1500">
                <a:moveTo>
                  <a:pt x="0" y="588"/>
                </a:moveTo>
                <a:lnTo>
                  <a:pt x="18" y="588"/>
                </a:lnTo>
                <a:lnTo>
                  <a:pt x="12" y="630"/>
                </a:lnTo>
                <a:lnTo>
                  <a:pt x="18" y="630"/>
                </a:lnTo>
                <a:lnTo>
                  <a:pt x="24" y="636"/>
                </a:lnTo>
                <a:lnTo>
                  <a:pt x="42" y="642"/>
                </a:lnTo>
                <a:lnTo>
                  <a:pt x="54" y="648"/>
                </a:lnTo>
                <a:lnTo>
                  <a:pt x="72" y="666"/>
                </a:lnTo>
                <a:lnTo>
                  <a:pt x="84" y="690"/>
                </a:lnTo>
                <a:lnTo>
                  <a:pt x="90" y="696"/>
                </a:lnTo>
                <a:lnTo>
                  <a:pt x="90" y="702"/>
                </a:lnTo>
                <a:lnTo>
                  <a:pt x="126" y="696"/>
                </a:lnTo>
                <a:lnTo>
                  <a:pt x="102" y="738"/>
                </a:lnTo>
                <a:lnTo>
                  <a:pt x="108" y="738"/>
                </a:lnTo>
                <a:lnTo>
                  <a:pt x="114" y="744"/>
                </a:lnTo>
                <a:lnTo>
                  <a:pt x="126" y="744"/>
                </a:lnTo>
                <a:lnTo>
                  <a:pt x="144" y="750"/>
                </a:lnTo>
                <a:lnTo>
                  <a:pt x="156" y="762"/>
                </a:lnTo>
                <a:lnTo>
                  <a:pt x="168" y="768"/>
                </a:lnTo>
                <a:lnTo>
                  <a:pt x="174" y="780"/>
                </a:lnTo>
                <a:lnTo>
                  <a:pt x="186" y="792"/>
                </a:lnTo>
                <a:lnTo>
                  <a:pt x="192" y="804"/>
                </a:lnTo>
                <a:lnTo>
                  <a:pt x="192" y="822"/>
                </a:lnTo>
                <a:lnTo>
                  <a:pt x="198" y="834"/>
                </a:lnTo>
                <a:lnTo>
                  <a:pt x="198" y="840"/>
                </a:lnTo>
                <a:lnTo>
                  <a:pt x="204" y="846"/>
                </a:lnTo>
                <a:lnTo>
                  <a:pt x="210" y="858"/>
                </a:lnTo>
                <a:lnTo>
                  <a:pt x="222" y="870"/>
                </a:lnTo>
                <a:lnTo>
                  <a:pt x="210" y="888"/>
                </a:lnTo>
                <a:lnTo>
                  <a:pt x="216" y="978"/>
                </a:lnTo>
                <a:lnTo>
                  <a:pt x="204" y="990"/>
                </a:lnTo>
                <a:lnTo>
                  <a:pt x="204" y="1002"/>
                </a:lnTo>
                <a:lnTo>
                  <a:pt x="222" y="1020"/>
                </a:lnTo>
                <a:lnTo>
                  <a:pt x="234" y="1020"/>
                </a:lnTo>
                <a:lnTo>
                  <a:pt x="246" y="1014"/>
                </a:lnTo>
                <a:lnTo>
                  <a:pt x="252" y="1008"/>
                </a:lnTo>
                <a:lnTo>
                  <a:pt x="258" y="1014"/>
                </a:lnTo>
                <a:lnTo>
                  <a:pt x="258" y="1020"/>
                </a:lnTo>
                <a:lnTo>
                  <a:pt x="276" y="1020"/>
                </a:lnTo>
                <a:lnTo>
                  <a:pt x="282" y="1014"/>
                </a:lnTo>
                <a:lnTo>
                  <a:pt x="294" y="1008"/>
                </a:lnTo>
                <a:lnTo>
                  <a:pt x="300" y="996"/>
                </a:lnTo>
                <a:lnTo>
                  <a:pt x="306" y="990"/>
                </a:lnTo>
                <a:lnTo>
                  <a:pt x="312" y="978"/>
                </a:lnTo>
                <a:lnTo>
                  <a:pt x="324" y="978"/>
                </a:lnTo>
                <a:lnTo>
                  <a:pt x="360" y="960"/>
                </a:lnTo>
                <a:lnTo>
                  <a:pt x="366" y="954"/>
                </a:lnTo>
                <a:lnTo>
                  <a:pt x="366" y="900"/>
                </a:lnTo>
                <a:lnTo>
                  <a:pt x="372" y="894"/>
                </a:lnTo>
                <a:lnTo>
                  <a:pt x="378" y="894"/>
                </a:lnTo>
                <a:lnTo>
                  <a:pt x="396" y="912"/>
                </a:lnTo>
                <a:lnTo>
                  <a:pt x="402" y="924"/>
                </a:lnTo>
                <a:lnTo>
                  <a:pt x="402" y="954"/>
                </a:lnTo>
                <a:lnTo>
                  <a:pt x="408" y="954"/>
                </a:lnTo>
                <a:lnTo>
                  <a:pt x="426" y="972"/>
                </a:lnTo>
                <a:lnTo>
                  <a:pt x="432" y="984"/>
                </a:lnTo>
                <a:lnTo>
                  <a:pt x="444" y="1014"/>
                </a:lnTo>
                <a:lnTo>
                  <a:pt x="450" y="1050"/>
                </a:lnTo>
                <a:lnTo>
                  <a:pt x="450" y="1074"/>
                </a:lnTo>
                <a:lnTo>
                  <a:pt x="456" y="1092"/>
                </a:lnTo>
                <a:lnTo>
                  <a:pt x="456" y="1128"/>
                </a:lnTo>
                <a:lnTo>
                  <a:pt x="462" y="1134"/>
                </a:lnTo>
                <a:lnTo>
                  <a:pt x="480" y="1170"/>
                </a:lnTo>
                <a:lnTo>
                  <a:pt x="486" y="1176"/>
                </a:lnTo>
                <a:lnTo>
                  <a:pt x="486" y="1182"/>
                </a:lnTo>
                <a:lnTo>
                  <a:pt x="528" y="1272"/>
                </a:lnTo>
                <a:lnTo>
                  <a:pt x="540" y="1320"/>
                </a:lnTo>
                <a:lnTo>
                  <a:pt x="522" y="1320"/>
                </a:lnTo>
                <a:lnTo>
                  <a:pt x="516" y="1326"/>
                </a:lnTo>
                <a:lnTo>
                  <a:pt x="516" y="1350"/>
                </a:lnTo>
                <a:lnTo>
                  <a:pt x="510" y="1362"/>
                </a:lnTo>
                <a:lnTo>
                  <a:pt x="510" y="1374"/>
                </a:lnTo>
                <a:lnTo>
                  <a:pt x="552" y="1362"/>
                </a:lnTo>
                <a:lnTo>
                  <a:pt x="540" y="1416"/>
                </a:lnTo>
                <a:lnTo>
                  <a:pt x="540" y="1428"/>
                </a:lnTo>
                <a:lnTo>
                  <a:pt x="534" y="1440"/>
                </a:lnTo>
                <a:lnTo>
                  <a:pt x="534" y="1464"/>
                </a:lnTo>
                <a:lnTo>
                  <a:pt x="540" y="1482"/>
                </a:lnTo>
                <a:lnTo>
                  <a:pt x="540" y="1488"/>
                </a:lnTo>
                <a:lnTo>
                  <a:pt x="546" y="1500"/>
                </a:lnTo>
                <a:lnTo>
                  <a:pt x="552" y="1488"/>
                </a:lnTo>
                <a:lnTo>
                  <a:pt x="558" y="1482"/>
                </a:lnTo>
                <a:lnTo>
                  <a:pt x="564" y="1470"/>
                </a:lnTo>
                <a:lnTo>
                  <a:pt x="564" y="1458"/>
                </a:lnTo>
                <a:lnTo>
                  <a:pt x="558" y="1452"/>
                </a:lnTo>
                <a:lnTo>
                  <a:pt x="558" y="1440"/>
                </a:lnTo>
                <a:lnTo>
                  <a:pt x="576" y="1422"/>
                </a:lnTo>
                <a:lnTo>
                  <a:pt x="594" y="1386"/>
                </a:lnTo>
                <a:lnTo>
                  <a:pt x="594" y="1368"/>
                </a:lnTo>
                <a:lnTo>
                  <a:pt x="600" y="1356"/>
                </a:lnTo>
                <a:lnTo>
                  <a:pt x="600" y="1326"/>
                </a:lnTo>
                <a:lnTo>
                  <a:pt x="594" y="1314"/>
                </a:lnTo>
                <a:lnTo>
                  <a:pt x="594" y="1290"/>
                </a:lnTo>
                <a:lnTo>
                  <a:pt x="570" y="1266"/>
                </a:lnTo>
                <a:lnTo>
                  <a:pt x="570" y="1242"/>
                </a:lnTo>
                <a:lnTo>
                  <a:pt x="564" y="1224"/>
                </a:lnTo>
                <a:lnTo>
                  <a:pt x="564" y="1194"/>
                </a:lnTo>
                <a:lnTo>
                  <a:pt x="558" y="1182"/>
                </a:lnTo>
                <a:lnTo>
                  <a:pt x="516" y="1140"/>
                </a:lnTo>
                <a:lnTo>
                  <a:pt x="510" y="1128"/>
                </a:lnTo>
                <a:lnTo>
                  <a:pt x="504" y="1122"/>
                </a:lnTo>
                <a:lnTo>
                  <a:pt x="498" y="1110"/>
                </a:lnTo>
                <a:lnTo>
                  <a:pt x="492" y="1104"/>
                </a:lnTo>
                <a:lnTo>
                  <a:pt x="492" y="1098"/>
                </a:lnTo>
                <a:lnTo>
                  <a:pt x="486" y="1092"/>
                </a:lnTo>
                <a:lnTo>
                  <a:pt x="504" y="1056"/>
                </a:lnTo>
                <a:lnTo>
                  <a:pt x="510" y="1050"/>
                </a:lnTo>
                <a:lnTo>
                  <a:pt x="516" y="1038"/>
                </a:lnTo>
                <a:lnTo>
                  <a:pt x="516" y="1014"/>
                </a:lnTo>
                <a:lnTo>
                  <a:pt x="510" y="1002"/>
                </a:lnTo>
                <a:lnTo>
                  <a:pt x="522" y="1002"/>
                </a:lnTo>
                <a:lnTo>
                  <a:pt x="528" y="996"/>
                </a:lnTo>
                <a:lnTo>
                  <a:pt x="528" y="978"/>
                </a:lnTo>
                <a:lnTo>
                  <a:pt x="522" y="972"/>
                </a:lnTo>
                <a:lnTo>
                  <a:pt x="516" y="978"/>
                </a:lnTo>
                <a:lnTo>
                  <a:pt x="510" y="978"/>
                </a:lnTo>
                <a:lnTo>
                  <a:pt x="504" y="972"/>
                </a:lnTo>
                <a:lnTo>
                  <a:pt x="498" y="960"/>
                </a:lnTo>
                <a:lnTo>
                  <a:pt x="498" y="942"/>
                </a:lnTo>
                <a:lnTo>
                  <a:pt x="504" y="942"/>
                </a:lnTo>
                <a:lnTo>
                  <a:pt x="504" y="936"/>
                </a:lnTo>
                <a:lnTo>
                  <a:pt x="498" y="930"/>
                </a:lnTo>
                <a:lnTo>
                  <a:pt x="486" y="924"/>
                </a:lnTo>
                <a:lnTo>
                  <a:pt x="474" y="912"/>
                </a:lnTo>
                <a:lnTo>
                  <a:pt x="462" y="906"/>
                </a:lnTo>
                <a:lnTo>
                  <a:pt x="444" y="888"/>
                </a:lnTo>
                <a:lnTo>
                  <a:pt x="438" y="876"/>
                </a:lnTo>
                <a:lnTo>
                  <a:pt x="438" y="870"/>
                </a:lnTo>
                <a:lnTo>
                  <a:pt x="432" y="870"/>
                </a:lnTo>
                <a:lnTo>
                  <a:pt x="438" y="846"/>
                </a:lnTo>
                <a:lnTo>
                  <a:pt x="426" y="840"/>
                </a:lnTo>
                <a:lnTo>
                  <a:pt x="402" y="816"/>
                </a:lnTo>
                <a:lnTo>
                  <a:pt x="402" y="810"/>
                </a:lnTo>
                <a:lnTo>
                  <a:pt x="426" y="810"/>
                </a:lnTo>
                <a:lnTo>
                  <a:pt x="426" y="792"/>
                </a:lnTo>
                <a:lnTo>
                  <a:pt x="408" y="774"/>
                </a:lnTo>
                <a:lnTo>
                  <a:pt x="408" y="768"/>
                </a:lnTo>
                <a:lnTo>
                  <a:pt x="414" y="762"/>
                </a:lnTo>
                <a:lnTo>
                  <a:pt x="420" y="762"/>
                </a:lnTo>
                <a:lnTo>
                  <a:pt x="426" y="756"/>
                </a:lnTo>
                <a:lnTo>
                  <a:pt x="426" y="708"/>
                </a:lnTo>
                <a:lnTo>
                  <a:pt x="456" y="708"/>
                </a:lnTo>
                <a:lnTo>
                  <a:pt x="468" y="714"/>
                </a:lnTo>
                <a:lnTo>
                  <a:pt x="480" y="714"/>
                </a:lnTo>
                <a:lnTo>
                  <a:pt x="486" y="708"/>
                </a:lnTo>
                <a:lnTo>
                  <a:pt x="492" y="696"/>
                </a:lnTo>
                <a:lnTo>
                  <a:pt x="498" y="690"/>
                </a:lnTo>
                <a:lnTo>
                  <a:pt x="498" y="684"/>
                </a:lnTo>
                <a:lnTo>
                  <a:pt x="522" y="684"/>
                </a:lnTo>
                <a:lnTo>
                  <a:pt x="528" y="660"/>
                </a:lnTo>
                <a:lnTo>
                  <a:pt x="534" y="660"/>
                </a:lnTo>
                <a:lnTo>
                  <a:pt x="540" y="654"/>
                </a:lnTo>
                <a:lnTo>
                  <a:pt x="564" y="654"/>
                </a:lnTo>
                <a:lnTo>
                  <a:pt x="564" y="642"/>
                </a:lnTo>
                <a:lnTo>
                  <a:pt x="582" y="624"/>
                </a:lnTo>
                <a:lnTo>
                  <a:pt x="594" y="624"/>
                </a:lnTo>
                <a:lnTo>
                  <a:pt x="600" y="618"/>
                </a:lnTo>
                <a:lnTo>
                  <a:pt x="594" y="612"/>
                </a:lnTo>
                <a:lnTo>
                  <a:pt x="600" y="600"/>
                </a:lnTo>
                <a:lnTo>
                  <a:pt x="600" y="588"/>
                </a:lnTo>
                <a:lnTo>
                  <a:pt x="636" y="570"/>
                </a:lnTo>
                <a:lnTo>
                  <a:pt x="636" y="552"/>
                </a:lnTo>
                <a:lnTo>
                  <a:pt x="630" y="546"/>
                </a:lnTo>
                <a:lnTo>
                  <a:pt x="618" y="546"/>
                </a:lnTo>
                <a:lnTo>
                  <a:pt x="600" y="564"/>
                </a:lnTo>
                <a:lnTo>
                  <a:pt x="600" y="570"/>
                </a:lnTo>
                <a:lnTo>
                  <a:pt x="558" y="570"/>
                </a:lnTo>
                <a:lnTo>
                  <a:pt x="558" y="552"/>
                </a:lnTo>
                <a:lnTo>
                  <a:pt x="546" y="552"/>
                </a:lnTo>
                <a:lnTo>
                  <a:pt x="534" y="522"/>
                </a:lnTo>
                <a:lnTo>
                  <a:pt x="480" y="516"/>
                </a:lnTo>
                <a:lnTo>
                  <a:pt x="486" y="504"/>
                </a:lnTo>
                <a:lnTo>
                  <a:pt x="486" y="498"/>
                </a:lnTo>
                <a:lnTo>
                  <a:pt x="492" y="492"/>
                </a:lnTo>
                <a:lnTo>
                  <a:pt x="492" y="480"/>
                </a:lnTo>
                <a:lnTo>
                  <a:pt x="480" y="468"/>
                </a:lnTo>
                <a:lnTo>
                  <a:pt x="486" y="462"/>
                </a:lnTo>
                <a:lnTo>
                  <a:pt x="498" y="462"/>
                </a:lnTo>
                <a:lnTo>
                  <a:pt x="504" y="456"/>
                </a:lnTo>
                <a:lnTo>
                  <a:pt x="504" y="450"/>
                </a:lnTo>
                <a:lnTo>
                  <a:pt x="498" y="444"/>
                </a:lnTo>
                <a:lnTo>
                  <a:pt x="486" y="438"/>
                </a:lnTo>
                <a:lnTo>
                  <a:pt x="456" y="438"/>
                </a:lnTo>
                <a:lnTo>
                  <a:pt x="444" y="396"/>
                </a:lnTo>
                <a:lnTo>
                  <a:pt x="420" y="378"/>
                </a:lnTo>
                <a:lnTo>
                  <a:pt x="450" y="354"/>
                </a:lnTo>
                <a:lnTo>
                  <a:pt x="390" y="354"/>
                </a:lnTo>
                <a:lnTo>
                  <a:pt x="384" y="360"/>
                </a:lnTo>
                <a:lnTo>
                  <a:pt x="372" y="360"/>
                </a:lnTo>
                <a:lnTo>
                  <a:pt x="366" y="366"/>
                </a:lnTo>
                <a:lnTo>
                  <a:pt x="354" y="372"/>
                </a:lnTo>
                <a:lnTo>
                  <a:pt x="366" y="354"/>
                </a:lnTo>
                <a:lnTo>
                  <a:pt x="360" y="342"/>
                </a:lnTo>
                <a:lnTo>
                  <a:pt x="342" y="324"/>
                </a:lnTo>
                <a:lnTo>
                  <a:pt x="342" y="306"/>
                </a:lnTo>
                <a:lnTo>
                  <a:pt x="354" y="306"/>
                </a:lnTo>
                <a:lnTo>
                  <a:pt x="348" y="276"/>
                </a:lnTo>
                <a:lnTo>
                  <a:pt x="360" y="276"/>
                </a:lnTo>
                <a:lnTo>
                  <a:pt x="366" y="270"/>
                </a:lnTo>
                <a:lnTo>
                  <a:pt x="366" y="234"/>
                </a:lnTo>
                <a:lnTo>
                  <a:pt x="372" y="240"/>
                </a:lnTo>
                <a:lnTo>
                  <a:pt x="384" y="240"/>
                </a:lnTo>
                <a:lnTo>
                  <a:pt x="390" y="234"/>
                </a:lnTo>
                <a:lnTo>
                  <a:pt x="396" y="222"/>
                </a:lnTo>
                <a:lnTo>
                  <a:pt x="396" y="216"/>
                </a:lnTo>
                <a:lnTo>
                  <a:pt x="378" y="198"/>
                </a:lnTo>
                <a:lnTo>
                  <a:pt x="390" y="198"/>
                </a:lnTo>
                <a:lnTo>
                  <a:pt x="396" y="192"/>
                </a:lnTo>
                <a:lnTo>
                  <a:pt x="408" y="192"/>
                </a:lnTo>
                <a:lnTo>
                  <a:pt x="396" y="132"/>
                </a:lnTo>
                <a:lnTo>
                  <a:pt x="384" y="108"/>
                </a:lnTo>
                <a:lnTo>
                  <a:pt x="384" y="78"/>
                </a:lnTo>
                <a:lnTo>
                  <a:pt x="378" y="72"/>
                </a:lnTo>
                <a:lnTo>
                  <a:pt x="342" y="72"/>
                </a:lnTo>
                <a:lnTo>
                  <a:pt x="342" y="66"/>
                </a:lnTo>
                <a:lnTo>
                  <a:pt x="336" y="60"/>
                </a:lnTo>
                <a:lnTo>
                  <a:pt x="318" y="24"/>
                </a:lnTo>
                <a:lnTo>
                  <a:pt x="306" y="18"/>
                </a:lnTo>
                <a:lnTo>
                  <a:pt x="300" y="6"/>
                </a:lnTo>
                <a:lnTo>
                  <a:pt x="294" y="0"/>
                </a:lnTo>
                <a:lnTo>
                  <a:pt x="288" y="0"/>
                </a:lnTo>
                <a:lnTo>
                  <a:pt x="282" y="18"/>
                </a:lnTo>
                <a:lnTo>
                  <a:pt x="282" y="48"/>
                </a:lnTo>
                <a:lnTo>
                  <a:pt x="276" y="48"/>
                </a:lnTo>
                <a:lnTo>
                  <a:pt x="270" y="54"/>
                </a:lnTo>
                <a:lnTo>
                  <a:pt x="258" y="60"/>
                </a:lnTo>
                <a:lnTo>
                  <a:pt x="246" y="72"/>
                </a:lnTo>
                <a:lnTo>
                  <a:pt x="252" y="84"/>
                </a:lnTo>
                <a:lnTo>
                  <a:pt x="258" y="90"/>
                </a:lnTo>
                <a:lnTo>
                  <a:pt x="270" y="96"/>
                </a:lnTo>
                <a:lnTo>
                  <a:pt x="276" y="102"/>
                </a:lnTo>
                <a:lnTo>
                  <a:pt x="276" y="108"/>
                </a:lnTo>
                <a:lnTo>
                  <a:pt x="258" y="108"/>
                </a:lnTo>
                <a:lnTo>
                  <a:pt x="252" y="102"/>
                </a:lnTo>
                <a:lnTo>
                  <a:pt x="216" y="102"/>
                </a:lnTo>
                <a:lnTo>
                  <a:pt x="204" y="108"/>
                </a:lnTo>
                <a:lnTo>
                  <a:pt x="198" y="108"/>
                </a:lnTo>
                <a:lnTo>
                  <a:pt x="198" y="126"/>
                </a:lnTo>
                <a:lnTo>
                  <a:pt x="186" y="138"/>
                </a:lnTo>
                <a:lnTo>
                  <a:pt x="174" y="144"/>
                </a:lnTo>
                <a:lnTo>
                  <a:pt x="162" y="144"/>
                </a:lnTo>
                <a:lnTo>
                  <a:pt x="156" y="150"/>
                </a:lnTo>
                <a:lnTo>
                  <a:pt x="150" y="150"/>
                </a:lnTo>
                <a:lnTo>
                  <a:pt x="150" y="174"/>
                </a:lnTo>
                <a:lnTo>
                  <a:pt x="156" y="180"/>
                </a:lnTo>
                <a:lnTo>
                  <a:pt x="156" y="186"/>
                </a:lnTo>
                <a:lnTo>
                  <a:pt x="162" y="192"/>
                </a:lnTo>
                <a:lnTo>
                  <a:pt x="162" y="204"/>
                </a:lnTo>
                <a:lnTo>
                  <a:pt x="144" y="234"/>
                </a:lnTo>
                <a:lnTo>
                  <a:pt x="138" y="240"/>
                </a:lnTo>
                <a:lnTo>
                  <a:pt x="126" y="246"/>
                </a:lnTo>
                <a:lnTo>
                  <a:pt x="126" y="264"/>
                </a:lnTo>
                <a:lnTo>
                  <a:pt x="132" y="276"/>
                </a:lnTo>
                <a:lnTo>
                  <a:pt x="138" y="282"/>
                </a:lnTo>
                <a:lnTo>
                  <a:pt x="120" y="336"/>
                </a:lnTo>
                <a:lnTo>
                  <a:pt x="120" y="372"/>
                </a:lnTo>
                <a:lnTo>
                  <a:pt x="108" y="372"/>
                </a:lnTo>
                <a:lnTo>
                  <a:pt x="96" y="366"/>
                </a:lnTo>
                <a:lnTo>
                  <a:pt x="42" y="366"/>
                </a:lnTo>
                <a:lnTo>
                  <a:pt x="48" y="366"/>
                </a:lnTo>
                <a:lnTo>
                  <a:pt x="66" y="384"/>
                </a:lnTo>
                <a:lnTo>
                  <a:pt x="72" y="432"/>
                </a:lnTo>
                <a:lnTo>
                  <a:pt x="66" y="432"/>
                </a:lnTo>
                <a:lnTo>
                  <a:pt x="48" y="450"/>
                </a:lnTo>
                <a:lnTo>
                  <a:pt x="54" y="462"/>
                </a:lnTo>
                <a:lnTo>
                  <a:pt x="54" y="486"/>
                </a:lnTo>
                <a:lnTo>
                  <a:pt x="72" y="504"/>
                </a:lnTo>
                <a:lnTo>
                  <a:pt x="72" y="516"/>
                </a:lnTo>
                <a:lnTo>
                  <a:pt x="60" y="516"/>
                </a:lnTo>
                <a:lnTo>
                  <a:pt x="54" y="510"/>
                </a:lnTo>
                <a:lnTo>
                  <a:pt x="48" y="510"/>
                </a:lnTo>
                <a:lnTo>
                  <a:pt x="48" y="534"/>
                </a:lnTo>
                <a:lnTo>
                  <a:pt x="30" y="516"/>
                </a:lnTo>
                <a:lnTo>
                  <a:pt x="42" y="576"/>
                </a:lnTo>
                <a:lnTo>
                  <a:pt x="6" y="570"/>
                </a:lnTo>
                <a:lnTo>
                  <a:pt x="6" y="576"/>
                </a:lnTo>
                <a:lnTo>
                  <a:pt x="0" y="58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1" name="Mozambique"/>
          <p:cNvSpPr>
            <a:spLocks/>
          </p:cNvSpPr>
          <p:nvPr/>
        </p:nvSpPr>
        <p:spPr bwMode="gray">
          <a:xfrm>
            <a:off x="4872896" y="4599655"/>
            <a:ext cx="307975" cy="538163"/>
          </a:xfrm>
          <a:custGeom>
            <a:avLst/>
            <a:gdLst>
              <a:gd name="T0" fmla="*/ 2147483647 w 762"/>
              <a:gd name="T1" fmla="*/ 2147483647 h 1338"/>
              <a:gd name="T2" fmla="*/ 2147483647 w 762"/>
              <a:gd name="T3" fmla="*/ 2147483647 h 1338"/>
              <a:gd name="T4" fmla="*/ 2147483647 w 762"/>
              <a:gd name="T5" fmla="*/ 2147483647 h 1338"/>
              <a:gd name="T6" fmla="*/ 2147483647 w 762"/>
              <a:gd name="T7" fmla="*/ 2147483647 h 1338"/>
              <a:gd name="T8" fmla="*/ 2147483647 w 762"/>
              <a:gd name="T9" fmla="*/ 2147483647 h 1338"/>
              <a:gd name="T10" fmla="*/ 2147483647 w 762"/>
              <a:gd name="T11" fmla="*/ 2147483647 h 1338"/>
              <a:gd name="T12" fmla="*/ 2147483647 w 762"/>
              <a:gd name="T13" fmla="*/ 2147483647 h 1338"/>
              <a:gd name="T14" fmla="*/ 2147483647 w 762"/>
              <a:gd name="T15" fmla="*/ 2147483647 h 1338"/>
              <a:gd name="T16" fmla="*/ 2147483647 w 762"/>
              <a:gd name="T17" fmla="*/ 2147483647 h 1338"/>
              <a:gd name="T18" fmla="*/ 2147483647 w 762"/>
              <a:gd name="T19" fmla="*/ 2147483647 h 1338"/>
              <a:gd name="T20" fmla="*/ 2147483647 w 762"/>
              <a:gd name="T21" fmla="*/ 2147483647 h 1338"/>
              <a:gd name="T22" fmla="*/ 2147483647 w 762"/>
              <a:gd name="T23" fmla="*/ 2147483647 h 1338"/>
              <a:gd name="T24" fmla="*/ 2147483647 w 762"/>
              <a:gd name="T25" fmla="*/ 2147483647 h 1338"/>
              <a:gd name="T26" fmla="*/ 2147483647 w 762"/>
              <a:gd name="T27" fmla="*/ 2147483647 h 1338"/>
              <a:gd name="T28" fmla="*/ 2147483647 w 762"/>
              <a:gd name="T29" fmla="*/ 2147483647 h 1338"/>
              <a:gd name="T30" fmla="*/ 2147483647 w 762"/>
              <a:gd name="T31" fmla="*/ 2147483647 h 1338"/>
              <a:gd name="T32" fmla="*/ 2147483647 w 762"/>
              <a:gd name="T33" fmla="*/ 2147483647 h 1338"/>
              <a:gd name="T34" fmla="*/ 2147483647 w 762"/>
              <a:gd name="T35" fmla="*/ 2147483647 h 1338"/>
              <a:gd name="T36" fmla="*/ 2147483647 w 762"/>
              <a:gd name="T37" fmla="*/ 2147483647 h 1338"/>
              <a:gd name="T38" fmla="*/ 2147483647 w 762"/>
              <a:gd name="T39" fmla="*/ 2147483647 h 1338"/>
              <a:gd name="T40" fmla="*/ 2147483647 w 762"/>
              <a:gd name="T41" fmla="*/ 2147483647 h 1338"/>
              <a:gd name="T42" fmla="*/ 2147483647 w 762"/>
              <a:gd name="T43" fmla="*/ 2147483647 h 1338"/>
              <a:gd name="T44" fmla="*/ 2147483647 w 762"/>
              <a:gd name="T45" fmla="*/ 2147483647 h 1338"/>
              <a:gd name="T46" fmla="*/ 2147483647 w 762"/>
              <a:gd name="T47" fmla="*/ 2147483647 h 1338"/>
              <a:gd name="T48" fmla="*/ 2147483647 w 762"/>
              <a:gd name="T49" fmla="*/ 2147483647 h 1338"/>
              <a:gd name="T50" fmla="*/ 2147483647 w 762"/>
              <a:gd name="T51" fmla="*/ 2147483647 h 1338"/>
              <a:gd name="T52" fmla="*/ 2147483647 w 762"/>
              <a:gd name="T53" fmla="*/ 2147483647 h 1338"/>
              <a:gd name="T54" fmla="*/ 2147483647 w 762"/>
              <a:gd name="T55" fmla="*/ 2147483647 h 1338"/>
              <a:gd name="T56" fmla="*/ 0 w 762"/>
              <a:gd name="T57" fmla="*/ 2147483647 h 1338"/>
              <a:gd name="T58" fmla="*/ 2147483647 w 762"/>
              <a:gd name="T59" fmla="*/ 2147483647 h 1338"/>
              <a:gd name="T60" fmla="*/ 2147483647 w 762"/>
              <a:gd name="T61" fmla="*/ 2147483647 h 1338"/>
              <a:gd name="T62" fmla="*/ 2147483647 w 762"/>
              <a:gd name="T63" fmla="*/ 2147483647 h 1338"/>
              <a:gd name="T64" fmla="*/ 2147483647 w 762"/>
              <a:gd name="T65" fmla="*/ 2147483647 h 1338"/>
              <a:gd name="T66" fmla="*/ 2147483647 w 762"/>
              <a:gd name="T67" fmla="*/ 2147483647 h 1338"/>
              <a:gd name="T68" fmla="*/ 2147483647 w 762"/>
              <a:gd name="T69" fmla="*/ 2147483647 h 1338"/>
              <a:gd name="T70" fmla="*/ 2147483647 w 762"/>
              <a:gd name="T71" fmla="*/ 2147483647 h 1338"/>
              <a:gd name="T72" fmla="*/ 2147483647 w 762"/>
              <a:gd name="T73" fmla="*/ 2147483647 h 1338"/>
              <a:gd name="T74" fmla="*/ 2147483647 w 762"/>
              <a:gd name="T75" fmla="*/ 2147483647 h 1338"/>
              <a:gd name="T76" fmla="*/ 2147483647 w 762"/>
              <a:gd name="T77" fmla="*/ 2147483647 h 1338"/>
              <a:gd name="T78" fmla="*/ 2147483647 w 762"/>
              <a:gd name="T79" fmla="*/ 2147483647 h 1338"/>
              <a:gd name="T80" fmla="*/ 2147483647 w 762"/>
              <a:gd name="T81" fmla="*/ 2147483647 h 1338"/>
              <a:gd name="T82" fmla="*/ 2147483647 w 762"/>
              <a:gd name="T83" fmla="*/ 2147483647 h 1338"/>
              <a:gd name="T84" fmla="*/ 2147483647 w 762"/>
              <a:gd name="T85" fmla="*/ 2147483647 h 1338"/>
              <a:gd name="T86" fmla="*/ 2147483647 w 762"/>
              <a:gd name="T87" fmla="*/ 2147483647 h 1338"/>
              <a:gd name="T88" fmla="*/ 2147483647 w 762"/>
              <a:gd name="T89" fmla="*/ 2147483647 h 1338"/>
              <a:gd name="T90" fmla="*/ 2147483647 w 762"/>
              <a:gd name="T91" fmla="*/ 2147483647 h 1338"/>
              <a:gd name="T92" fmla="*/ 2147483647 w 762"/>
              <a:gd name="T93" fmla="*/ 2147483647 h 1338"/>
              <a:gd name="T94" fmla="*/ 2147483647 w 762"/>
              <a:gd name="T95" fmla="*/ 2147483647 h 1338"/>
              <a:gd name="T96" fmla="*/ 2147483647 w 762"/>
              <a:gd name="T97" fmla="*/ 2147483647 h 1338"/>
              <a:gd name="T98" fmla="*/ 2147483647 w 762"/>
              <a:gd name="T99" fmla="*/ 2147483647 h 1338"/>
              <a:gd name="T100" fmla="*/ 2147483647 w 762"/>
              <a:gd name="T101" fmla="*/ 2147483647 h 1338"/>
              <a:gd name="T102" fmla="*/ 2147483647 w 762"/>
              <a:gd name="T103" fmla="*/ 2147483647 h 1338"/>
              <a:gd name="T104" fmla="*/ 2147483647 w 762"/>
              <a:gd name="T105" fmla="*/ 2147483647 h 1338"/>
              <a:gd name="T106" fmla="*/ 2147483647 w 762"/>
              <a:gd name="T107" fmla="*/ 2147483647 h 1338"/>
              <a:gd name="T108" fmla="*/ 2147483647 w 762"/>
              <a:gd name="T109" fmla="*/ 2147483647 h 1338"/>
              <a:gd name="T110" fmla="*/ 2147483647 w 762"/>
              <a:gd name="T111" fmla="*/ 2147483647 h 1338"/>
              <a:gd name="T112" fmla="*/ 2147483647 w 762"/>
              <a:gd name="T113" fmla="*/ 2147483647 h 1338"/>
              <a:gd name="T114" fmla="*/ 2147483647 w 762"/>
              <a:gd name="T115" fmla="*/ 2147483647 h 1338"/>
              <a:gd name="T116" fmla="*/ 2147483647 w 762"/>
              <a:gd name="T117" fmla="*/ 2147483647 h 1338"/>
              <a:gd name="T118" fmla="*/ 2147483647 w 762"/>
              <a:gd name="T119" fmla="*/ 2147483647 h 1338"/>
              <a:gd name="T120" fmla="*/ 2147483647 w 762"/>
              <a:gd name="T121" fmla="*/ 2147483647 h 1338"/>
              <a:gd name="T122" fmla="*/ 2147483647 w 762"/>
              <a:gd name="T123" fmla="*/ 2147483647 h 13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62"/>
              <a:gd name="T187" fmla="*/ 0 h 1338"/>
              <a:gd name="T188" fmla="*/ 762 w 762"/>
              <a:gd name="T189" fmla="*/ 1338 h 133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62" h="1338">
                <a:moveTo>
                  <a:pt x="762" y="342"/>
                </a:moveTo>
                <a:lnTo>
                  <a:pt x="762" y="324"/>
                </a:lnTo>
                <a:lnTo>
                  <a:pt x="756" y="318"/>
                </a:lnTo>
                <a:lnTo>
                  <a:pt x="744" y="318"/>
                </a:lnTo>
                <a:lnTo>
                  <a:pt x="744" y="258"/>
                </a:lnTo>
                <a:lnTo>
                  <a:pt x="732" y="246"/>
                </a:lnTo>
                <a:lnTo>
                  <a:pt x="750" y="234"/>
                </a:lnTo>
                <a:lnTo>
                  <a:pt x="738" y="186"/>
                </a:lnTo>
                <a:lnTo>
                  <a:pt x="750" y="156"/>
                </a:lnTo>
                <a:lnTo>
                  <a:pt x="738" y="120"/>
                </a:lnTo>
                <a:lnTo>
                  <a:pt x="738" y="108"/>
                </a:lnTo>
                <a:lnTo>
                  <a:pt x="750" y="72"/>
                </a:lnTo>
                <a:lnTo>
                  <a:pt x="756" y="42"/>
                </a:lnTo>
                <a:lnTo>
                  <a:pt x="756" y="12"/>
                </a:lnTo>
                <a:lnTo>
                  <a:pt x="744" y="0"/>
                </a:lnTo>
                <a:lnTo>
                  <a:pt x="666" y="54"/>
                </a:lnTo>
                <a:lnTo>
                  <a:pt x="636" y="60"/>
                </a:lnTo>
                <a:lnTo>
                  <a:pt x="630" y="60"/>
                </a:lnTo>
                <a:lnTo>
                  <a:pt x="618" y="72"/>
                </a:lnTo>
                <a:lnTo>
                  <a:pt x="606" y="78"/>
                </a:lnTo>
                <a:lnTo>
                  <a:pt x="594" y="78"/>
                </a:lnTo>
                <a:lnTo>
                  <a:pt x="594" y="72"/>
                </a:lnTo>
                <a:lnTo>
                  <a:pt x="588" y="66"/>
                </a:lnTo>
                <a:lnTo>
                  <a:pt x="564" y="66"/>
                </a:lnTo>
                <a:lnTo>
                  <a:pt x="558" y="72"/>
                </a:lnTo>
                <a:lnTo>
                  <a:pt x="552" y="84"/>
                </a:lnTo>
                <a:lnTo>
                  <a:pt x="540" y="90"/>
                </a:lnTo>
                <a:lnTo>
                  <a:pt x="528" y="102"/>
                </a:lnTo>
                <a:lnTo>
                  <a:pt x="510" y="102"/>
                </a:lnTo>
                <a:lnTo>
                  <a:pt x="498" y="96"/>
                </a:lnTo>
                <a:lnTo>
                  <a:pt x="492" y="90"/>
                </a:lnTo>
                <a:lnTo>
                  <a:pt x="486" y="90"/>
                </a:lnTo>
                <a:lnTo>
                  <a:pt x="468" y="108"/>
                </a:lnTo>
                <a:lnTo>
                  <a:pt x="456" y="108"/>
                </a:lnTo>
                <a:lnTo>
                  <a:pt x="450" y="102"/>
                </a:lnTo>
                <a:lnTo>
                  <a:pt x="438" y="96"/>
                </a:lnTo>
                <a:lnTo>
                  <a:pt x="432" y="84"/>
                </a:lnTo>
                <a:lnTo>
                  <a:pt x="420" y="78"/>
                </a:lnTo>
                <a:lnTo>
                  <a:pt x="408" y="78"/>
                </a:lnTo>
                <a:lnTo>
                  <a:pt x="396" y="90"/>
                </a:lnTo>
                <a:lnTo>
                  <a:pt x="390" y="90"/>
                </a:lnTo>
                <a:lnTo>
                  <a:pt x="384" y="96"/>
                </a:lnTo>
                <a:lnTo>
                  <a:pt x="354" y="96"/>
                </a:lnTo>
                <a:lnTo>
                  <a:pt x="354" y="114"/>
                </a:lnTo>
                <a:lnTo>
                  <a:pt x="330" y="138"/>
                </a:lnTo>
                <a:lnTo>
                  <a:pt x="330" y="150"/>
                </a:lnTo>
                <a:lnTo>
                  <a:pt x="342" y="162"/>
                </a:lnTo>
                <a:lnTo>
                  <a:pt x="348" y="174"/>
                </a:lnTo>
                <a:lnTo>
                  <a:pt x="348" y="204"/>
                </a:lnTo>
                <a:lnTo>
                  <a:pt x="342" y="216"/>
                </a:lnTo>
                <a:lnTo>
                  <a:pt x="336" y="234"/>
                </a:lnTo>
                <a:lnTo>
                  <a:pt x="336" y="246"/>
                </a:lnTo>
                <a:lnTo>
                  <a:pt x="342" y="246"/>
                </a:lnTo>
                <a:lnTo>
                  <a:pt x="342" y="252"/>
                </a:lnTo>
                <a:lnTo>
                  <a:pt x="348" y="252"/>
                </a:lnTo>
                <a:lnTo>
                  <a:pt x="372" y="276"/>
                </a:lnTo>
                <a:lnTo>
                  <a:pt x="384" y="300"/>
                </a:lnTo>
                <a:lnTo>
                  <a:pt x="390" y="306"/>
                </a:lnTo>
                <a:lnTo>
                  <a:pt x="396" y="318"/>
                </a:lnTo>
                <a:lnTo>
                  <a:pt x="408" y="336"/>
                </a:lnTo>
                <a:lnTo>
                  <a:pt x="420" y="348"/>
                </a:lnTo>
                <a:lnTo>
                  <a:pt x="420" y="366"/>
                </a:lnTo>
                <a:lnTo>
                  <a:pt x="414" y="372"/>
                </a:lnTo>
                <a:lnTo>
                  <a:pt x="408" y="384"/>
                </a:lnTo>
                <a:lnTo>
                  <a:pt x="402" y="390"/>
                </a:lnTo>
                <a:lnTo>
                  <a:pt x="402" y="450"/>
                </a:lnTo>
                <a:lnTo>
                  <a:pt x="396" y="456"/>
                </a:lnTo>
                <a:lnTo>
                  <a:pt x="372" y="456"/>
                </a:lnTo>
                <a:lnTo>
                  <a:pt x="360" y="462"/>
                </a:lnTo>
                <a:lnTo>
                  <a:pt x="354" y="474"/>
                </a:lnTo>
                <a:lnTo>
                  <a:pt x="354" y="492"/>
                </a:lnTo>
                <a:lnTo>
                  <a:pt x="360" y="492"/>
                </a:lnTo>
                <a:lnTo>
                  <a:pt x="366" y="498"/>
                </a:lnTo>
                <a:lnTo>
                  <a:pt x="366" y="528"/>
                </a:lnTo>
                <a:lnTo>
                  <a:pt x="354" y="534"/>
                </a:lnTo>
                <a:lnTo>
                  <a:pt x="348" y="540"/>
                </a:lnTo>
                <a:lnTo>
                  <a:pt x="342" y="534"/>
                </a:lnTo>
                <a:lnTo>
                  <a:pt x="342" y="522"/>
                </a:lnTo>
                <a:lnTo>
                  <a:pt x="348" y="516"/>
                </a:lnTo>
                <a:lnTo>
                  <a:pt x="348" y="504"/>
                </a:lnTo>
                <a:lnTo>
                  <a:pt x="336" y="498"/>
                </a:lnTo>
                <a:lnTo>
                  <a:pt x="330" y="492"/>
                </a:lnTo>
                <a:lnTo>
                  <a:pt x="318" y="486"/>
                </a:lnTo>
                <a:lnTo>
                  <a:pt x="312" y="480"/>
                </a:lnTo>
                <a:lnTo>
                  <a:pt x="300" y="474"/>
                </a:lnTo>
                <a:lnTo>
                  <a:pt x="300" y="444"/>
                </a:lnTo>
                <a:lnTo>
                  <a:pt x="288" y="444"/>
                </a:lnTo>
                <a:lnTo>
                  <a:pt x="288" y="438"/>
                </a:lnTo>
                <a:lnTo>
                  <a:pt x="294" y="432"/>
                </a:lnTo>
                <a:lnTo>
                  <a:pt x="306" y="426"/>
                </a:lnTo>
                <a:lnTo>
                  <a:pt x="312" y="420"/>
                </a:lnTo>
                <a:lnTo>
                  <a:pt x="300" y="402"/>
                </a:lnTo>
                <a:lnTo>
                  <a:pt x="312" y="396"/>
                </a:lnTo>
                <a:lnTo>
                  <a:pt x="318" y="366"/>
                </a:lnTo>
                <a:lnTo>
                  <a:pt x="312" y="366"/>
                </a:lnTo>
                <a:lnTo>
                  <a:pt x="312" y="330"/>
                </a:lnTo>
                <a:lnTo>
                  <a:pt x="306" y="324"/>
                </a:lnTo>
                <a:lnTo>
                  <a:pt x="288" y="324"/>
                </a:lnTo>
                <a:lnTo>
                  <a:pt x="282" y="330"/>
                </a:lnTo>
                <a:lnTo>
                  <a:pt x="252" y="330"/>
                </a:lnTo>
                <a:lnTo>
                  <a:pt x="222" y="282"/>
                </a:lnTo>
                <a:lnTo>
                  <a:pt x="216" y="282"/>
                </a:lnTo>
                <a:lnTo>
                  <a:pt x="210" y="288"/>
                </a:lnTo>
                <a:lnTo>
                  <a:pt x="192" y="294"/>
                </a:lnTo>
                <a:lnTo>
                  <a:pt x="180" y="300"/>
                </a:lnTo>
                <a:lnTo>
                  <a:pt x="162" y="312"/>
                </a:lnTo>
                <a:lnTo>
                  <a:pt x="138" y="324"/>
                </a:lnTo>
                <a:lnTo>
                  <a:pt x="132" y="324"/>
                </a:lnTo>
                <a:lnTo>
                  <a:pt x="120" y="330"/>
                </a:lnTo>
                <a:lnTo>
                  <a:pt x="102" y="336"/>
                </a:lnTo>
                <a:lnTo>
                  <a:pt x="84" y="336"/>
                </a:lnTo>
                <a:lnTo>
                  <a:pt x="72" y="342"/>
                </a:lnTo>
                <a:lnTo>
                  <a:pt x="60" y="342"/>
                </a:lnTo>
                <a:lnTo>
                  <a:pt x="42" y="360"/>
                </a:lnTo>
                <a:lnTo>
                  <a:pt x="12" y="360"/>
                </a:lnTo>
                <a:lnTo>
                  <a:pt x="0" y="372"/>
                </a:lnTo>
                <a:lnTo>
                  <a:pt x="18" y="390"/>
                </a:lnTo>
                <a:lnTo>
                  <a:pt x="24" y="444"/>
                </a:lnTo>
                <a:lnTo>
                  <a:pt x="84" y="444"/>
                </a:lnTo>
                <a:lnTo>
                  <a:pt x="96" y="462"/>
                </a:lnTo>
                <a:lnTo>
                  <a:pt x="114" y="462"/>
                </a:lnTo>
                <a:lnTo>
                  <a:pt x="132" y="486"/>
                </a:lnTo>
                <a:lnTo>
                  <a:pt x="138" y="486"/>
                </a:lnTo>
                <a:lnTo>
                  <a:pt x="150" y="480"/>
                </a:lnTo>
                <a:lnTo>
                  <a:pt x="162" y="480"/>
                </a:lnTo>
                <a:lnTo>
                  <a:pt x="180" y="498"/>
                </a:lnTo>
                <a:lnTo>
                  <a:pt x="192" y="498"/>
                </a:lnTo>
                <a:lnTo>
                  <a:pt x="204" y="510"/>
                </a:lnTo>
                <a:lnTo>
                  <a:pt x="204" y="516"/>
                </a:lnTo>
                <a:lnTo>
                  <a:pt x="198" y="528"/>
                </a:lnTo>
                <a:lnTo>
                  <a:pt x="192" y="534"/>
                </a:lnTo>
                <a:lnTo>
                  <a:pt x="204" y="552"/>
                </a:lnTo>
                <a:lnTo>
                  <a:pt x="192" y="564"/>
                </a:lnTo>
                <a:lnTo>
                  <a:pt x="204" y="576"/>
                </a:lnTo>
                <a:lnTo>
                  <a:pt x="198" y="582"/>
                </a:lnTo>
                <a:lnTo>
                  <a:pt x="198" y="588"/>
                </a:lnTo>
                <a:lnTo>
                  <a:pt x="192" y="594"/>
                </a:lnTo>
                <a:lnTo>
                  <a:pt x="192" y="606"/>
                </a:lnTo>
                <a:lnTo>
                  <a:pt x="204" y="630"/>
                </a:lnTo>
                <a:lnTo>
                  <a:pt x="204" y="642"/>
                </a:lnTo>
                <a:lnTo>
                  <a:pt x="198" y="648"/>
                </a:lnTo>
                <a:lnTo>
                  <a:pt x="198" y="654"/>
                </a:lnTo>
                <a:lnTo>
                  <a:pt x="192" y="654"/>
                </a:lnTo>
                <a:lnTo>
                  <a:pt x="192" y="666"/>
                </a:lnTo>
                <a:lnTo>
                  <a:pt x="174" y="678"/>
                </a:lnTo>
                <a:lnTo>
                  <a:pt x="192" y="702"/>
                </a:lnTo>
                <a:lnTo>
                  <a:pt x="174" y="720"/>
                </a:lnTo>
                <a:lnTo>
                  <a:pt x="174" y="732"/>
                </a:lnTo>
                <a:lnTo>
                  <a:pt x="198" y="756"/>
                </a:lnTo>
                <a:lnTo>
                  <a:pt x="198" y="762"/>
                </a:lnTo>
                <a:lnTo>
                  <a:pt x="192" y="774"/>
                </a:lnTo>
                <a:lnTo>
                  <a:pt x="180" y="786"/>
                </a:lnTo>
                <a:lnTo>
                  <a:pt x="180" y="798"/>
                </a:lnTo>
                <a:lnTo>
                  <a:pt x="168" y="810"/>
                </a:lnTo>
                <a:lnTo>
                  <a:pt x="156" y="816"/>
                </a:lnTo>
                <a:lnTo>
                  <a:pt x="156" y="846"/>
                </a:lnTo>
                <a:lnTo>
                  <a:pt x="144" y="858"/>
                </a:lnTo>
                <a:lnTo>
                  <a:pt x="156" y="876"/>
                </a:lnTo>
                <a:lnTo>
                  <a:pt x="138" y="882"/>
                </a:lnTo>
                <a:lnTo>
                  <a:pt x="72" y="966"/>
                </a:lnTo>
                <a:lnTo>
                  <a:pt x="72" y="996"/>
                </a:lnTo>
                <a:lnTo>
                  <a:pt x="78" y="1014"/>
                </a:lnTo>
                <a:lnTo>
                  <a:pt x="78" y="1032"/>
                </a:lnTo>
                <a:lnTo>
                  <a:pt x="84" y="1044"/>
                </a:lnTo>
                <a:lnTo>
                  <a:pt x="84" y="1062"/>
                </a:lnTo>
                <a:lnTo>
                  <a:pt x="114" y="1122"/>
                </a:lnTo>
                <a:lnTo>
                  <a:pt x="114" y="1212"/>
                </a:lnTo>
                <a:lnTo>
                  <a:pt x="90" y="1248"/>
                </a:lnTo>
                <a:lnTo>
                  <a:pt x="114" y="1248"/>
                </a:lnTo>
                <a:lnTo>
                  <a:pt x="108" y="1260"/>
                </a:lnTo>
                <a:lnTo>
                  <a:pt x="108" y="1284"/>
                </a:lnTo>
                <a:lnTo>
                  <a:pt x="114" y="1290"/>
                </a:lnTo>
                <a:lnTo>
                  <a:pt x="120" y="1290"/>
                </a:lnTo>
                <a:lnTo>
                  <a:pt x="126" y="1314"/>
                </a:lnTo>
                <a:lnTo>
                  <a:pt x="144" y="1314"/>
                </a:lnTo>
                <a:lnTo>
                  <a:pt x="156" y="1326"/>
                </a:lnTo>
                <a:lnTo>
                  <a:pt x="162" y="1338"/>
                </a:lnTo>
                <a:lnTo>
                  <a:pt x="168" y="1320"/>
                </a:lnTo>
                <a:lnTo>
                  <a:pt x="168" y="1284"/>
                </a:lnTo>
                <a:lnTo>
                  <a:pt x="162" y="1272"/>
                </a:lnTo>
                <a:lnTo>
                  <a:pt x="156" y="1266"/>
                </a:lnTo>
                <a:lnTo>
                  <a:pt x="150" y="1266"/>
                </a:lnTo>
                <a:lnTo>
                  <a:pt x="150" y="1242"/>
                </a:lnTo>
                <a:lnTo>
                  <a:pt x="162" y="1230"/>
                </a:lnTo>
                <a:lnTo>
                  <a:pt x="222" y="1188"/>
                </a:lnTo>
                <a:lnTo>
                  <a:pt x="276" y="1158"/>
                </a:lnTo>
                <a:lnTo>
                  <a:pt x="294" y="1146"/>
                </a:lnTo>
                <a:lnTo>
                  <a:pt x="312" y="1140"/>
                </a:lnTo>
                <a:lnTo>
                  <a:pt x="330" y="1128"/>
                </a:lnTo>
                <a:lnTo>
                  <a:pt x="342" y="1122"/>
                </a:lnTo>
                <a:lnTo>
                  <a:pt x="360" y="1104"/>
                </a:lnTo>
                <a:lnTo>
                  <a:pt x="360" y="1080"/>
                </a:lnTo>
                <a:lnTo>
                  <a:pt x="354" y="1080"/>
                </a:lnTo>
                <a:lnTo>
                  <a:pt x="354" y="1086"/>
                </a:lnTo>
                <a:lnTo>
                  <a:pt x="348" y="1080"/>
                </a:lnTo>
                <a:lnTo>
                  <a:pt x="342" y="1080"/>
                </a:lnTo>
                <a:lnTo>
                  <a:pt x="342" y="1068"/>
                </a:lnTo>
                <a:lnTo>
                  <a:pt x="366" y="1020"/>
                </a:lnTo>
                <a:lnTo>
                  <a:pt x="366" y="990"/>
                </a:lnTo>
                <a:lnTo>
                  <a:pt x="360" y="984"/>
                </a:lnTo>
                <a:lnTo>
                  <a:pt x="360" y="978"/>
                </a:lnTo>
                <a:lnTo>
                  <a:pt x="372" y="948"/>
                </a:lnTo>
                <a:lnTo>
                  <a:pt x="366" y="942"/>
                </a:lnTo>
                <a:lnTo>
                  <a:pt x="348" y="960"/>
                </a:lnTo>
                <a:lnTo>
                  <a:pt x="354" y="918"/>
                </a:lnTo>
                <a:lnTo>
                  <a:pt x="348" y="906"/>
                </a:lnTo>
                <a:lnTo>
                  <a:pt x="336" y="900"/>
                </a:lnTo>
                <a:lnTo>
                  <a:pt x="330" y="888"/>
                </a:lnTo>
                <a:lnTo>
                  <a:pt x="330" y="870"/>
                </a:lnTo>
                <a:lnTo>
                  <a:pt x="336" y="858"/>
                </a:lnTo>
                <a:lnTo>
                  <a:pt x="336" y="834"/>
                </a:lnTo>
                <a:lnTo>
                  <a:pt x="324" y="822"/>
                </a:lnTo>
                <a:lnTo>
                  <a:pt x="318" y="822"/>
                </a:lnTo>
                <a:lnTo>
                  <a:pt x="312" y="816"/>
                </a:lnTo>
                <a:lnTo>
                  <a:pt x="312" y="792"/>
                </a:lnTo>
                <a:lnTo>
                  <a:pt x="318" y="780"/>
                </a:lnTo>
                <a:lnTo>
                  <a:pt x="324" y="762"/>
                </a:lnTo>
                <a:lnTo>
                  <a:pt x="336" y="750"/>
                </a:lnTo>
                <a:lnTo>
                  <a:pt x="372" y="732"/>
                </a:lnTo>
                <a:lnTo>
                  <a:pt x="378" y="726"/>
                </a:lnTo>
                <a:lnTo>
                  <a:pt x="378" y="714"/>
                </a:lnTo>
                <a:lnTo>
                  <a:pt x="390" y="690"/>
                </a:lnTo>
                <a:lnTo>
                  <a:pt x="396" y="684"/>
                </a:lnTo>
                <a:lnTo>
                  <a:pt x="402" y="684"/>
                </a:lnTo>
                <a:lnTo>
                  <a:pt x="414" y="678"/>
                </a:lnTo>
                <a:lnTo>
                  <a:pt x="420" y="678"/>
                </a:lnTo>
                <a:lnTo>
                  <a:pt x="426" y="672"/>
                </a:lnTo>
                <a:lnTo>
                  <a:pt x="450" y="660"/>
                </a:lnTo>
                <a:lnTo>
                  <a:pt x="462" y="648"/>
                </a:lnTo>
                <a:lnTo>
                  <a:pt x="474" y="612"/>
                </a:lnTo>
                <a:lnTo>
                  <a:pt x="498" y="576"/>
                </a:lnTo>
                <a:lnTo>
                  <a:pt x="522" y="564"/>
                </a:lnTo>
                <a:lnTo>
                  <a:pt x="558" y="552"/>
                </a:lnTo>
                <a:lnTo>
                  <a:pt x="600" y="534"/>
                </a:lnTo>
                <a:lnTo>
                  <a:pt x="624" y="522"/>
                </a:lnTo>
                <a:lnTo>
                  <a:pt x="630" y="516"/>
                </a:lnTo>
                <a:lnTo>
                  <a:pt x="666" y="498"/>
                </a:lnTo>
                <a:lnTo>
                  <a:pt x="672" y="492"/>
                </a:lnTo>
                <a:lnTo>
                  <a:pt x="684" y="486"/>
                </a:lnTo>
                <a:lnTo>
                  <a:pt x="684" y="474"/>
                </a:lnTo>
                <a:lnTo>
                  <a:pt x="714" y="444"/>
                </a:lnTo>
                <a:lnTo>
                  <a:pt x="714" y="432"/>
                </a:lnTo>
                <a:lnTo>
                  <a:pt x="720" y="420"/>
                </a:lnTo>
                <a:lnTo>
                  <a:pt x="732" y="414"/>
                </a:lnTo>
                <a:lnTo>
                  <a:pt x="738" y="402"/>
                </a:lnTo>
                <a:lnTo>
                  <a:pt x="744" y="396"/>
                </a:lnTo>
                <a:lnTo>
                  <a:pt x="744" y="378"/>
                </a:lnTo>
                <a:lnTo>
                  <a:pt x="750" y="372"/>
                </a:lnTo>
                <a:lnTo>
                  <a:pt x="762" y="348"/>
                </a:lnTo>
                <a:lnTo>
                  <a:pt x="762" y="3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2" name="Morokko"/>
          <p:cNvSpPr>
            <a:spLocks/>
          </p:cNvSpPr>
          <p:nvPr/>
        </p:nvSpPr>
        <p:spPr bwMode="gray">
          <a:xfrm>
            <a:off x="3660046" y="3096293"/>
            <a:ext cx="341312" cy="266700"/>
          </a:xfrm>
          <a:custGeom>
            <a:avLst/>
            <a:gdLst>
              <a:gd name="T0" fmla="*/ 2147483647 w 846"/>
              <a:gd name="T1" fmla="*/ 2147483647 h 660"/>
              <a:gd name="T2" fmla="*/ 2147483647 w 846"/>
              <a:gd name="T3" fmla="*/ 2147483647 h 660"/>
              <a:gd name="T4" fmla="*/ 2147483647 w 846"/>
              <a:gd name="T5" fmla="*/ 2147483647 h 660"/>
              <a:gd name="T6" fmla="*/ 2147483647 w 846"/>
              <a:gd name="T7" fmla="*/ 2147483647 h 660"/>
              <a:gd name="T8" fmla="*/ 2147483647 w 846"/>
              <a:gd name="T9" fmla="*/ 2147483647 h 660"/>
              <a:gd name="T10" fmla="*/ 2147483647 w 846"/>
              <a:gd name="T11" fmla="*/ 2147483647 h 660"/>
              <a:gd name="T12" fmla="*/ 2147483647 w 846"/>
              <a:gd name="T13" fmla="*/ 2147483647 h 660"/>
              <a:gd name="T14" fmla="*/ 2147483647 w 846"/>
              <a:gd name="T15" fmla="*/ 2147483647 h 660"/>
              <a:gd name="T16" fmla="*/ 2147483647 w 846"/>
              <a:gd name="T17" fmla="*/ 2147483647 h 660"/>
              <a:gd name="T18" fmla="*/ 2147483647 w 846"/>
              <a:gd name="T19" fmla="*/ 0 h 660"/>
              <a:gd name="T20" fmla="*/ 2147483647 w 846"/>
              <a:gd name="T21" fmla="*/ 2147483647 h 660"/>
              <a:gd name="T22" fmla="*/ 2147483647 w 846"/>
              <a:gd name="T23" fmla="*/ 2147483647 h 660"/>
              <a:gd name="T24" fmla="*/ 2147483647 w 846"/>
              <a:gd name="T25" fmla="*/ 2147483647 h 660"/>
              <a:gd name="T26" fmla="*/ 2147483647 w 846"/>
              <a:gd name="T27" fmla="*/ 2147483647 h 660"/>
              <a:gd name="T28" fmla="*/ 2147483647 w 846"/>
              <a:gd name="T29" fmla="*/ 2147483647 h 660"/>
              <a:gd name="T30" fmla="*/ 2147483647 w 846"/>
              <a:gd name="T31" fmla="*/ 2147483647 h 660"/>
              <a:gd name="T32" fmla="*/ 2147483647 w 846"/>
              <a:gd name="T33" fmla="*/ 2147483647 h 660"/>
              <a:gd name="T34" fmla="*/ 2147483647 w 846"/>
              <a:gd name="T35" fmla="*/ 2147483647 h 660"/>
              <a:gd name="T36" fmla="*/ 2147483647 w 846"/>
              <a:gd name="T37" fmla="*/ 2147483647 h 660"/>
              <a:gd name="T38" fmla="*/ 2147483647 w 846"/>
              <a:gd name="T39" fmla="*/ 2147483647 h 660"/>
              <a:gd name="T40" fmla="*/ 2147483647 w 846"/>
              <a:gd name="T41" fmla="*/ 2147483647 h 660"/>
              <a:gd name="T42" fmla="*/ 2147483647 w 846"/>
              <a:gd name="T43" fmla="*/ 2147483647 h 660"/>
              <a:gd name="T44" fmla="*/ 2147483647 w 846"/>
              <a:gd name="T45" fmla="*/ 2147483647 h 660"/>
              <a:gd name="T46" fmla="*/ 2147483647 w 846"/>
              <a:gd name="T47" fmla="*/ 2147483647 h 660"/>
              <a:gd name="T48" fmla="*/ 2147483647 w 846"/>
              <a:gd name="T49" fmla="*/ 2147483647 h 660"/>
              <a:gd name="T50" fmla="*/ 2147483647 w 846"/>
              <a:gd name="T51" fmla="*/ 2147483647 h 660"/>
              <a:gd name="T52" fmla="*/ 2147483647 w 846"/>
              <a:gd name="T53" fmla="*/ 2147483647 h 660"/>
              <a:gd name="T54" fmla="*/ 2147483647 w 846"/>
              <a:gd name="T55" fmla="*/ 2147483647 h 660"/>
              <a:gd name="T56" fmla="*/ 2147483647 w 846"/>
              <a:gd name="T57" fmla="*/ 2147483647 h 660"/>
              <a:gd name="T58" fmla="*/ 2147483647 w 846"/>
              <a:gd name="T59" fmla="*/ 2147483647 h 660"/>
              <a:gd name="T60" fmla="*/ 2147483647 w 846"/>
              <a:gd name="T61" fmla="*/ 2147483647 h 660"/>
              <a:gd name="T62" fmla="*/ 2147483647 w 846"/>
              <a:gd name="T63" fmla="*/ 2147483647 h 660"/>
              <a:gd name="T64" fmla="*/ 2147483647 w 846"/>
              <a:gd name="T65" fmla="*/ 2147483647 h 660"/>
              <a:gd name="T66" fmla="*/ 2147483647 w 846"/>
              <a:gd name="T67" fmla="*/ 2147483647 h 660"/>
              <a:gd name="T68" fmla="*/ 2147483647 w 846"/>
              <a:gd name="T69" fmla="*/ 2147483647 h 660"/>
              <a:gd name="T70" fmla="*/ 2147483647 w 846"/>
              <a:gd name="T71" fmla="*/ 2147483647 h 660"/>
              <a:gd name="T72" fmla="*/ 2147483647 w 846"/>
              <a:gd name="T73" fmla="*/ 2147483647 h 660"/>
              <a:gd name="T74" fmla="*/ 2147483647 w 846"/>
              <a:gd name="T75" fmla="*/ 2147483647 h 660"/>
              <a:gd name="T76" fmla="*/ 2147483647 w 846"/>
              <a:gd name="T77" fmla="*/ 2147483647 h 660"/>
              <a:gd name="T78" fmla="*/ 2147483647 w 846"/>
              <a:gd name="T79" fmla="*/ 2147483647 h 660"/>
              <a:gd name="T80" fmla="*/ 2147483647 w 846"/>
              <a:gd name="T81" fmla="*/ 2147483647 h 660"/>
              <a:gd name="T82" fmla="*/ 2147483647 w 846"/>
              <a:gd name="T83" fmla="*/ 2147483647 h 660"/>
              <a:gd name="T84" fmla="*/ 2147483647 w 846"/>
              <a:gd name="T85" fmla="*/ 2147483647 h 660"/>
              <a:gd name="T86" fmla="*/ 2147483647 w 846"/>
              <a:gd name="T87" fmla="*/ 2147483647 h 660"/>
              <a:gd name="T88" fmla="*/ 2147483647 w 846"/>
              <a:gd name="T89" fmla="*/ 2147483647 h 6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46"/>
              <a:gd name="T136" fmla="*/ 0 h 660"/>
              <a:gd name="T137" fmla="*/ 846 w 846"/>
              <a:gd name="T138" fmla="*/ 660 h 6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46" h="660">
                <a:moveTo>
                  <a:pt x="822" y="246"/>
                </a:moveTo>
                <a:lnTo>
                  <a:pt x="822" y="216"/>
                </a:lnTo>
                <a:lnTo>
                  <a:pt x="804" y="216"/>
                </a:lnTo>
                <a:lnTo>
                  <a:pt x="816" y="186"/>
                </a:lnTo>
                <a:lnTo>
                  <a:pt x="804" y="168"/>
                </a:lnTo>
                <a:lnTo>
                  <a:pt x="810" y="102"/>
                </a:lnTo>
                <a:lnTo>
                  <a:pt x="798" y="102"/>
                </a:lnTo>
                <a:lnTo>
                  <a:pt x="798" y="90"/>
                </a:lnTo>
                <a:lnTo>
                  <a:pt x="804" y="84"/>
                </a:lnTo>
                <a:lnTo>
                  <a:pt x="792" y="78"/>
                </a:lnTo>
                <a:lnTo>
                  <a:pt x="786" y="66"/>
                </a:lnTo>
                <a:lnTo>
                  <a:pt x="780" y="60"/>
                </a:lnTo>
                <a:lnTo>
                  <a:pt x="744" y="42"/>
                </a:lnTo>
                <a:lnTo>
                  <a:pt x="720" y="42"/>
                </a:lnTo>
                <a:lnTo>
                  <a:pt x="708" y="48"/>
                </a:lnTo>
                <a:lnTo>
                  <a:pt x="702" y="54"/>
                </a:lnTo>
                <a:lnTo>
                  <a:pt x="696" y="54"/>
                </a:lnTo>
                <a:lnTo>
                  <a:pt x="690" y="48"/>
                </a:lnTo>
                <a:lnTo>
                  <a:pt x="678" y="48"/>
                </a:lnTo>
                <a:lnTo>
                  <a:pt x="666" y="42"/>
                </a:lnTo>
                <a:lnTo>
                  <a:pt x="654" y="42"/>
                </a:lnTo>
                <a:lnTo>
                  <a:pt x="642" y="48"/>
                </a:lnTo>
                <a:lnTo>
                  <a:pt x="636" y="54"/>
                </a:lnTo>
                <a:lnTo>
                  <a:pt x="624" y="54"/>
                </a:lnTo>
                <a:lnTo>
                  <a:pt x="588" y="36"/>
                </a:lnTo>
                <a:lnTo>
                  <a:pt x="570" y="18"/>
                </a:lnTo>
                <a:lnTo>
                  <a:pt x="564" y="6"/>
                </a:lnTo>
                <a:lnTo>
                  <a:pt x="558" y="6"/>
                </a:lnTo>
                <a:lnTo>
                  <a:pt x="552" y="0"/>
                </a:lnTo>
                <a:lnTo>
                  <a:pt x="528" y="0"/>
                </a:lnTo>
                <a:lnTo>
                  <a:pt x="528" y="6"/>
                </a:lnTo>
                <a:lnTo>
                  <a:pt x="522" y="12"/>
                </a:lnTo>
                <a:lnTo>
                  <a:pt x="522" y="30"/>
                </a:lnTo>
                <a:lnTo>
                  <a:pt x="516" y="48"/>
                </a:lnTo>
                <a:lnTo>
                  <a:pt x="498" y="84"/>
                </a:lnTo>
                <a:lnTo>
                  <a:pt x="492" y="102"/>
                </a:lnTo>
                <a:lnTo>
                  <a:pt x="468" y="138"/>
                </a:lnTo>
                <a:lnTo>
                  <a:pt x="462" y="150"/>
                </a:lnTo>
                <a:lnTo>
                  <a:pt x="450" y="162"/>
                </a:lnTo>
                <a:lnTo>
                  <a:pt x="438" y="168"/>
                </a:lnTo>
                <a:lnTo>
                  <a:pt x="420" y="168"/>
                </a:lnTo>
                <a:lnTo>
                  <a:pt x="408" y="174"/>
                </a:lnTo>
                <a:lnTo>
                  <a:pt x="402" y="174"/>
                </a:lnTo>
                <a:lnTo>
                  <a:pt x="396" y="180"/>
                </a:lnTo>
                <a:lnTo>
                  <a:pt x="384" y="186"/>
                </a:lnTo>
                <a:lnTo>
                  <a:pt x="378" y="198"/>
                </a:lnTo>
                <a:lnTo>
                  <a:pt x="360" y="192"/>
                </a:lnTo>
                <a:lnTo>
                  <a:pt x="330" y="204"/>
                </a:lnTo>
                <a:lnTo>
                  <a:pt x="330" y="210"/>
                </a:lnTo>
                <a:lnTo>
                  <a:pt x="324" y="216"/>
                </a:lnTo>
                <a:lnTo>
                  <a:pt x="324" y="228"/>
                </a:lnTo>
                <a:lnTo>
                  <a:pt x="318" y="240"/>
                </a:lnTo>
                <a:lnTo>
                  <a:pt x="312" y="240"/>
                </a:lnTo>
                <a:lnTo>
                  <a:pt x="288" y="264"/>
                </a:lnTo>
                <a:lnTo>
                  <a:pt x="288" y="288"/>
                </a:lnTo>
                <a:lnTo>
                  <a:pt x="276" y="312"/>
                </a:lnTo>
                <a:lnTo>
                  <a:pt x="264" y="324"/>
                </a:lnTo>
                <a:lnTo>
                  <a:pt x="258" y="336"/>
                </a:lnTo>
                <a:lnTo>
                  <a:pt x="246" y="354"/>
                </a:lnTo>
                <a:lnTo>
                  <a:pt x="246" y="402"/>
                </a:lnTo>
                <a:lnTo>
                  <a:pt x="240" y="408"/>
                </a:lnTo>
                <a:lnTo>
                  <a:pt x="234" y="408"/>
                </a:lnTo>
                <a:lnTo>
                  <a:pt x="234" y="414"/>
                </a:lnTo>
                <a:lnTo>
                  <a:pt x="240" y="420"/>
                </a:lnTo>
                <a:lnTo>
                  <a:pt x="252" y="420"/>
                </a:lnTo>
                <a:lnTo>
                  <a:pt x="252" y="474"/>
                </a:lnTo>
                <a:lnTo>
                  <a:pt x="240" y="474"/>
                </a:lnTo>
                <a:lnTo>
                  <a:pt x="228" y="480"/>
                </a:lnTo>
                <a:lnTo>
                  <a:pt x="192" y="540"/>
                </a:lnTo>
                <a:lnTo>
                  <a:pt x="180" y="552"/>
                </a:lnTo>
                <a:lnTo>
                  <a:pt x="168" y="552"/>
                </a:lnTo>
                <a:lnTo>
                  <a:pt x="162" y="558"/>
                </a:lnTo>
                <a:lnTo>
                  <a:pt x="150" y="564"/>
                </a:lnTo>
                <a:lnTo>
                  <a:pt x="144" y="576"/>
                </a:lnTo>
                <a:lnTo>
                  <a:pt x="132" y="588"/>
                </a:lnTo>
                <a:lnTo>
                  <a:pt x="126" y="600"/>
                </a:lnTo>
                <a:lnTo>
                  <a:pt x="120" y="606"/>
                </a:lnTo>
                <a:lnTo>
                  <a:pt x="84" y="624"/>
                </a:lnTo>
                <a:lnTo>
                  <a:pt x="66" y="624"/>
                </a:lnTo>
                <a:lnTo>
                  <a:pt x="54" y="630"/>
                </a:lnTo>
                <a:lnTo>
                  <a:pt x="48" y="630"/>
                </a:lnTo>
                <a:lnTo>
                  <a:pt x="42" y="636"/>
                </a:lnTo>
                <a:lnTo>
                  <a:pt x="12" y="636"/>
                </a:lnTo>
                <a:lnTo>
                  <a:pt x="6" y="642"/>
                </a:lnTo>
                <a:lnTo>
                  <a:pt x="6" y="654"/>
                </a:lnTo>
                <a:lnTo>
                  <a:pt x="0" y="660"/>
                </a:lnTo>
                <a:lnTo>
                  <a:pt x="312" y="660"/>
                </a:lnTo>
                <a:lnTo>
                  <a:pt x="312" y="600"/>
                </a:lnTo>
                <a:lnTo>
                  <a:pt x="318" y="570"/>
                </a:lnTo>
                <a:lnTo>
                  <a:pt x="330" y="564"/>
                </a:lnTo>
                <a:lnTo>
                  <a:pt x="336" y="558"/>
                </a:lnTo>
                <a:lnTo>
                  <a:pt x="348" y="552"/>
                </a:lnTo>
                <a:lnTo>
                  <a:pt x="378" y="522"/>
                </a:lnTo>
                <a:lnTo>
                  <a:pt x="378" y="516"/>
                </a:lnTo>
                <a:lnTo>
                  <a:pt x="396" y="516"/>
                </a:lnTo>
                <a:lnTo>
                  <a:pt x="426" y="498"/>
                </a:lnTo>
                <a:lnTo>
                  <a:pt x="438" y="504"/>
                </a:lnTo>
                <a:lnTo>
                  <a:pt x="444" y="510"/>
                </a:lnTo>
                <a:lnTo>
                  <a:pt x="456" y="510"/>
                </a:lnTo>
                <a:lnTo>
                  <a:pt x="462" y="498"/>
                </a:lnTo>
                <a:lnTo>
                  <a:pt x="462" y="492"/>
                </a:lnTo>
                <a:lnTo>
                  <a:pt x="486" y="486"/>
                </a:lnTo>
                <a:lnTo>
                  <a:pt x="492" y="474"/>
                </a:lnTo>
                <a:lnTo>
                  <a:pt x="504" y="474"/>
                </a:lnTo>
                <a:lnTo>
                  <a:pt x="516" y="480"/>
                </a:lnTo>
                <a:lnTo>
                  <a:pt x="540" y="480"/>
                </a:lnTo>
                <a:lnTo>
                  <a:pt x="552" y="468"/>
                </a:lnTo>
                <a:lnTo>
                  <a:pt x="564" y="444"/>
                </a:lnTo>
                <a:lnTo>
                  <a:pt x="570" y="438"/>
                </a:lnTo>
                <a:lnTo>
                  <a:pt x="576" y="426"/>
                </a:lnTo>
                <a:lnTo>
                  <a:pt x="618" y="426"/>
                </a:lnTo>
                <a:lnTo>
                  <a:pt x="624" y="420"/>
                </a:lnTo>
                <a:lnTo>
                  <a:pt x="636" y="414"/>
                </a:lnTo>
                <a:lnTo>
                  <a:pt x="648" y="402"/>
                </a:lnTo>
                <a:lnTo>
                  <a:pt x="648" y="396"/>
                </a:lnTo>
                <a:lnTo>
                  <a:pt x="672" y="384"/>
                </a:lnTo>
                <a:lnTo>
                  <a:pt x="660" y="366"/>
                </a:lnTo>
                <a:lnTo>
                  <a:pt x="654" y="354"/>
                </a:lnTo>
                <a:lnTo>
                  <a:pt x="648" y="348"/>
                </a:lnTo>
                <a:lnTo>
                  <a:pt x="648" y="336"/>
                </a:lnTo>
                <a:lnTo>
                  <a:pt x="654" y="330"/>
                </a:lnTo>
                <a:lnTo>
                  <a:pt x="678" y="330"/>
                </a:lnTo>
                <a:lnTo>
                  <a:pt x="690" y="324"/>
                </a:lnTo>
                <a:lnTo>
                  <a:pt x="714" y="324"/>
                </a:lnTo>
                <a:lnTo>
                  <a:pt x="714" y="312"/>
                </a:lnTo>
                <a:lnTo>
                  <a:pt x="720" y="306"/>
                </a:lnTo>
                <a:lnTo>
                  <a:pt x="720" y="300"/>
                </a:lnTo>
                <a:lnTo>
                  <a:pt x="732" y="300"/>
                </a:lnTo>
                <a:lnTo>
                  <a:pt x="738" y="306"/>
                </a:lnTo>
                <a:lnTo>
                  <a:pt x="744" y="300"/>
                </a:lnTo>
                <a:lnTo>
                  <a:pt x="744" y="294"/>
                </a:lnTo>
                <a:lnTo>
                  <a:pt x="762" y="294"/>
                </a:lnTo>
                <a:lnTo>
                  <a:pt x="774" y="300"/>
                </a:lnTo>
                <a:lnTo>
                  <a:pt x="828" y="294"/>
                </a:lnTo>
                <a:lnTo>
                  <a:pt x="828" y="282"/>
                </a:lnTo>
                <a:lnTo>
                  <a:pt x="846" y="264"/>
                </a:lnTo>
                <a:lnTo>
                  <a:pt x="822" y="246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3" name="Montenegro"/>
          <p:cNvSpPr>
            <a:spLocks/>
          </p:cNvSpPr>
          <p:nvPr/>
        </p:nvSpPr>
        <p:spPr bwMode="gray">
          <a:xfrm>
            <a:off x="4520471" y="2847055"/>
            <a:ext cx="46037" cy="53975"/>
          </a:xfrm>
          <a:custGeom>
            <a:avLst/>
            <a:gdLst>
              <a:gd name="T0" fmla="*/ 2147483647 w 114"/>
              <a:gd name="T1" fmla="*/ 2147483647 h 138"/>
              <a:gd name="T2" fmla="*/ 2147483647 w 114"/>
              <a:gd name="T3" fmla="*/ 2147483647 h 138"/>
              <a:gd name="T4" fmla="*/ 2147483647 w 114"/>
              <a:gd name="T5" fmla="*/ 2147483647 h 138"/>
              <a:gd name="T6" fmla="*/ 2147483647 w 114"/>
              <a:gd name="T7" fmla="*/ 2147483647 h 138"/>
              <a:gd name="T8" fmla="*/ 2147483647 w 114"/>
              <a:gd name="T9" fmla="*/ 2147483647 h 138"/>
              <a:gd name="T10" fmla="*/ 2147483647 w 114"/>
              <a:gd name="T11" fmla="*/ 2147483647 h 138"/>
              <a:gd name="T12" fmla="*/ 2147483647 w 114"/>
              <a:gd name="T13" fmla="*/ 0 h 138"/>
              <a:gd name="T14" fmla="*/ 2147483647 w 114"/>
              <a:gd name="T15" fmla="*/ 0 h 138"/>
              <a:gd name="T16" fmla="*/ 2147483647 w 114"/>
              <a:gd name="T17" fmla="*/ 2147483647 h 138"/>
              <a:gd name="T18" fmla="*/ 2147483647 w 114"/>
              <a:gd name="T19" fmla="*/ 2147483647 h 138"/>
              <a:gd name="T20" fmla="*/ 2147483647 w 114"/>
              <a:gd name="T21" fmla="*/ 2147483647 h 138"/>
              <a:gd name="T22" fmla="*/ 2147483647 w 114"/>
              <a:gd name="T23" fmla="*/ 2147483647 h 138"/>
              <a:gd name="T24" fmla="*/ 2147483647 w 114"/>
              <a:gd name="T25" fmla="*/ 2147483647 h 138"/>
              <a:gd name="T26" fmla="*/ 2147483647 w 114"/>
              <a:gd name="T27" fmla="*/ 2147483647 h 138"/>
              <a:gd name="T28" fmla="*/ 0 w 114"/>
              <a:gd name="T29" fmla="*/ 2147483647 h 138"/>
              <a:gd name="T30" fmla="*/ 0 w 114"/>
              <a:gd name="T31" fmla="*/ 2147483647 h 138"/>
              <a:gd name="T32" fmla="*/ 2147483647 w 114"/>
              <a:gd name="T33" fmla="*/ 2147483647 h 138"/>
              <a:gd name="T34" fmla="*/ 2147483647 w 114"/>
              <a:gd name="T35" fmla="*/ 2147483647 h 138"/>
              <a:gd name="T36" fmla="*/ 2147483647 w 114"/>
              <a:gd name="T37" fmla="*/ 2147483647 h 138"/>
              <a:gd name="T38" fmla="*/ 2147483647 w 114"/>
              <a:gd name="T39" fmla="*/ 2147483647 h 138"/>
              <a:gd name="T40" fmla="*/ 2147483647 w 114"/>
              <a:gd name="T41" fmla="*/ 2147483647 h 138"/>
              <a:gd name="T42" fmla="*/ 2147483647 w 114"/>
              <a:gd name="T43" fmla="*/ 2147483647 h 138"/>
              <a:gd name="T44" fmla="*/ 2147483647 w 114"/>
              <a:gd name="T45" fmla="*/ 2147483647 h 138"/>
              <a:gd name="T46" fmla="*/ 2147483647 w 114"/>
              <a:gd name="T47" fmla="*/ 2147483647 h 138"/>
              <a:gd name="T48" fmla="*/ 2147483647 w 114"/>
              <a:gd name="T49" fmla="*/ 2147483647 h 138"/>
              <a:gd name="T50" fmla="*/ 2147483647 w 114"/>
              <a:gd name="T51" fmla="*/ 2147483647 h 138"/>
              <a:gd name="T52" fmla="*/ 2147483647 w 114"/>
              <a:gd name="T53" fmla="*/ 2147483647 h 138"/>
              <a:gd name="T54" fmla="*/ 2147483647 w 114"/>
              <a:gd name="T55" fmla="*/ 2147483647 h 138"/>
              <a:gd name="T56" fmla="*/ 2147483647 w 114"/>
              <a:gd name="T57" fmla="*/ 2147483647 h 138"/>
              <a:gd name="T58" fmla="*/ 2147483647 w 114"/>
              <a:gd name="T59" fmla="*/ 2147483647 h 138"/>
              <a:gd name="T60" fmla="*/ 2147483647 w 114"/>
              <a:gd name="T61" fmla="*/ 2147483647 h 138"/>
              <a:gd name="T62" fmla="*/ 2147483647 w 114"/>
              <a:gd name="T63" fmla="*/ 2147483647 h 138"/>
              <a:gd name="T64" fmla="*/ 2147483647 w 114"/>
              <a:gd name="T65" fmla="*/ 2147483647 h 138"/>
              <a:gd name="T66" fmla="*/ 2147483647 w 114"/>
              <a:gd name="T67" fmla="*/ 2147483647 h 138"/>
              <a:gd name="T68" fmla="*/ 2147483647 w 114"/>
              <a:gd name="T69" fmla="*/ 2147483647 h 138"/>
              <a:gd name="T70" fmla="*/ 2147483647 w 114"/>
              <a:gd name="T71" fmla="*/ 2147483647 h 13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14"/>
              <a:gd name="T109" fmla="*/ 0 h 138"/>
              <a:gd name="T110" fmla="*/ 114 w 114"/>
              <a:gd name="T111" fmla="*/ 138 h 13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14" h="138">
                <a:moveTo>
                  <a:pt x="114" y="42"/>
                </a:moveTo>
                <a:lnTo>
                  <a:pt x="108" y="48"/>
                </a:lnTo>
                <a:lnTo>
                  <a:pt x="96" y="30"/>
                </a:lnTo>
                <a:lnTo>
                  <a:pt x="84" y="18"/>
                </a:lnTo>
                <a:lnTo>
                  <a:pt x="66" y="6"/>
                </a:lnTo>
                <a:lnTo>
                  <a:pt x="60" y="6"/>
                </a:lnTo>
                <a:lnTo>
                  <a:pt x="48" y="0"/>
                </a:lnTo>
                <a:lnTo>
                  <a:pt x="42" y="0"/>
                </a:lnTo>
                <a:lnTo>
                  <a:pt x="42" y="24"/>
                </a:lnTo>
                <a:lnTo>
                  <a:pt x="24" y="24"/>
                </a:lnTo>
                <a:lnTo>
                  <a:pt x="18" y="30"/>
                </a:lnTo>
                <a:lnTo>
                  <a:pt x="18" y="36"/>
                </a:lnTo>
                <a:lnTo>
                  <a:pt x="12" y="48"/>
                </a:lnTo>
                <a:lnTo>
                  <a:pt x="6" y="48"/>
                </a:lnTo>
                <a:lnTo>
                  <a:pt x="0" y="54"/>
                </a:lnTo>
                <a:lnTo>
                  <a:pt x="0" y="60"/>
                </a:lnTo>
                <a:lnTo>
                  <a:pt x="6" y="66"/>
                </a:lnTo>
                <a:lnTo>
                  <a:pt x="12" y="66"/>
                </a:lnTo>
                <a:lnTo>
                  <a:pt x="24" y="72"/>
                </a:lnTo>
                <a:lnTo>
                  <a:pt x="6" y="102"/>
                </a:lnTo>
                <a:lnTo>
                  <a:pt x="18" y="102"/>
                </a:lnTo>
                <a:lnTo>
                  <a:pt x="24" y="96"/>
                </a:lnTo>
                <a:lnTo>
                  <a:pt x="36" y="96"/>
                </a:lnTo>
                <a:lnTo>
                  <a:pt x="36" y="114"/>
                </a:lnTo>
                <a:lnTo>
                  <a:pt x="60" y="138"/>
                </a:lnTo>
                <a:lnTo>
                  <a:pt x="72" y="126"/>
                </a:lnTo>
                <a:lnTo>
                  <a:pt x="66" y="108"/>
                </a:lnTo>
                <a:lnTo>
                  <a:pt x="60" y="114"/>
                </a:lnTo>
                <a:lnTo>
                  <a:pt x="42" y="102"/>
                </a:lnTo>
                <a:lnTo>
                  <a:pt x="66" y="102"/>
                </a:lnTo>
                <a:lnTo>
                  <a:pt x="78" y="96"/>
                </a:lnTo>
                <a:lnTo>
                  <a:pt x="78" y="78"/>
                </a:lnTo>
                <a:lnTo>
                  <a:pt x="108" y="90"/>
                </a:lnTo>
                <a:lnTo>
                  <a:pt x="114" y="84"/>
                </a:lnTo>
                <a:lnTo>
                  <a:pt x="114" y="90"/>
                </a:lnTo>
                <a:lnTo>
                  <a:pt x="114" y="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4" name="Mongolia"/>
          <p:cNvSpPr>
            <a:spLocks/>
          </p:cNvSpPr>
          <p:nvPr/>
        </p:nvSpPr>
        <p:spPr bwMode="gray">
          <a:xfrm>
            <a:off x="6252433" y="2575593"/>
            <a:ext cx="844550" cy="334962"/>
          </a:xfrm>
          <a:custGeom>
            <a:avLst/>
            <a:gdLst>
              <a:gd name="T0" fmla="*/ 2147483647 w 2100"/>
              <a:gd name="T1" fmla="*/ 2147483647 h 834"/>
              <a:gd name="T2" fmla="*/ 2147483647 w 2100"/>
              <a:gd name="T3" fmla="*/ 2147483647 h 834"/>
              <a:gd name="T4" fmla="*/ 2147483647 w 2100"/>
              <a:gd name="T5" fmla="*/ 2147483647 h 834"/>
              <a:gd name="T6" fmla="*/ 2147483647 w 2100"/>
              <a:gd name="T7" fmla="*/ 2147483647 h 834"/>
              <a:gd name="T8" fmla="*/ 2147483647 w 2100"/>
              <a:gd name="T9" fmla="*/ 2147483647 h 834"/>
              <a:gd name="T10" fmla="*/ 2147483647 w 2100"/>
              <a:gd name="T11" fmla="*/ 2147483647 h 834"/>
              <a:gd name="T12" fmla="*/ 2147483647 w 2100"/>
              <a:gd name="T13" fmla="*/ 2147483647 h 834"/>
              <a:gd name="T14" fmla="*/ 2147483647 w 2100"/>
              <a:gd name="T15" fmla="*/ 2147483647 h 834"/>
              <a:gd name="T16" fmla="*/ 2147483647 w 2100"/>
              <a:gd name="T17" fmla="*/ 2147483647 h 834"/>
              <a:gd name="T18" fmla="*/ 2147483647 w 2100"/>
              <a:gd name="T19" fmla="*/ 2147483647 h 834"/>
              <a:gd name="T20" fmla="*/ 2147483647 w 2100"/>
              <a:gd name="T21" fmla="*/ 2147483647 h 834"/>
              <a:gd name="T22" fmla="*/ 2147483647 w 2100"/>
              <a:gd name="T23" fmla="*/ 2147483647 h 834"/>
              <a:gd name="T24" fmla="*/ 2147483647 w 2100"/>
              <a:gd name="T25" fmla="*/ 2147483647 h 834"/>
              <a:gd name="T26" fmla="*/ 2147483647 w 2100"/>
              <a:gd name="T27" fmla="*/ 2147483647 h 834"/>
              <a:gd name="T28" fmla="*/ 2147483647 w 2100"/>
              <a:gd name="T29" fmla="*/ 2147483647 h 834"/>
              <a:gd name="T30" fmla="*/ 2147483647 w 2100"/>
              <a:gd name="T31" fmla="*/ 2147483647 h 834"/>
              <a:gd name="T32" fmla="*/ 2147483647 w 2100"/>
              <a:gd name="T33" fmla="*/ 2147483647 h 834"/>
              <a:gd name="T34" fmla="*/ 2147483647 w 2100"/>
              <a:gd name="T35" fmla="*/ 2147483647 h 834"/>
              <a:gd name="T36" fmla="*/ 2147483647 w 2100"/>
              <a:gd name="T37" fmla="*/ 2147483647 h 834"/>
              <a:gd name="T38" fmla="*/ 2147483647 w 2100"/>
              <a:gd name="T39" fmla="*/ 2147483647 h 834"/>
              <a:gd name="T40" fmla="*/ 2147483647 w 2100"/>
              <a:gd name="T41" fmla="*/ 2147483647 h 834"/>
              <a:gd name="T42" fmla="*/ 2147483647 w 2100"/>
              <a:gd name="T43" fmla="*/ 2147483647 h 834"/>
              <a:gd name="T44" fmla="*/ 2147483647 w 2100"/>
              <a:gd name="T45" fmla="*/ 2147483647 h 834"/>
              <a:gd name="T46" fmla="*/ 2147483647 w 2100"/>
              <a:gd name="T47" fmla="*/ 2147483647 h 834"/>
              <a:gd name="T48" fmla="*/ 2147483647 w 2100"/>
              <a:gd name="T49" fmla="*/ 2147483647 h 834"/>
              <a:gd name="T50" fmla="*/ 2147483647 w 2100"/>
              <a:gd name="T51" fmla="*/ 2147483647 h 834"/>
              <a:gd name="T52" fmla="*/ 2147483647 w 2100"/>
              <a:gd name="T53" fmla="*/ 2147483647 h 834"/>
              <a:gd name="T54" fmla="*/ 2147483647 w 2100"/>
              <a:gd name="T55" fmla="*/ 2147483647 h 834"/>
              <a:gd name="T56" fmla="*/ 2147483647 w 2100"/>
              <a:gd name="T57" fmla="*/ 2147483647 h 834"/>
              <a:gd name="T58" fmla="*/ 2147483647 w 2100"/>
              <a:gd name="T59" fmla="*/ 2147483647 h 834"/>
              <a:gd name="T60" fmla="*/ 2147483647 w 2100"/>
              <a:gd name="T61" fmla="*/ 2147483647 h 834"/>
              <a:gd name="T62" fmla="*/ 0 w 2100"/>
              <a:gd name="T63" fmla="*/ 2147483647 h 834"/>
              <a:gd name="T64" fmla="*/ 2147483647 w 2100"/>
              <a:gd name="T65" fmla="*/ 2147483647 h 834"/>
              <a:gd name="T66" fmla="*/ 2147483647 w 2100"/>
              <a:gd name="T67" fmla="*/ 2147483647 h 834"/>
              <a:gd name="T68" fmla="*/ 2147483647 w 2100"/>
              <a:gd name="T69" fmla="*/ 2147483647 h 834"/>
              <a:gd name="T70" fmla="*/ 2147483647 w 2100"/>
              <a:gd name="T71" fmla="*/ 2147483647 h 834"/>
              <a:gd name="T72" fmla="*/ 2147483647 w 2100"/>
              <a:gd name="T73" fmla="*/ 2147483647 h 834"/>
              <a:gd name="T74" fmla="*/ 2147483647 w 2100"/>
              <a:gd name="T75" fmla="*/ 2147483647 h 834"/>
              <a:gd name="T76" fmla="*/ 2147483647 w 2100"/>
              <a:gd name="T77" fmla="*/ 2147483647 h 834"/>
              <a:gd name="T78" fmla="*/ 2147483647 w 2100"/>
              <a:gd name="T79" fmla="*/ 2147483647 h 834"/>
              <a:gd name="T80" fmla="*/ 2147483647 w 2100"/>
              <a:gd name="T81" fmla="*/ 2147483647 h 834"/>
              <a:gd name="T82" fmla="*/ 2147483647 w 2100"/>
              <a:gd name="T83" fmla="*/ 2147483647 h 834"/>
              <a:gd name="T84" fmla="*/ 2147483647 w 2100"/>
              <a:gd name="T85" fmla="*/ 2147483647 h 834"/>
              <a:gd name="T86" fmla="*/ 2147483647 w 2100"/>
              <a:gd name="T87" fmla="*/ 2147483647 h 834"/>
              <a:gd name="T88" fmla="*/ 2147483647 w 2100"/>
              <a:gd name="T89" fmla="*/ 2147483647 h 834"/>
              <a:gd name="T90" fmla="*/ 2147483647 w 2100"/>
              <a:gd name="T91" fmla="*/ 2147483647 h 834"/>
              <a:gd name="T92" fmla="*/ 2147483647 w 2100"/>
              <a:gd name="T93" fmla="*/ 2147483647 h 834"/>
              <a:gd name="T94" fmla="*/ 2147483647 w 2100"/>
              <a:gd name="T95" fmla="*/ 2147483647 h 834"/>
              <a:gd name="T96" fmla="*/ 2147483647 w 2100"/>
              <a:gd name="T97" fmla="*/ 2147483647 h 834"/>
              <a:gd name="T98" fmla="*/ 2147483647 w 2100"/>
              <a:gd name="T99" fmla="*/ 2147483647 h 834"/>
              <a:gd name="T100" fmla="*/ 2147483647 w 2100"/>
              <a:gd name="T101" fmla="*/ 2147483647 h 834"/>
              <a:gd name="T102" fmla="*/ 2147483647 w 2100"/>
              <a:gd name="T103" fmla="*/ 2147483647 h 834"/>
              <a:gd name="T104" fmla="*/ 2147483647 w 2100"/>
              <a:gd name="T105" fmla="*/ 2147483647 h 834"/>
              <a:gd name="T106" fmla="*/ 2147483647 w 2100"/>
              <a:gd name="T107" fmla="*/ 2147483647 h 834"/>
              <a:gd name="T108" fmla="*/ 2147483647 w 2100"/>
              <a:gd name="T109" fmla="*/ 2147483647 h 834"/>
              <a:gd name="T110" fmla="*/ 2147483647 w 2100"/>
              <a:gd name="T111" fmla="*/ 2147483647 h 834"/>
              <a:gd name="T112" fmla="*/ 2147483647 w 2100"/>
              <a:gd name="T113" fmla="*/ 2147483647 h 834"/>
              <a:gd name="T114" fmla="*/ 2147483647 w 2100"/>
              <a:gd name="T115" fmla="*/ 2147483647 h 834"/>
              <a:gd name="T116" fmla="*/ 2147483647 w 2100"/>
              <a:gd name="T117" fmla="*/ 2147483647 h 834"/>
              <a:gd name="T118" fmla="*/ 2147483647 w 2100"/>
              <a:gd name="T119" fmla="*/ 2147483647 h 834"/>
              <a:gd name="T120" fmla="*/ 2147483647 w 2100"/>
              <a:gd name="T121" fmla="*/ 2147483647 h 834"/>
              <a:gd name="T122" fmla="*/ 2147483647 w 2100"/>
              <a:gd name="T123" fmla="*/ 2147483647 h 83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00"/>
              <a:gd name="T187" fmla="*/ 0 h 834"/>
              <a:gd name="T188" fmla="*/ 2100 w 2100"/>
              <a:gd name="T189" fmla="*/ 834 h 83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00" h="834">
                <a:moveTo>
                  <a:pt x="2088" y="408"/>
                </a:moveTo>
                <a:lnTo>
                  <a:pt x="2076" y="396"/>
                </a:lnTo>
                <a:lnTo>
                  <a:pt x="2070" y="384"/>
                </a:lnTo>
                <a:lnTo>
                  <a:pt x="2058" y="384"/>
                </a:lnTo>
                <a:lnTo>
                  <a:pt x="2034" y="372"/>
                </a:lnTo>
                <a:lnTo>
                  <a:pt x="2022" y="360"/>
                </a:lnTo>
                <a:lnTo>
                  <a:pt x="2010" y="354"/>
                </a:lnTo>
                <a:lnTo>
                  <a:pt x="2004" y="348"/>
                </a:lnTo>
                <a:lnTo>
                  <a:pt x="1986" y="348"/>
                </a:lnTo>
                <a:lnTo>
                  <a:pt x="1974" y="342"/>
                </a:lnTo>
                <a:lnTo>
                  <a:pt x="1968" y="336"/>
                </a:lnTo>
                <a:lnTo>
                  <a:pt x="1968" y="324"/>
                </a:lnTo>
                <a:lnTo>
                  <a:pt x="1902" y="324"/>
                </a:lnTo>
                <a:lnTo>
                  <a:pt x="1902" y="348"/>
                </a:lnTo>
                <a:lnTo>
                  <a:pt x="1896" y="354"/>
                </a:lnTo>
                <a:lnTo>
                  <a:pt x="1890" y="354"/>
                </a:lnTo>
                <a:lnTo>
                  <a:pt x="1878" y="348"/>
                </a:lnTo>
                <a:lnTo>
                  <a:pt x="1866" y="336"/>
                </a:lnTo>
                <a:lnTo>
                  <a:pt x="1812" y="336"/>
                </a:lnTo>
                <a:lnTo>
                  <a:pt x="1806" y="342"/>
                </a:lnTo>
                <a:lnTo>
                  <a:pt x="1812" y="342"/>
                </a:lnTo>
                <a:lnTo>
                  <a:pt x="1812" y="348"/>
                </a:lnTo>
                <a:lnTo>
                  <a:pt x="1794" y="348"/>
                </a:lnTo>
                <a:lnTo>
                  <a:pt x="1788" y="342"/>
                </a:lnTo>
                <a:lnTo>
                  <a:pt x="1776" y="336"/>
                </a:lnTo>
                <a:lnTo>
                  <a:pt x="1770" y="324"/>
                </a:lnTo>
                <a:lnTo>
                  <a:pt x="1770" y="306"/>
                </a:lnTo>
                <a:lnTo>
                  <a:pt x="1776" y="306"/>
                </a:lnTo>
                <a:lnTo>
                  <a:pt x="1770" y="294"/>
                </a:lnTo>
                <a:lnTo>
                  <a:pt x="1764" y="270"/>
                </a:lnTo>
                <a:lnTo>
                  <a:pt x="1758" y="258"/>
                </a:lnTo>
                <a:lnTo>
                  <a:pt x="1758" y="174"/>
                </a:lnTo>
                <a:lnTo>
                  <a:pt x="1740" y="174"/>
                </a:lnTo>
                <a:lnTo>
                  <a:pt x="1716" y="168"/>
                </a:lnTo>
                <a:lnTo>
                  <a:pt x="1710" y="174"/>
                </a:lnTo>
                <a:lnTo>
                  <a:pt x="1698" y="180"/>
                </a:lnTo>
                <a:lnTo>
                  <a:pt x="1674" y="180"/>
                </a:lnTo>
                <a:lnTo>
                  <a:pt x="1662" y="174"/>
                </a:lnTo>
                <a:lnTo>
                  <a:pt x="1644" y="156"/>
                </a:lnTo>
                <a:lnTo>
                  <a:pt x="1608" y="156"/>
                </a:lnTo>
                <a:lnTo>
                  <a:pt x="1596" y="150"/>
                </a:lnTo>
                <a:lnTo>
                  <a:pt x="1578" y="150"/>
                </a:lnTo>
                <a:lnTo>
                  <a:pt x="1548" y="180"/>
                </a:lnTo>
                <a:lnTo>
                  <a:pt x="1548" y="192"/>
                </a:lnTo>
                <a:lnTo>
                  <a:pt x="1536" y="204"/>
                </a:lnTo>
                <a:lnTo>
                  <a:pt x="1500" y="204"/>
                </a:lnTo>
                <a:lnTo>
                  <a:pt x="1488" y="216"/>
                </a:lnTo>
                <a:lnTo>
                  <a:pt x="1440" y="216"/>
                </a:lnTo>
                <a:lnTo>
                  <a:pt x="1440" y="222"/>
                </a:lnTo>
                <a:lnTo>
                  <a:pt x="1422" y="240"/>
                </a:lnTo>
                <a:lnTo>
                  <a:pt x="1416" y="240"/>
                </a:lnTo>
                <a:lnTo>
                  <a:pt x="1416" y="234"/>
                </a:lnTo>
                <a:lnTo>
                  <a:pt x="1410" y="228"/>
                </a:lnTo>
                <a:lnTo>
                  <a:pt x="1392" y="228"/>
                </a:lnTo>
                <a:lnTo>
                  <a:pt x="1380" y="234"/>
                </a:lnTo>
                <a:lnTo>
                  <a:pt x="1356" y="234"/>
                </a:lnTo>
                <a:lnTo>
                  <a:pt x="1344" y="228"/>
                </a:lnTo>
                <a:lnTo>
                  <a:pt x="1338" y="228"/>
                </a:lnTo>
                <a:lnTo>
                  <a:pt x="1332" y="222"/>
                </a:lnTo>
                <a:lnTo>
                  <a:pt x="1266" y="222"/>
                </a:lnTo>
                <a:lnTo>
                  <a:pt x="1260" y="216"/>
                </a:lnTo>
                <a:lnTo>
                  <a:pt x="1260" y="204"/>
                </a:lnTo>
                <a:lnTo>
                  <a:pt x="1248" y="198"/>
                </a:lnTo>
                <a:lnTo>
                  <a:pt x="1230" y="198"/>
                </a:lnTo>
                <a:lnTo>
                  <a:pt x="1230" y="192"/>
                </a:lnTo>
                <a:lnTo>
                  <a:pt x="1218" y="180"/>
                </a:lnTo>
                <a:lnTo>
                  <a:pt x="1218" y="174"/>
                </a:lnTo>
                <a:lnTo>
                  <a:pt x="1212" y="168"/>
                </a:lnTo>
                <a:lnTo>
                  <a:pt x="1152" y="168"/>
                </a:lnTo>
                <a:lnTo>
                  <a:pt x="1128" y="144"/>
                </a:lnTo>
                <a:lnTo>
                  <a:pt x="1092" y="144"/>
                </a:lnTo>
                <a:lnTo>
                  <a:pt x="1086" y="138"/>
                </a:lnTo>
                <a:lnTo>
                  <a:pt x="1080" y="138"/>
                </a:lnTo>
                <a:lnTo>
                  <a:pt x="1068" y="132"/>
                </a:lnTo>
                <a:lnTo>
                  <a:pt x="1020" y="132"/>
                </a:lnTo>
                <a:lnTo>
                  <a:pt x="966" y="150"/>
                </a:lnTo>
                <a:lnTo>
                  <a:pt x="954" y="156"/>
                </a:lnTo>
                <a:lnTo>
                  <a:pt x="942" y="156"/>
                </a:lnTo>
                <a:lnTo>
                  <a:pt x="930" y="150"/>
                </a:lnTo>
                <a:lnTo>
                  <a:pt x="918" y="150"/>
                </a:lnTo>
                <a:lnTo>
                  <a:pt x="912" y="144"/>
                </a:lnTo>
                <a:lnTo>
                  <a:pt x="882" y="144"/>
                </a:lnTo>
                <a:lnTo>
                  <a:pt x="864" y="126"/>
                </a:lnTo>
                <a:lnTo>
                  <a:pt x="864" y="120"/>
                </a:lnTo>
                <a:lnTo>
                  <a:pt x="840" y="126"/>
                </a:lnTo>
                <a:lnTo>
                  <a:pt x="840" y="120"/>
                </a:lnTo>
                <a:lnTo>
                  <a:pt x="834" y="114"/>
                </a:lnTo>
                <a:lnTo>
                  <a:pt x="822" y="90"/>
                </a:lnTo>
                <a:lnTo>
                  <a:pt x="810" y="78"/>
                </a:lnTo>
                <a:lnTo>
                  <a:pt x="804" y="66"/>
                </a:lnTo>
                <a:lnTo>
                  <a:pt x="798" y="60"/>
                </a:lnTo>
                <a:lnTo>
                  <a:pt x="786" y="54"/>
                </a:lnTo>
                <a:lnTo>
                  <a:pt x="768" y="54"/>
                </a:lnTo>
                <a:lnTo>
                  <a:pt x="756" y="60"/>
                </a:lnTo>
                <a:lnTo>
                  <a:pt x="750" y="60"/>
                </a:lnTo>
                <a:lnTo>
                  <a:pt x="726" y="48"/>
                </a:lnTo>
                <a:lnTo>
                  <a:pt x="720" y="42"/>
                </a:lnTo>
                <a:lnTo>
                  <a:pt x="708" y="36"/>
                </a:lnTo>
                <a:lnTo>
                  <a:pt x="672" y="36"/>
                </a:lnTo>
                <a:lnTo>
                  <a:pt x="648" y="30"/>
                </a:lnTo>
                <a:lnTo>
                  <a:pt x="636" y="30"/>
                </a:lnTo>
                <a:lnTo>
                  <a:pt x="576" y="0"/>
                </a:lnTo>
                <a:lnTo>
                  <a:pt x="576" y="18"/>
                </a:lnTo>
                <a:lnTo>
                  <a:pt x="570" y="30"/>
                </a:lnTo>
                <a:lnTo>
                  <a:pt x="558" y="36"/>
                </a:lnTo>
                <a:lnTo>
                  <a:pt x="552" y="36"/>
                </a:lnTo>
                <a:lnTo>
                  <a:pt x="558" y="48"/>
                </a:lnTo>
                <a:lnTo>
                  <a:pt x="540" y="48"/>
                </a:lnTo>
                <a:lnTo>
                  <a:pt x="540" y="60"/>
                </a:lnTo>
                <a:lnTo>
                  <a:pt x="552" y="72"/>
                </a:lnTo>
                <a:lnTo>
                  <a:pt x="558" y="90"/>
                </a:lnTo>
                <a:lnTo>
                  <a:pt x="582" y="126"/>
                </a:lnTo>
                <a:lnTo>
                  <a:pt x="588" y="126"/>
                </a:lnTo>
                <a:lnTo>
                  <a:pt x="594" y="132"/>
                </a:lnTo>
                <a:lnTo>
                  <a:pt x="600" y="144"/>
                </a:lnTo>
                <a:lnTo>
                  <a:pt x="600" y="168"/>
                </a:lnTo>
                <a:lnTo>
                  <a:pt x="582" y="168"/>
                </a:lnTo>
                <a:lnTo>
                  <a:pt x="582" y="174"/>
                </a:lnTo>
                <a:lnTo>
                  <a:pt x="576" y="180"/>
                </a:lnTo>
                <a:lnTo>
                  <a:pt x="552" y="192"/>
                </a:lnTo>
                <a:lnTo>
                  <a:pt x="546" y="186"/>
                </a:lnTo>
                <a:lnTo>
                  <a:pt x="546" y="174"/>
                </a:lnTo>
                <a:lnTo>
                  <a:pt x="498" y="180"/>
                </a:lnTo>
                <a:lnTo>
                  <a:pt x="498" y="168"/>
                </a:lnTo>
                <a:lnTo>
                  <a:pt x="456" y="168"/>
                </a:lnTo>
                <a:lnTo>
                  <a:pt x="450" y="174"/>
                </a:lnTo>
                <a:lnTo>
                  <a:pt x="450" y="180"/>
                </a:lnTo>
                <a:lnTo>
                  <a:pt x="444" y="168"/>
                </a:lnTo>
                <a:lnTo>
                  <a:pt x="420" y="174"/>
                </a:lnTo>
                <a:lnTo>
                  <a:pt x="414" y="162"/>
                </a:lnTo>
                <a:lnTo>
                  <a:pt x="384" y="162"/>
                </a:lnTo>
                <a:lnTo>
                  <a:pt x="366" y="156"/>
                </a:lnTo>
                <a:lnTo>
                  <a:pt x="360" y="150"/>
                </a:lnTo>
                <a:lnTo>
                  <a:pt x="360" y="138"/>
                </a:lnTo>
                <a:lnTo>
                  <a:pt x="354" y="132"/>
                </a:lnTo>
                <a:lnTo>
                  <a:pt x="354" y="126"/>
                </a:lnTo>
                <a:lnTo>
                  <a:pt x="312" y="126"/>
                </a:lnTo>
                <a:lnTo>
                  <a:pt x="294" y="132"/>
                </a:lnTo>
                <a:lnTo>
                  <a:pt x="270" y="132"/>
                </a:lnTo>
                <a:lnTo>
                  <a:pt x="264" y="114"/>
                </a:lnTo>
                <a:lnTo>
                  <a:pt x="228" y="114"/>
                </a:lnTo>
                <a:lnTo>
                  <a:pt x="228" y="108"/>
                </a:lnTo>
                <a:lnTo>
                  <a:pt x="210" y="114"/>
                </a:lnTo>
                <a:lnTo>
                  <a:pt x="204" y="108"/>
                </a:lnTo>
                <a:lnTo>
                  <a:pt x="186" y="108"/>
                </a:lnTo>
                <a:lnTo>
                  <a:pt x="180" y="114"/>
                </a:lnTo>
                <a:lnTo>
                  <a:pt x="180" y="120"/>
                </a:lnTo>
                <a:lnTo>
                  <a:pt x="174" y="126"/>
                </a:lnTo>
                <a:lnTo>
                  <a:pt x="174" y="132"/>
                </a:lnTo>
                <a:lnTo>
                  <a:pt x="150" y="132"/>
                </a:lnTo>
                <a:lnTo>
                  <a:pt x="138" y="150"/>
                </a:lnTo>
                <a:lnTo>
                  <a:pt x="120" y="150"/>
                </a:lnTo>
                <a:lnTo>
                  <a:pt x="84" y="186"/>
                </a:lnTo>
                <a:lnTo>
                  <a:pt x="84" y="192"/>
                </a:lnTo>
                <a:lnTo>
                  <a:pt x="90" y="198"/>
                </a:lnTo>
                <a:lnTo>
                  <a:pt x="66" y="198"/>
                </a:lnTo>
                <a:lnTo>
                  <a:pt x="72" y="210"/>
                </a:lnTo>
                <a:lnTo>
                  <a:pt x="12" y="210"/>
                </a:lnTo>
                <a:lnTo>
                  <a:pt x="12" y="228"/>
                </a:lnTo>
                <a:lnTo>
                  <a:pt x="0" y="240"/>
                </a:lnTo>
                <a:lnTo>
                  <a:pt x="6" y="246"/>
                </a:lnTo>
                <a:lnTo>
                  <a:pt x="6" y="258"/>
                </a:lnTo>
                <a:lnTo>
                  <a:pt x="0" y="264"/>
                </a:lnTo>
                <a:lnTo>
                  <a:pt x="24" y="264"/>
                </a:lnTo>
                <a:lnTo>
                  <a:pt x="24" y="282"/>
                </a:lnTo>
                <a:lnTo>
                  <a:pt x="36" y="288"/>
                </a:lnTo>
                <a:lnTo>
                  <a:pt x="48" y="288"/>
                </a:lnTo>
                <a:lnTo>
                  <a:pt x="60" y="294"/>
                </a:lnTo>
                <a:lnTo>
                  <a:pt x="72" y="294"/>
                </a:lnTo>
                <a:lnTo>
                  <a:pt x="78" y="306"/>
                </a:lnTo>
                <a:lnTo>
                  <a:pt x="102" y="330"/>
                </a:lnTo>
                <a:lnTo>
                  <a:pt x="138" y="318"/>
                </a:lnTo>
                <a:lnTo>
                  <a:pt x="156" y="330"/>
                </a:lnTo>
                <a:lnTo>
                  <a:pt x="162" y="336"/>
                </a:lnTo>
                <a:lnTo>
                  <a:pt x="174" y="336"/>
                </a:lnTo>
                <a:lnTo>
                  <a:pt x="186" y="342"/>
                </a:lnTo>
                <a:lnTo>
                  <a:pt x="204" y="348"/>
                </a:lnTo>
                <a:lnTo>
                  <a:pt x="222" y="366"/>
                </a:lnTo>
                <a:lnTo>
                  <a:pt x="228" y="378"/>
                </a:lnTo>
                <a:lnTo>
                  <a:pt x="240" y="396"/>
                </a:lnTo>
                <a:lnTo>
                  <a:pt x="264" y="414"/>
                </a:lnTo>
                <a:lnTo>
                  <a:pt x="276" y="426"/>
                </a:lnTo>
                <a:lnTo>
                  <a:pt x="282" y="438"/>
                </a:lnTo>
                <a:lnTo>
                  <a:pt x="282" y="450"/>
                </a:lnTo>
                <a:lnTo>
                  <a:pt x="288" y="456"/>
                </a:lnTo>
                <a:lnTo>
                  <a:pt x="294" y="468"/>
                </a:lnTo>
                <a:lnTo>
                  <a:pt x="300" y="474"/>
                </a:lnTo>
                <a:lnTo>
                  <a:pt x="300" y="480"/>
                </a:lnTo>
                <a:lnTo>
                  <a:pt x="288" y="492"/>
                </a:lnTo>
                <a:lnTo>
                  <a:pt x="288" y="504"/>
                </a:lnTo>
                <a:lnTo>
                  <a:pt x="294" y="522"/>
                </a:lnTo>
                <a:lnTo>
                  <a:pt x="300" y="534"/>
                </a:lnTo>
                <a:lnTo>
                  <a:pt x="306" y="540"/>
                </a:lnTo>
                <a:lnTo>
                  <a:pt x="318" y="546"/>
                </a:lnTo>
                <a:lnTo>
                  <a:pt x="330" y="546"/>
                </a:lnTo>
                <a:lnTo>
                  <a:pt x="342" y="552"/>
                </a:lnTo>
                <a:lnTo>
                  <a:pt x="348" y="552"/>
                </a:lnTo>
                <a:lnTo>
                  <a:pt x="366" y="558"/>
                </a:lnTo>
                <a:lnTo>
                  <a:pt x="390" y="564"/>
                </a:lnTo>
                <a:lnTo>
                  <a:pt x="486" y="564"/>
                </a:lnTo>
                <a:lnTo>
                  <a:pt x="492" y="570"/>
                </a:lnTo>
                <a:lnTo>
                  <a:pt x="498" y="570"/>
                </a:lnTo>
                <a:lnTo>
                  <a:pt x="510" y="576"/>
                </a:lnTo>
                <a:lnTo>
                  <a:pt x="516" y="576"/>
                </a:lnTo>
                <a:lnTo>
                  <a:pt x="528" y="582"/>
                </a:lnTo>
                <a:lnTo>
                  <a:pt x="534" y="594"/>
                </a:lnTo>
                <a:lnTo>
                  <a:pt x="540" y="594"/>
                </a:lnTo>
                <a:lnTo>
                  <a:pt x="546" y="600"/>
                </a:lnTo>
                <a:lnTo>
                  <a:pt x="552" y="600"/>
                </a:lnTo>
                <a:lnTo>
                  <a:pt x="576" y="612"/>
                </a:lnTo>
                <a:lnTo>
                  <a:pt x="588" y="612"/>
                </a:lnTo>
                <a:lnTo>
                  <a:pt x="594" y="618"/>
                </a:lnTo>
                <a:lnTo>
                  <a:pt x="630" y="618"/>
                </a:lnTo>
                <a:lnTo>
                  <a:pt x="642" y="642"/>
                </a:lnTo>
                <a:lnTo>
                  <a:pt x="684" y="684"/>
                </a:lnTo>
                <a:lnTo>
                  <a:pt x="690" y="696"/>
                </a:lnTo>
                <a:lnTo>
                  <a:pt x="720" y="726"/>
                </a:lnTo>
                <a:lnTo>
                  <a:pt x="732" y="732"/>
                </a:lnTo>
                <a:lnTo>
                  <a:pt x="738" y="744"/>
                </a:lnTo>
                <a:lnTo>
                  <a:pt x="750" y="750"/>
                </a:lnTo>
                <a:lnTo>
                  <a:pt x="810" y="744"/>
                </a:lnTo>
                <a:lnTo>
                  <a:pt x="864" y="750"/>
                </a:lnTo>
                <a:lnTo>
                  <a:pt x="912" y="750"/>
                </a:lnTo>
                <a:lnTo>
                  <a:pt x="948" y="756"/>
                </a:lnTo>
                <a:lnTo>
                  <a:pt x="954" y="750"/>
                </a:lnTo>
                <a:lnTo>
                  <a:pt x="966" y="744"/>
                </a:lnTo>
                <a:lnTo>
                  <a:pt x="972" y="738"/>
                </a:lnTo>
                <a:lnTo>
                  <a:pt x="984" y="738"/>
                </a:lnTo>
                <a:lnTo>
                  <a:pt x="996" y="744"/>
                </a:lnTo>
                <a:lnTo>
                  <a:pt x="1002" y="744"/>
                </a:lnTo>
                <a:lnTo>
                  <a:pt x="1008" y="750"/>
                </a:lnTo>
                <a:lnTo>
                  <a:pt x="1062" y="750"/>
                </a:lnTo>
                <a:lnTo>
                  <a:pt x="1080" y="756"/>
                </a:lnTo>
                <a:lnTo>
                  <a:pt x="1092" y="756"/>
                </a:lnTo>
                <a:lnTo>
                  <a:pt x="1110" y="774"/>
                </a:lnTo>
                <a:lnTo>
                  <a:pt x="1116" y="786"/>
                </a:lnTo>
                <a:lnTo>
                  <a:pt x="1128" y="792"/>
                </a:lnTo>
                <a:lnTo>
                  <a:pt x="1152" y="798"/>
                </a:lnTo>
                <a:lnTo>
                  <a:pt x="1200" y="798"/>
                </a:lnTo>
                <a:lnTo>
                  <a:pt x="1218" y="804"/>
                </a:lnTo>
                <a:lnTo>
                  <a:pt x="1242" y="816"/>
                </a:lnTo>
                <a:lnTo>
                  <a:pt x="1248" y="822"/>
                </a:lnTo>
                <a:lnTo>
                  <a:pt x="1260" y="822"/>
                </a:lnTo>
                <a:lnTo>
                  <a:pt x="1266" y="816"/>
                </a:lnTo>
                <a:lnTo>
                  <a:pt x="1278" y="816"/>
                </a:lnTo>
                <a:lnTo>
                  <a:pt x="1290" y="810"/>
                </a:lnTo>
                <a:lnTo>
                  <a:pt x="1302" y="810"/>
                </a:lnTo>
                <a:lnTo>
                  <a:pt x="1302" y="816"/>
                </a:lnTo>
                <a:lnTo>
                  <a:pt x="1308" y="828"/>
                </a:lnTo>
                <a:lnTo>
                  <a:pt x="1314" y="828"/>
                </a:lnTo>
                <a:lnTo>
                  <a:pt x="1320" y="834"/>
                </a:lnTo>
                <a:lnTo>
                  <a:pt x="1338" y="834"/>
                </a:lnTo>
                <a:lnTo>
                  <a:pt x="1344" y="828"/>
                </a:lnTo>
                <a:lnTo>
                  <a:pt x="1362" y="816"/>
                </a:lnTo>
                <a:lnTo>
                  <a:pt x="1422" y="780"/>
                </a:lnTo>
                <a:lnTo>
                  <a:pt x="1440" y="768"/>
                </a:lnTo>
                <a:lnTo>
                  <a:pt x="1596" y="768"/>
                </a:lnTo>
                <a:lnTo>
                  <a:pt x="1614" y="744"/>
                </a:lnTo>
                <a:lnTo>
                  <a:pt x="1638" y="744"/>
                </a:lnTo>
                <a:lnTo>
                  <a:pt x="1650" y="738"/>
                </a:lnTo>
                <a:lnTo>
                  <a:pt x="1662" y="714"/>
                </a:lnTo>
                <a:lnTo>
                  <a:pt x="1662" y="708"/>
                </a:lnTo>
                <a:lnTo>
                  <a:pt x="1668" y="696"/>
                </a:lnTo>
                <a:lnTo>
                  <a:pt x="1668" y="690"/>
                </a:lnTo>
                <a:lnTo>
                  <a:pt x="1692" y="690"/>
                </a:lnTo>
                <a:lnTo>
                  <a:pt x="1704" y="678"/>
                </a:lnTo>
                <a:lnTo>
                  <a:pt x="1710" y="666"/>
                </a:lnTo>
                <a:lnTo>
                  <a:pt x="1716" y="660"/>
                </a:lnTo>
                <a:lnTo>
                  <a:pt x="1716" y="654"/>
                </a:lnTo>
                <a:lnTo>
                  <a:pt x="1704" y="648"/>
                </a:lnTo>
                <a:lnTo>
                  <a:pt x="1686" y="630"/>
                </a:lnTo>
                <a:lnTo>
                  <a:pt x="1674" y="624"/>
                </a:lnTo>
                <a:lnTo>
                  <a:pt x="1656" y="606"/>
                </a:lnTo>
                <a:lnTo>
                  <a:pt x="1650" y="594"/>
                </a:lnTo>
                <a:lnTo>
                  <a:pt x="1650" y="582"/>
                </a:lnTo>
                <a:lnTo>
                  <a:pt x="1656" y="570"/>
                </a:lnTo>
                <a:lnTo>
                  <a:pt x="1656" y="558"/>
                </a:lnTo>
                <a:lnTo>
                  <a:pt x="1668" y="552"/>
                </a:lnTo>
                <a:lnTo>
                  <a:pt x="1692" y="552"/>
                </a:lnTo>
                <a:lnTo>
                  <a:pt x="1698" y="558"/>
                </a:lnTo>
                <a:lnTo>
                  <a:pt x="1704" y="558"/>
                </a:lnTo>
                <a:lnTo>
                  <a:pt x="1710" y="564"/>
                </a:lnTo>
                <a:lnTo>
                  <a:pt x="1722" y="570"/>
                </a:lnTo>
                <a:lnTo>
                  <a:pt x="1728" y="576"/>
                </a:lnTo>
                <a:lnTo>
                  <a:pt x="1740" y="582"/>
                </a:lnTo>
                <a:lnTo>
                  <a:pt x="1764" y="582"/>
                </a:lnTo>
                <a:lnTo>
                  <a:pt x="1776" y="576"/>
                </a:lnTo>
                <a:lnTo>
                  <a:pt x="1794" y="576"/>
                </a:lnTo>
                <a:lnTo>
                  <a:pt x="1806" y="570"/>
                </a:lnTo>
                <a:lnTo>
                  <a:pt x="1812" y="558"/>
                </a:lnTo>
                <a:lnTo>
                  <a:pt x="1818" y="552"/>
                </a:lnTo>
                <a:lnTo>
                  <a:pt x="1818" y="528"/>
                </a:lnTo>
                <a:lnTo>
                  <a:pt x="1890" y="528"/>
                </a:lnTo>
                <a:lnTo>
                  <a:pt x="1914" y="504"/>
                </a:lnTo>
                <a:lnTo>
                  <a:pt x="1902" y="492"/>
                </a:lnTo>
                <a:lnTo>
                  <a:pt x="1896" y="480"/>
                </a:lnTo>
                <a:lnTo>
                  <a:pt x="1902" y="474"/>
                </a:lnTo>
                <a:lnTo>
                  <a:pt x="1938" y="456"/>
                </a:lnTo>
                <a:lnTo>
                  <a:pt x="1950" y="456"/>
                </a:lnTo>
                <a:lnTo>
                  <a:pt x="1950" y="438"/>
                </a:lnTo>
                <a:lnTo>
                  <a:pt x="1980" y="444"/>
                </a:lnTo>
                <a:lnTo>
                  <a:pt x="1998" y="426"/>
                </a:lnTo>
                <a:lnTo>
                  <a:pt x="2004" y="426"/>
                </a:lnTo>
                <a:lnTo>
                  <a:pt x="2010" y="420"/>
                </a:lnTo>
                <a:lnTo>
                  <a:pt x="2040" y="420"/>
                </a:lnTo>
                <a:lnTo>
                  <a:pt x="2052" y="426"/>
                </a:lnTo>
                <a:lnTo>
                  <a:pt x="2058" y="432"/>
                </a:lnTo>
                <a:lnTo>
                  <a:pt x="2094" y="432"/>
                </a:lnTo>
                <a:lnTo>
                  <a:pt x="2100" y="426"/>
                </a:lnTo>
                <a:lnTo>
                  <a:pt x="2100" y="420"/>
                </a:lnTo>
                <a:lnTo>
                  <a:pt x="2088" y="40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5" name="Moldova"/>
          <p:cNvSpPr>
            <a:spLocks/>
          </p:cNvSpPr>
          <p:nvPr/>
        </p:nvSpPr>
        <p:spPr bwMode="gray">
          <a:xfrm>
            <a:off x="4723671" y="2693068"/>
            <a:ext cx="87312" cy="95250"/>
          </a:xfrm>
          <a:custGeom>
            <a:avLst/>
            <a:gdLst>
              <a:gd name="T0" fmla="*/ 2147483647 w 216"/>
              <a:gd name="T1" fmla="*/ 2147483647 h 240"/>
              <a:gd name="T2" fmla="*/ 2147483647 w 216"/>
              <a:gd name="T3" fmla="*/ 2147483647 h 240"/>
              <a:gd name="T4" fmla="*/ 2147483647 w 216"/>
              <a:gd name="T5" fmla="*/ 2147483647 h 240"/>
              <a:gd name="T6" fmla="*/ 2147483647 w 216"/>
              <a:gd name="T7" fmla="*/ 2147483647 h 240"/>
              <a:gd name="T8" fmla="*/ 2147483647 w 216"/>
              <a:gd name="T9" fmla="*/ 2147483647 h 240"/>
              <a:gd name="T10" fmla="*/ 2147483647 w 216"/>
              <a:gd name="T11" fmla="*/ 2147483647 h 240"/>
              <a:gd name="T12" fmla="*/ 2147483647 w 216"/>
              <a:gd name="T13" fmla="*/ 2147483647 h 240"/>
              <a:gd name="T14" fmla="*/ 2147483647 w 216"/>
              <a:gd name="T15" fmla="*/ 2147483647 h 240"/>
              <a:gd name="T16" fmla="*/ 2147483647 w 216"/>
              <a:gd name="T17" fmla="*/ 2147483647 h 240"/>
              <a:gd name="T18" fmla="*/ 2147483647 w 216"/>
              <a:gd name="T19" fmla="*/ 2147483647 h 240"/>
              <a:gd name="T20" fmla="*/ 2147483647 w 216"/>
              <a:gd name="T21" fmla="*/ 2147483647 h 240"/>
              <a:gd name="T22" fmla="*/ 2147483647 w 216"/>
              <a:gd name="T23" fmla="*/ 2147483647 h 240"/>
              <a:gd name="T24" fmla="*/ 2147483647 w 216"/>
              <a:gd name="T25" fmla="*/ 2147483647 h 240"/>
              <a:gd name="T26" fmla="*/ 2147483647 w 216"/>
              <a:gd name="T27" fmla="*/ 2147483647 h 240"/>
              <a:gd name="T28" fmla="*/ 2147483647 w 216"/>
              <a:gd name="T29" fmla="*/ 2147483647 h 240"/>
              <a:gd name="T30" fmla="*/ 2147483647 w 216"/>
              <a:gd name="T31" fmla="*/ 2147483647 h 240"/>
              <a:gd name="T32" fmla="*/ 2147483647 w 216"/>
              <a:gd name="T33" fmla="*/ 2147483647 h 240"/>
              <a:gd name="T34" fmla="*/ 2147483647 w 216"/>
              <a:gd name="T35" fmla="*/ 2147483647 h 240"/>
              <a:gd name="T36" fmla="*/ 2147483647 w 216"/>
              <a:gd name="T37" fmla="*/ 2147483647 h 240"/>
              <a:gd name="T38" fmla="*/ 2147483647 w 216"/>
              <a:gd name="T39" fmla="*/ 2147483647 h 240"/>
              <a:gd name="T40" fmla="*/ 2147483647 w 216"/>
              <a:gd name="T41" fmla="*/ 2147483647 h 240"/>
              <a:gd name="T42" fmla="*/ 2147483647 w 216"/>
              <a:gd name="T43" fmla="*/ 2147483647 h 240"/>
              <a:gd name="T44" fmla="*/ 2147483647 w 216"/>
              <a:gd name="T45" fmla="*/ 2147483647 h 240"/>
              <a:gd name="T46" fmla="*/ 2147483647 w 216"/>
              <a:gd name="T47" fmla="*/ 2147483647 h 240"/>
              <a:gd name="T48" fmla="*/ 2147483647 w 216"/>
              <a:gd name="T49" fmla="*/ 2147483647 h 240"/>
              <a:gd name="T50" fmla="*/ 2147483647 w 216"/>
              <a:gd name="T51" fmla="*/ 2147483647 h 240"/>
              <a:gd name="T52" fmla="*/ 2147483647 w 216"/>
              <a:gd name="T53" fmla="*/ 2147483647 h 240"/>
              <a:gd name="T54" fmla="*/ 2147483647 w 216"/>
              <a:gd name="T55" fmla="*/ 2147483647 h 240"/>
              <a:gd name="T56" fmla="*/ 2147483647 w 216"/>
              <a:gd name="T57" fmla="*/ 2147483647 h 240"/>
              <a:gd name="T58" fmla="*/ 2147483647 w 216"/>
              <a:gd name="T59" fmla="*/ 2147483647 h 240"/>
              <a:gd name="T60" fmla="*/ 2147483647 w 216"/>
              <a:gd name="T61" fmla="*/ 0 h 240"/>
              <a:gd name="T62" fmla="*/ 2147483647 w 216"/>
              <a:gd name="T63" fmla="*/ 2147483647 h 240"/>
              <a:gd name="T64" fmla="*/ 2147483647 w 216"/>
              <a:gd name="T65" fmla="*/ 2147483647 h 240"/>
              <a:gd name="T66" fmla="*/ 2147483647 w 216"/>
              <a:gd name="T67" fmla="*/ 2147483647 h 24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16"/>
              <a:gd name="T103" fmla="*/ 0 h 240"/>
              <a:gd name="T104" fmla="*/ 216 w 216"/>
              <a:gd name="T105" fmla="*/ 240 h 24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16" h="240">
                <a:moveTo>
                  <a:pt x="0" y="18"/>
                </a:moveTo>
                <a:lnTo>
                  <a:pt x="18" y="24"/>
                </a:lnTo>
                <a:lnTo>
                  <a:pt x="24" y="30"/>
                </a:lnTo>
                <a:lnTo>
                  <a:pt x="30" y="42"/>
                </a:lnTo>
                <a:lnTo>
                  <a:pt x="36" y="48"/>
                </a:lnTo>
                <a:lnTo>
                  <a:pt x="36" y="60"/>
                </a:lnTo>
                <a:lnTo>
                  <a:pt x="60" y="72"/>
                </a:lnTo>
                <a:lnTo>
                  <a:pt x="66" y="96"/>
                </a:lnTo>
                <a:lnTo>
                  <a:pt x="78" y="96"/>
                </a:lnTo>
                <a:lnTo>
                  <a:pt x="84" y="114"/>
                </a:lnTo>
                <a:lnTo>
                  <a:pt x="102" y="114"/>
                </a:lnTo>
                <a:lnTo>
                  <a:pt x="108" y="120"/>
                </a:lnTo>
                <a:lnTo>
                  <a:pt x="108" y="162"/>
                </a:lnTo>
                <a:lnTo>
                  <a:pt x="114" y="162"/>
                </a:lnTo>
                <a:lnTo>
                  <a:pt x="108" y="168"/>
                </a:lnTo>
                <a:lnTo>
                  <a:pt x="108" y="180"/>
                </a:lnTo>
                <a:lnTo>
                  <a:pt x="102" y="186"/>
                </a:lnTo>
                <a:lnTo>
                  <a:pt x="102" y="198"/>
                </a:lnTo>
                <a:lnTo>
                  <a:pt x="108" y="210"/>
                </a:lnTo>
                <a:lnTo>
                  <a:pt x="114" y="216"/>
                </a:lnTo>
                <a:lnTo>
                  <a:pt x="114" y="240"/>
                </a:lnTo>
                <a:lnTo>
                  <a:pt x="138" y="234"/>
                </a:lnTo>
                <a:lnTo>
                  <a:pt x="138" y="222"/>
                </a:lnTo>
                <a:lnTo>
                  <a:pt x="132" y="216"/>
                </a:lnTo>
                <a:lnTo>
                  <a:pt x="132" y="204"/>
                </a:lnTo>
                <a:lnTo>
                  <a:pt x="138" y="204"/>
                </a:lnTo>
                <a:lnTo>
                  <a:pt x="150" y="198"/>
                </a:lnTo>
                <a:lnTo>
                  <a:pt x="156" y="192"/>
                </a:lnTo>
                <a:lnTo>
                  <a:pt x="174" y="180"/>
                </a:lnTo>
                <a:lnTo>
                  <a:pt x="168" y="174"/>
                </a:lnTo>
                <a:lnTo>
                  <a:pt x="156" y="168"/>
                </a:lnTo>
                <a:lnTo>
                  <a:pt x="150" y="168"/>
                </a:lnTo>
                <a:lnTo>
                  <a:pt x="150" y="162"/>
                </a:lnTo>
                <a:lnTo>
                  <a:pt x="156" y="156"/>
                </a:lnTo>
                <a:lnTo>
                  <a:pt x="174" y="156"/>
                </a:lnTo>
                <a:lnTo>
                  <a:pt x="180" y="162"/>
                </a:lnTo>
                <a:lnTo>
                  <a:pt x="198" y="162"/>
                </a:lnTo>
                <a:lnTo>
                  <a:pt x="210" y="156"/>
                </a:lnTo>
                <a:lnTo>
                  <a:pt x="216" y="156"/>
                </a:lnTo>
                <a:lnTo>
                  <a:pt x="216" y="126"/>
                </a:lnTo>
                <a:lnTo>
                  <a:pt x="210" y="120"/>
                </a:lnTo>
                <a:lnTo>
                  <a:pt x="198" y="120"/>
                </a:lnTo>
                <a:lnTo>
                  <a:pt x="192" y="114"/>
                </a:lnTo>
                <a:lnTo>
                  <a:pt x="180" y="114"/>
                </a:lnTo>
                <a:lnTo>
                  <a:pt x="180" y="96"/>
                </a:lnTo>
                <a:lnTo>
                  <a:pt x="186" y="90"/>
                </a:lnTo>
                <a:lnTo>
                  <a:pt x="180" y="84"/>
                </a:lnTo>
                <a:lnTo>
                  <a:pt x="174" y="84"/>
                </a:lnTo>
                <a:lnTo>
                  <a:pt x="162" y="90"/>
                </a:lnTo>
                <a:lnTo>
                  <a:pt x="162" y="66"/>
                </a:lnTo>
                <a:lnTo>
                  <a:pt x="168" y="60"/>
                </a:lnTo>
                <a:lnTo>
                  <a:pt x="162" y="48"/>
                </a:lnTo>
                <a:lnTo>
                  <a:pt x="156" y="42"/>
                </a:lnTo>
                <a:lnTo>
                  <a:pt x="144" y="36"/>
                </a:lnTo>
                <a:lnTo>
                  <a:pt x="126" y="36"/>
                </a:lnTo>
                <a:lnTo>
                  <a:pt x="126" y="24"/>
                </a:lnTo>
                <a:lnTo>
                  <a:pt x="120" y="18"/>
                </a:lnTo>
                <a:lnTo>
                  <a:pt x="78" y="18"/>
                </a:lnTo>
                <a:lnTo>
                  <a:pt x="78" y="12"/>
                </a:lnTo>
                <a:lnTo>
                  <a:pt x="72" y="12"/>
                </a:lnTo>
                <a:lnTo>
                  <a:pt x="60" y="0"/>
                </a:lnTo>
                <a:lnTo>
                  <a:pt x="54" y="0"/>
                </a:lnTo>
                <a:lnTo>
                  <a:pt x="42" y="6"/>
                </a:lnTo>
                <a:lnTo>
                  <a:pt x="36" y="6"/>
                </a:lnTo>
                <a:lnTo>
                  <a:pt x="36" y="12"/>
                </a:lnTo>
                <a:lnTo>
                  <a:pt x="24" y="12"/>
                </a:lnTo>
                <a:lnTo>
                  <a:pt x="12" y="6"/>
                </a:lnTo>
                <a:lnTo>
                  <a:pt x="6" y="6"/>
                </a:lnTo>
                <a:lnTo>
                  <a:pt x="0" y="1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6" name="Macedonia"/>
          <p:cNvSpPr>
            <a:spLocks/>
          </p:cNvSpPr>
          <p:nvPr/>
        </p:nvSpPr>
        <p:spPr bwMode="gray">
          <a:xfrm>
            <a:off x="4577621" y="2885155"/>
            <a:ext cx="66675" cy="50800"/>
          </a:xfrm>
          <a:custGeom>
            <a:avLst/>
            <a:gdLst>
              <a:gd name="T0" fmla="*/ 2147483647 w 162"/>
              <a:gd name="T1" fmla="*/ 2147483647 h 126"/>
              <a:gd name="T2" fmla="*/ 2147483647 w 162"/>
              <a:gd name="T3" fmla="*/ 2147483647 h 126"/>
              <a:gd name="T4" fmla="*/ 2147483647 w 162"/>
              <a:gd name="T5" fmla="*/ 2147483647 h 126"/>
              <a:gd name="T6" fmla="*/ 2147483647 w 162"/>
              <a:gd name="T7" fmla="*/ 2147483647 h 126"/>
              <a:gd name="T8" fmla="*/ 2147483647 w 162"/>
              <a:gd name="T9" fmla="*/ 0 h 126"/>
              <a:gd name="T10" fmla="*/ 2147483647 w 162"/>
              <a:gd name="T11" fmla="*/ 2147483647 h 126"/>
              <a:gd name="T12" fmla="*/ 2147483647 w 162"/>
              <a:gd name="T13" fmla="*/ 2147483647 h 126"/>
              <a:gd name="T14" fmla="*/ 2147483647 w 162"/>
              <a:gd name="T15" fmla="*/ 2147483647 h 126"/>
              <a:gd name="T16" fmla="*/ 2147483647 w 162"/>
              <a:gd name="T17" fmla="*/ 2147483647 h 126"/>
              <a:gd name="T18" fmla="*/ 2147483647 w 162"/>
              <a:gd name="T19" fmla="*/ 2147483647 h 126"/>
              <a:gd name="T20" fmla="*/ 2147483647 w 162"/>
              <a:gd name="T21" fmla="*/ 2147483647 h 126"/>
              <a:gd name="T22" fmla="*/ 0 w 162"/>
              <a:gd name="T23" fmla="*/ 2147483647 h 126"/>
              <a:gd name="T24" fmla="*/ 0 w 162"/>
              <a:gd name="T25" fmla="*/ 2147483647 h 126"/>
              <a:gd name="T26" fmla="*/ 2147483647 w 162"/>
              <a:gd name="T27" fmla="*/ 2147483647 h 126"/>
              <a:gd name="T28" fmla="*/ 2147483647 w 162"/>
              <a:gd name="T29" fmla="*/ 2147483647 h 126"/>
              <a:gd name="T30" fmla="*/ 2147483647 w 162"/>
              <a:gd name="T31" fmla="*/ 2147483647 h 126"/>
              <a:gd name="T32" fmla="*/ 2147483647 w 162"/>
              <a:gd name="T33" fmla="*/ 2147483647 h 126"/>
              <a:gd name="T34" fmla="*/ 2147483647 w 162"/>
              <a:gd name="T35" fmla="*/ 2147483647 h 126"/>
              <a:gd name="T36" fmla="*/ 2147483647 w 162"/>
              <a:gd name="T37" fmla="*/ 2147483647 h 126"/>
              <a:gd name="T38" fmla="*/ 2147483647 w 162"/>
              <a:gd name="T39" fmla="*/ 2147483647 h 126"/>
              <a:gd name="T40" fmla="*/ 2147483647 w 162"/>
              <a:gd name="T41" fmla="*/ 2147483647 h 126"/>
              <a:gd name="T42" fmla="*/ 2147483647 w 162"/>
              <a:gd name="T43" fmla="*/ 2147483647 h 126"/>
              <a:gd name="T44" fmla="*/ 2147483647 w 162"/>
              <a:gd name="T45" fmla="*/ 2147483647 h 126"/>
              <a:gd name="T46" fmla="*/ 2147483647 w 162"/>
              <a:gd name="T47" fmla="*/ 2147483647 h 126"/>
              <a:gd name="T48" fmla="*/ 2147483647 w 162"/>
              <a:gd name="T49" fmla="*/ 2147483647 h 126"/>
              <a:gd name="T50" fmla="*/ 2147483647 w 162"/>
              <a:gd name="T51" fmla="*/ 2147483647 h 126"/>
              <a:gd name="T52" fmla="*/ 2147483647 w 162"/>
              <a:gd name="T53" fmla="*/ 2147483647 h 126"/>
              <a:gd name="T54" fmla="*/ 2147483647 w 162"/>
              <a:gd name="T55" fmla="*/ 2147483647 h 126"/>
              <a:gd name="T56" fmla="*/ 2147483647 w 162"/>
              <a:gd name="T57" fmla="*/ 2147483647 h 126"/>
              <a:gd name="T58" fmla="*/ 2147483647 w 162"/>
              <a:gd name="T59" fmla="*/ 2147483647 h 126"/>
              <a:gd name="T60" fmla="*/ 2147483647 w 162"/>
              <a:gd name="T61" fmla="*/ 2147483647 h 126"/>
              <a:gd name="T62" fmla="*/ 2147483647 w 162"/>
              <a:gd name="T63" fmla="*/ 2147483647 h 126"/>
              <a:gd name="T64" fmla="*/ 2147483647 w 162"/>
              <a:gd name="T65" fmla="*/ 2147483647 h 12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2"/>
              <a:gd name="T100" fmla="*/ 0 h 126"/>
              <a:gd name="T101" fmla="*/ 162 w 162"/>
              <a:gd name="T102" fmla="*/ 126 h 12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2" h="126">
                <a:moveTo>
                  <a:pt x="150" y="42"/>
                </a:moveTo>
                <a:lnTo>
                  <a:pt x="132" y="30"/>
                </a:lnTo>
                <a:lnTo>
                  <a:pt x="132" y="18"/>
                </a:lnTo>
                <a:lnTo>
                  <a:pt x="126" y="18"/>
                </a:lnTo>
                <a:lnTo>
                  <a:pt x="114" y="0"/>
                </a:lnTo>
                <a:lnTo>
                  <a:pt x="72" y="6"/>
                </a:lnTo>
                <a:lnTo>
                  <a:pt x="66" y="12"/>
                </a:lnTo>
                <a:lnTo>
                  <a:pt x="48" y="12"/>
                </a:lnTo>
                <a:lnTo>
                  <a:pt x="48" y="24"/>
                </a:lnTo>
                <a:lnTo>
                  <a:pt x="24" y="24"/>
                </a:lnTo>
                <a:lnTo>
                  <a:pt x="18" y="36"/>
                </a:lnTo>
                <a:lnTo>
                  <a:pt x="0" y="42"/>
                </a:lnTo>
                <a:lnTo>
                  <a:pt x="0" y="66"/>
                </a:lnTo>
                <a:lnTo>
                  <a:pt x="6" y="78"/>
                </a:lnTo>
                <a:lnTo>
                  <a:pt x="6" y="102"/>
                </a:lnTo>
                <a:lnTo>
                  <a:pt x="12" y="108"/>
                </a:lnTo>
                <a:lnTo>
                  <a:pt x="18" y="108"/>
                </a:lnTo>
                <a:lnTo>
                  <a:pt x="18" y="126"/>
                </a:lnTo>
                <a:lnTo>
                  <a:pt x="42" y="120"/>
                </a:lnTo>
                <a:lnTo>
                  <a:pt x="42" y="126"/>
                </a:lnTo>
                <a:lnTo>
                  <a:pt x="54" y="120"/>
                </a:lnTo>
                <a:lnTo>
                  <a:pt x="60" y="120"/>
                </a:lnTo>
                <a:lnTo>
                  <a:pt x="66" y="126"/>
                </a:lnTo>
                <a:lnTo>
                  <a:pt x="90" y="126"/>
                </a:lnTo>
                <a:lnTo>
                  <a:pt x="96" y="114"/>
                </a:lnTo>
                <a:lnTo>
                  <a:pt x="96" y="108"/>
                </a:lnTo>
                <a:lnTo>
                  <a:pt x="120" y="108"/>
                </a:lnTo>
                <a:lnTo>
                  <a:pt x="132" y="102"/>
                </a:lnTo>
                <a:lnTo>
                  <a:pt x="156" y="78"/>
                </a:lnTo>
                <a:lnTo>
                  <a:pt x="162" y="66"/>
                </a:lnTo>
                <a:lnTo>
                  <a:pt x="162" y="60"/>
                </a:lnTo>
                <a:lnTo>
                  <a:pt x="156" y="48"/>
                </a:lnTo>
                <a:lnTo>
                  <a:pt x="150" y="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7" name="Mexico"/>
          <p:cNvSpPr>
            <a:spLocks/>
          </p:cNvSpPr>
          <p:nvPr/>
        </p:nvSpPr>
        <p:spPr bwMode="gray">
          <a:xfrm>
            <a:off x="834296" y="3201068"/>
            <a:ext cx="749300" cy="587375"/>
          </a:xfrm>
          <a:custGeom>
            <a:avLst/>
            <a:gdLst>
              <a:gd name="T0" fmla="*/ 2147483647 w 1860"/>
              <a:gd name="T1" fmla="*/ 2147483647 h 1458"/>
              <a:gd name="T2" fmla="*/ 2147483647 w 1860"/>
              <a:gd name="T3" fmla="*/ 2147483647 h 1458"/>
              <a:gd name="T4" fmla="*/ 2147483647 w 1860"/>
              <a:gd name="T5" fmla="*/ 2147483647 h 1458"/>
              <a:gd name="T6" fmla="*/ 2147483647 w 1860"/>
              <a:gd name="T7" fmla="*/ 2147483647 h 1458"/>
              <a:gd name="T8" fmla="*/ 2147483647 w 1860"/>
              <a:gd name="T9" fmla="*/ 2147483647 h 1458"/>
              <a:gd name="T10" fmla="*/ 2147483647 w 1860"/>
              <a:gd name="T11" fmla="*/ 2147483647 h 1458"/>
              <a:gd name="T12" fmla="*/ 2147483647 w 1860"/>
              <a:gd name="T13" fmla="*/ 2147483647 h 1458"/>
              <a:gd name="T14" fmla="*/ 2147483647 w 1860"/>
              <a:gd name="T15" fmla="*/ 2147483647 h 1458"/>
              <a:gd name="T16" fmla="*/ 2147483647 w 1860"/>
              <a:gd name="T17" fmla="*/ 2147483647 h 1458"/>
              <a:gd name="T18" fmla="*/ 2147483647 w 1860"/>
              <a:gd name="T19" fmla="*/ 2147483647 h 1458"/>
              <a:gd name="T20" fmla="*/ 2147483647 w 1860"/>
              <a:gd name="T21" fmla="*/ 2147483647 h 1458"/>
              <a:gd name="T22" fmla="*/ 2147483647 w 1860"/>
              <a:gd name="T23" fmla="*/ 2147483647 h 1458"/>
              <a:gd name="T24" fmla="*/ 2147483647 w 1860"/>
              <a:gd name="T25" fmla="*/ 2147483647 h 1458"/>
              <a:gd name="T26" fmla="*/ 2147483647 w 1860"/>
              <a:gd name="T27" fmla="*/ 2147483647 h 1458"/>
              <a:gd name="T28" fmla="*/ 2147483647 w 1860"/>
              <a:gd name="T29" fmla="*/ 2147483647 h 1458"/>
              <a:gd name="T30" fmla="*/ 2147483647 w 1860"/>
              <a:gd name="T31" fmla="*/ 2147483647 h 1458"/>
              <a:gd name="T32" fmla="*/ 2147483647 w 1860"/>
              <a:gd name="T33" fmla="*/ 2147483647 h 1458"/>
              <a:gd name="T34" fmla="*/ 2147483647 w 1860"/>
              <a:gd name="T35" fmla="*/ 2147483647 h 1458"/>
              <a:gd name="T36" fmla="*/ 2147483647 w 1860"/>
              <a:gd name="T37" fmla="*/ 2147483647 h 1458"/>
              <a:gd name="T38" fmla="*/ 2147483647 w 1860"/>
              <a:gd name="T39" fmla="*/ 2147483647 h 1458"/>
              <a:gd name="T40" fmla="*/ 2147483647 w 1860"/>
              <a:gd name="T41" fmla="*/ 2147483647 h 1458"/>
              <a:gd name="T42" fmla="*/ 2147483647 w 1860"/>
              <a:gd name="T43" fmla="*/ 2147483647 h 1458"/>
              <a:gd name="T44" fmla="*/ 2147483647 w 1860"/>
              <a:gd name="T45" fmla="*/ 2147483647 h 1458"/>
              <a:gd name="T46" fmla="*/ 2147483647 w 1860"/>
              <a:gd name="T47" fmla="*/ 2147483647 h 1458"/>
              <a:gd name="T48" fmla="*/ 2147483647 w 1860"/>
              <a:gd name="T49" fmla="*/ 2147483647 h 1458"/>
              <a:gd name="T50" fmla="*/ 2147483647 w 1860"/>
              <a:gd name="T51" fmla="*/ 2147483647 h 1458"/>
              <a:gd name="T52" fmla="*/ 2147483647 w 1860"/>
              <a:gd name="T53" fmla="*/ 2147483647 h 1458"/>
              <a:gd name="T54" fmla="*/ 2147483647 w 1860"/>
              <a:gd name="T55" fmla="*/ 2147483647 h 1458"/>
              <a:gd name="T56" fmla="*/ 0 w 1860"/>
              <a:gd name="T57" fmla="*/ 2147483647 h 1458"/>
              <a:gd name="T58" fmla="*/ 2147483647 w 1860"/>
              <a:gd name="T59" fmla="*/ 2147483647 h 1458"/>
              <a:gd name="T60" fmla="*/ 2147483647 w 1860"/>
              <a:gd name="T61" fmla="*/ 2147483647 h 1458"/>
              <a:gd name="T62" fmla="*/ 2147483647 w 1860"/>
              <a:gd name="T63" fmla="*/ 2147483647 h 1458"/>
              <a:gd name="T64" fmla="*/ 2147483647 w 1860"/>
              <a:gd name="T65" fmla="*/ 2147483647 h 1458"/>
              <a:gd name="T66" fmla="*/ 2147483647 w 1860"/>
              <a:gd name="T67" fmla="*/ 2147483647 h 1458"/>
              <a:gd name="T68" fmla="*/ 2147483647 w 1860"/>
              <a:gd name="T69" fmla="*/ 2147483647 h 1458"/>
              <a:gd name="T70" fmla="*/ 2147483647 w 1860"/>
              <a:gd name="T71" fmla="*/ 2147483647 h 1458"/>
              <a:gd name="T72" fmla="*/ 2147483647 w 1860"/>
              <a:gd name="T73" fmla="*/ 2147483647 h 1458"/>
              <a:gd name="T74" fmla="*/ 2147483647 w 1860"/>
              <a:gd name="T75" fmla="*/ 2147483647 h 1458"/>
              <a:gd name="T76" fmla="*/ 2147483647 w 1860"/>
              <a:gd name="T77" fmla="*/ 2147483647 h 1458"/>
              <a:gd name="T78" fmla="*/ 2147483647 w 1860"/>
              <a:gd name="T79" fmla="*/ 2147483647 h 1458"/>
              <a:gd name="T80" fmla="*/ 2147483647 w 1860"/>
              <a:gd name="T81" fmla="*/ 2147483647 h 1458"/>
              <a:gd name="T82" fmla="*/ 2147483647 w 1860"/>
              <a:gd name="T83" fmla="*/ 2147483647 h 1458"/>
              <a:gd name="T84" fmla="*/ 2147483647 w 1860"/>
              <a:gd name="T85" fmla="*/ 2147483647 h 1458"/>
              <a:gd name="T86" fmla="*/ 2147483647 w 1860"/>
              <a:gd name="T87" fmla="*/ 2147483647 h 1458"/>
              <a:gd name="T88" fmla="*/ 2147483647 w 1860"/>
              <a:gd name="T89" fmla="*/ 2147483647 h 1458"/>
              <a:gd name="T90" fmla="*/ 2147483647 w 1860"/>
              <a:gd name="T91" fmla="*/ 2147483647 h 1458"/>
              <a:gd name="T92" fmla="*/ 2147483647 w 1860"/>
              <a:gd name="T93" fmla="*/ 2147483647 h 1458"/>
              <a:gd name="T94" fmla="*/ 2147483647 w 1860"/>
              <a:gd name="T95" fmla="*/ 2147483647 h 1458"/>
              <a:gd name="T96" fmla="*/ 2147483647 w 1860"/>
              <a:gd name="T97" fmla="*/ 2147483647 h 1458"/>
              <a:gd name="T98" fmla="*/ 2147483647 w 1860"/>
              <a:gd name="T99" fmla="*/ 2147483647 h 1458"/>
              <a:gd name="T100" fmla="*/ 2147483647 w 1860"/>
              <a:gd name="T101" fmla="*/ 2147483647 h 1458"/>
              <a:gd name="T102" fmla="*/ 2147483647 w 1860"/>
              <a:gd name="T103" fmla="*/ 2147483647 h 1458"/>
              <a:gd name="T104" fmla="*/ 2147483647 w 1860"/>
              <a:gd name="T105" fmla="*/ 2147483647 h 1458"/>
              <a:gd name="T106" fmla="*/ 2147483647 w 1860"/>
              <a:gd name="T107" fmla="*/ 2147483647 h 1458"/>
              <a:gd name="T108" fmla="*/ 2147483647 w 1860"/>
              <a:gd name="T109" fmla="*/ 2147483647 h 1458"/>
              <a:gd name="T110" fmla="*/ 2147483647 w 1860"/>
              <a:gd name="T111" fmla="*/ 2147483647 h 1458"/>
              <a:gd name="T112" fmla="*/ 2147483647 w 1860"/>
              <a:gd name="T113" fmla="*/ 2147483647 h 1458"/>
              <a:gd name="T114" fmla="*/ 2147483647 w 1860"/>
              <a:gd name="T115" fmla="*/ 2147483647 h 1458"/>
              <a:gd name="T116" fmla="*/ 2147483647 w 1860"/>
              <a:gd name="T117" fmla="*/ 2147483647 h 1458"/>
              <a:gd name="T118" fmla="*/ 2147483647 w 1860"/>
              <a:gd name="T119" fmla="*/ 2147483647 h 1458"/>
              <a:gd name="T120" fmla="*/ 2147483647 w 1860"/>
              <a:gd name="T121" fmla="*/ 2147483647 h 145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60"/>
              <a:gd name="T184" fmla="*/ 0 h 1458"/>
              <a:gd name="T185" fmla="*/ 1860 w 1860"/>
              <a:gd name="T186" fmla="*/ 1458 h 145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60" h="1458">
                <a:moveTo>
                  <a:pt x="1422" y="1440"/>
                </a:moveTo>
                <a:lnTo>
                  <a:pt x="1422" y="1380"/>
                </a:lnTo>
                <a:lnTo>
                  <a:pt x="1452" y="1332"/>
                </a:lnTo>
                <a:lnTo>
                  <a:pt x="1542" y="1338"/>
                </a:lnTo>
                <a:lnTo>
                  <a:pt x="1542" y="1320"/>
                </a:lnTo>
                <a:lnTo>
                  <a:pt x="1548" y="1320"/>
                </a:lnTo>
                <a:lnTo>
                  <a:pt x="1554" y="1314"/>
                </a:lnTo>
                <a:lnTo>
                  <a:pt x="1554" y="1302"/>
                </a:lnTo>
                <a:lnTo>
                  <a:pt x="1536" y="1302"/>
                </a:lnTo>
                <a:lnTo>
                  <a:pt x="1530" y="1278"/>
                </a:lnTo>
                <a:lnTo>
                  <a:pt x="1524" y="1278"/>
                </a:lnTo>
                <a:lnTo>
                  <a:pt x="1512" y="1272"/>
                </a:lnTo>
                <a:lnTo>
                  <a:pt x="1506" y="1272"/>
                </a:lnTo>
                <a:lnTo>
                  <a:pt x="1500" y="1266"/>
                </a:lnTo>
                <a:lnTo>
                  <a:pt x="1494" y="1254"/>
                </a:lnTo>
                <a:lnTo>
                  <a:pt x="1494" y="1248"/>
                </a:lnTo>
                <a:lnTo>
                  <a:pt x="1482" y="1242"/>
                </a:lnTo>
                <a:lnTo>
                  <a:pt x="1506" y="1242"/>
                </a:lnTo>
                <a:lnTo>
                  <a:pt x="1518" y="1236"/>
                </a:lnTo>
                <a:lnTo>
                  <a:pt x="1524" y="1236"/>
                </a:lnTo>
                <a:lnTo>
                  <a:pt x="1524" y="1212"/>
                </a:lnTo>
                <a:lnTo>
                  <a:pt x="1518" y="1200"/>
                </a:lnTo>
                <a:lnTo>
                  <a:pt x="1518" y="1188"/>
                </a:lnTo>
                <a:lnTo>
                  <a:pt x="1650" y="1194"/>
                </a:lnTo>
                <a:lnTo>
                  <a:pt x="1656" y="1182"/>
                </a:lnTo>
                <a:lnTo>
                  <a:pt x="1656" y="1176"/>
                </a:lnTo>
                <a:lnTo>
                  <a:pt x="1662" y="1176"/>
                </a:lnTo>
                <a:lnTo>
                  <a:pt x="1668" y="1182"/>
                </a:lnTo>
                <a:lnTo>
                  <a:pt x="1668" y="1188"/>
                </a:lnTo>
                <a:lnTo>
                  <a:pt x="1674" y="1188"/>
                </a:lnTo>
                <a:lnTo>
                  <a:pt x="1680" y="1182"/>
                </a:lnTo>
                <a:lnTo>
                  <a:pt x="1692" y="1176"/>
                </a:lnTo>
                <a:lnTo>
                  <a:pt x="1698" y="1164"/>
                </a:lnTo>
                <a:lnTo>
                  <a:pt x="1698" y="1152"/>
                </a:lnTo>
                <a:lnTo>
                  <a:pt x="1704" y="1146"/>
                </a:lnTo>
                <a:lnTo>
                  <a:pt x="1704" y="1140"/>
                </a:lnTo>
                <a:lnTo>
                  <a:pt x="1710" y="1152"/>
                </a:lnTo>
                <a:lnTo>
                  <a:pt x="1746" y="1116"/>
                </a:lnTo>
                <a:lnTo>
                  <a:pt x="1746" y="1122"/>
                </a:lnTo>
                <a:lnTo>
                  <a:pt x="1740" y="1128"/>
                </a:lnTo>
                <a:lnTo>
                  <a:pt x="1740" y="1146"/>
                </a:lnTo>
                <a:lnTo>
                  <a:pt x="1746" y="1152"/>
                </a:lnTo>
                <a:lnTo>
                  <a:pt x="1758" y="1152"/>
                </a:lnTo>
                <a:lnTo>
                  <a:pt x="1782" y="1086"/>
                </a:lnTo>
                <a:lnTo>
                  <a:pt x="1770" y="1074"/>
                </a:lnTo>
                <a:lnTo>
                  <a:pt x="1794" y="1068"/>
                </a:lnTo>
                <a:lnTo>
                  <a:pt x="1794" y="1056"/>
                </a:lnTo>
                <a:lnTo>
                  <a:pt x="1776" y="1050"/>
                </a:lnTo>
                <a:lnTo>
                  <a:pt x="1794" y="1032"/>
                </a:lnTo>
                <a:lnTo>
                  <a:pt x="1800" y="1008"/>
                </a:lnTo>
                <a:lnTo>
                  <a:pt x="1806" y="996"/>
                </a:lnTo>
                <a:lnTo>
                  <a:pt x="1818" y="990"/>
                </a:lnTo>
                <a:lnTo>
                  <a:pt x="1824" y="978"/>
                </a:lnTo>
                <a:lnTo>
                  <a:pt x="1836" y="966"/>
                </a:lnTo>
                <a:lnTo>
                  <a:pt x="1842" y="954"/>
                </a:lnTo>
                <a:lnTo>
                  <a:pt x="1848" y="948"/>
                </a:lnTo>
                <a:lnTo>
                  <a:pt x="1854" y="936"/>
                </a:lnTo>
                <a:lnTo>
                  <a:pt x="1854" y="930"/>
                </a:lnTo>
                <a:lnTo>
                  <a:pt x="1860" y="918"/>
                </a:lnTo>
                <a:lnTo>
                  <a:pt x="1860" y="900"/>
                </a:lnTo>
                <a:lnTo>
                  <a:pt x="1854" y="894"/>
                </a:lnTo>
                <a:lnTo>
                  <a:pt x="1818" y="894"/>
                </a:lnTo>
                <a:lnTo>
                  <a:pt x="1812" y="900"/>
                </a:lnTo>
                <a:lnTo>
                  <a:pt x="1800" y="900"/>
                </a:lnTo>
                <a:lnTo>
                  <a:pt x="1794" y="894"/>
                </a:lnTo>
                <a:lnTo>
                  <a:pt x="1782" y="894"/>
                </a:lnTo>
                <a:lnTo>
                  <a:pt x="1770" y="888"/>
                </a:lnTo>
                <a:lnTo>
                  <a:pt x="1746" y="888"/>
                </a:lnTo>
                <a:lnTo>
                  <a:pt x="1734" y="894"/>
                </a:lnTo>
                <a:lnTo>
                  <a:pt x="1716" y="900"/>
                </a:lnTo>
                <a:lnTo>
                  <a:pt x="1698" y="900"/>
                </a:lnTo>
                <a:lnTo>
                  <a:pt x="1686" y="906"/>
                </a:lnTo>
                <a:lnTo>
                  <a:pt x="1668" y="906"/>
                </a:lnTo>
                <a:lnTo>
                  <a:pt x="1656" y="912"/>
                </a:lnTo>
                <a:lnTo>
                  <a:pt x="1626" y="912"/>
                </a:lnTo>
                <a:lnTo>
                  <a:pt x="1614" y="918"/>
                </a:lnTo>
                <a:lnTo>
                  <a:pt x="1608" y="924"/>
                </a:lnTo>
                <a:lnTo>
                  <a:pt x="1596" y="948"/>
                </a:lnTo>
                <a:lnTo>
                  <a:pt x="1590" y="966"/>
                </a:lnTo>
                <a:lnTo>
                  <a:pt x="1590" y="1026"/>
                </a:lnTo>
                <a:lnTo>
                  <a:pt x="1572" y="1032"/>
                </a:lnTo>
                <a:lnTo>
                  <a:pt x="1572" y="1062"/>
                </a:lnTo>
                <a:lnTo>
                  <a:pt x="1566" y="1074"/>
                </a:lnTo>
                <a:lnTo>
                  <a:pt x="1542" y="1086"/>
                </a:lnTo>
                <a:lnTo>
                  <a:pt x="1524" y="1098"/>
                </a:lnTo>
                <a:lnTo>
                  <a:pt x="1512" y="1110"/>
                </a:lnTo>
                <a:lnTo>
                  <a:pt x="1512" y="1122"/>
                </a:lnTo>
                <a:lnTo>
                  <a:pt x="1506" y="1128"/>
                </a:lnTo>
                <a:lnTo>
                  <a:pt x="1506" y="1140"/>
                </a:lnTo>
                <a:lnTo>
                  <a:pt x="1500" y="1146"/>
                </a:lnTo>
                <a:lnTo>
                  <a:pt x="1488" y="1146"/>
                </a:lnTo>
                <a:lnTo>
                  <a:pt x="1476" y="1134"/>
                </a:lnTo>
                <a:lnTo>
                  <a:pt x="1476" y="1128"/>
                </a:lnTo>
                <a:lnTo>
                  <a:pt x="1470" y="1122"/>
                </a:lnTo>
                <a:lnTo>
                  <a:pt x="1440" y="1122"/>
                </a:lnTo>
                <a:lnTo>
                  <a:pt x="1416" y="1128"/>
                </a:lnTo>
                <a:lnTo>
                  <a:pt x="1392" y="1140"/>
                </a:lnTo>
                <a:lnTo>
                  <a:pt x="1356" y="1140"/>
                </a:lnTo>
                <a:lnTo>
                  <a:pt x="1338" y="1146"/>
                </a:lnTo>
                <a:lnTo>
                  <a:pt x="1290" y="1170"/>
                </a:lnTo>
                <a:lnTo>
                  <a:pt x="1284" y="1170"/>
                </a:lnTo>
                <a:lnTo>
                  <a:pt x="1272" y="1158"/>
                </a:lnTo>
                <a:lnTo>
                  <a:pt x="1266" y="1146"/>
                </a:lnTo>
                <a:lnTo>
                  <a:pt x="1266" y="1140"/>
                </a:lnTo>
                <a:lnTo>
                  <a:pt x="1260" y="1128"/>
                </a:lnTo>
                <a:lnTo>
                  <a:pt x="1242" y="1128"/>
                </a:lnTo>
                <a:lnTo>
                  <a:pt x="1224" y="1122"/>
                </a:lnTo>
                <a:lnTo>
                  <a:pt x="1194" y="1122"/>
                </a:lnTo>
                <a:lnTo>
                  <a:pt x="1194" y="1104"/>
                </a:lnTo>
                <a:lnTo>
                  <a:pt x="1188" y="1092"/>
                </a:lnTo>
                <a:lnTo>
                  <a:pt x="1176" y="1080"/>
                </a:lnTo>
                <a:lnTo>
                  <a:pt x="1170" y="1068"/>
                </a:lnTo>
                <a:lnTo>
                  <a:pt x="1164" y="1062"/>
                </a:lnTo>
                <a:lnTo>
                  <a:pt x="1164" y="1026"/>
                </a:lnTo>
                <a:lnTo>
                  <a:pt x="1128" y="966"/>
                </a:lnTo>
                <a:lnTo>
                  <a:pt x="1122" y="924"/>
                </a:lnTo>
                <a:lnTo>
                  <a:pt x="1110" y="894"/>
                </a:lnTo>
                <a:lnTo>
                  <a:pt x="1104" y="804"/>
                </a:lnTo>
                <a:lnTo>
                  <a:pt x="1110" y="798"/>
                </a:lnTo>
                <a:lnTo>
                  <a:pt x="1122" y="774"/>
                </a:lnTo>
                <a:lnTo>
                  <a:pt x="1128" y="768"/>
                </a:lnTo>
                <a:lnTo>
                  <a:pt x="1128" y="654"/>
                </a:lnTo>
                <a:lnTo>
                  <a:pt x="1152" y="648"/>
                </a:lnTo>
                <a:lnTo>
                  <a:pt x="1152" y="612"/>
                </a:lnTo>
                <a:lnTo>
                  <a:pt x="1158" y="600"/>
                </a:lnTo>
                <a:lnTo>
                  <a:pt x="1158" y="594"/>
                </a:lnTo>
                <a:lnTo>
                  <a:pt x="1164" y="588"/>
                </a:lnTo>
                <a:lnTo>
                  <a:pt x="1176" y="588"/>
                </a:lnTo>
                <a:lnTo>
                  <a:pt x="1182" y="594"/>
                </a:lnTo>
                <a:lnTo>
                  <a:pt x="1188" y="594"/>
                </a:lnTo>
                <a:lnTo>
                  <a:pt x="1188" y="588"/>
                </a:lnTo>
                <a:lnTo>
                  <a:pt x="1194" y="576"/>
                </a:lnTo>
                <a:lnTo>
                  <a:pt x="1194" y="564"/>
                </a:lnTo>
                <a:lnTo>
                  <a:pt x="1200" y="558"/>
                </a:lnTo>
                <a:lnTo>
                  <a:pt x="1206" y="546"/>
                </a:lnTo>
                <a:lnTo>
                  <a:pt x="1206" y="540"/>
                </a:lnTo>
                <a:lnTo>
                  <a:pt x="1206" y="546"/>
                </a:lnTo>
                <a:lnTo>
                  <a:pt x="1182" y="546"/>
                </a:lnTo>
                <a:lnTo>
                  <a:pt x="1176" y="534"/>
                </a:lnTo>
                <a:lnTo>
                  <a:pt x="1176" y="528"/>
                </a:lnTo>
                <a:lnTo>
                  <a:pt x="1134" y="528"/>
                </a:lnTo>
                <a:lnTo>
                  <a:pt x="1122" y="516"/>
                </a:lnTo>
                <a:lnTo>
                  <a:pt x="1110" y="516"/>
                </a:lnTo>
                <a:lnTo>
                  <a:pt x="1092" y="510"/>
                </a:lnTo>
                <a:lnTo>
                  <a:pt x="1080" y="498"/>
                </a:lnTo>
                <a:lnTo>
                  <a:pt x="1080" y="468"/>
                </a:lnTo>
                <a:lnTo>
                  <a:pt x="1068" y="456"/>
                </a:lnTo>
                <a:lnTo>
                  <a:pt x="1068" y="420"/>
                </a:lnTo>
                <a:lnTo>
                  <a:pt x="1074" y="420"/>
                </a:lnTo>
                <a:lnTo>
                  <a:pt x="1080" y="414"/>
                </a:lnTo>
                <a:lnTo>
                  <a:pt x="1080" y="408"/>
                </a:lnTo>
                <a:lnTo>
                  <a:pt x="1068" y="396"/>
                </a:lnTo>
                <a:lnTo>
                  <a:pt x="1056" y="390"/>
                </a:lnTo>
                <a:lnTo>
                  <a:pt x="1050" y="384"/>
                </a:lnTo>
                <a:lnTo>
                  <a:pt x="1050" y="360"/>
                </a:lnTo>
                <a:lnTo>
                  <a:pt x="1038" y="354"/>
                </a:lnTo>
                <a:lnTo>
                  <a:pt x="1032" y="342"/>
                </a:lnTo>
                <a:lnTo>
                  <a:pt x="1032" y="330"/>
                </a:lnTo>
                <a:lnTo>
                  <a:pt x="1038" y="318"/>
                </a:lnTo>
                <a:lnTo>
                  <a:pt x="1038" y="294"/>
                </a:lnTo>
                <a:lnTo>
                  <a:pt x="1026" y="282"/>
                </a:lnTo>
                <a:lnTo>
                  <a:pt x="1020" y="270"/>
                </a:lnTo>
                <a:lnTo>
                  <a:pt x="1008" y="258"/>
                </a:lnTo>
                <a:lnTo>
                  <a:pt x="1002" y="246"/>
                </a:lnTo>
                <a:lnTo>
                  <a:pt x="996" y="240"/>
                </a:lnTo>
                <a:lnTo>
                  <a:pt x="990" y="228"/>
                </a:lnTo>
                <a:lnTo>
                  <a:pt x="948" y="228"/>
                </a:lnTo>
                <a:lnTo>
                  <a:pt x="930" y="222"/>
                </a:lnTo>
                <a:lnTo>
                  <a:pt x="930" y="228"/>
                </a:lnTo>
                <a:lnTo>
                  <a:pt x="912" y="228"/>
                </a:lnTo>
                <a:lnTo>
                  <a:pt x="900" y="240"/>
                </a:lnTo>
                <a:lnTo>
                  <a:pt x="888" y="264"/>
                </a:lnTo>
                <a:lnTo>
                  <a:pt x="876" y="276"/>
                </a:lnTo>
                <a:lnTo>
                  <a:pt x="852" y="288"/>
                </a:lnTo>
                <a:lnTo>
                  <a:pt x="840" y="288"/>
                </a:lnTo>
                <a:lnTo>
                  <a:pt x="822" y="276"/>
                </a:lnTo>
                <a:lnTo>
                  <a:pt x="810" y="270"/>
                </a:lnTo>
                <a:lnTo>
                  <a:pt x="780" y="240"/>
                </a:lnTo>
                <a:lnTo>
                  <a:pt x="780" y="228"/>
                </a:lnTo>
                <a:lnTo>
                  <a:pt x="786" y="216"/>
                </a:lnTo>
                <a:lnTo>
                  <a:pt x="786" y="174"/>
                </a:lnTo>
                <a:lnTo>
                  <a:pt x="780" y="162"/>
                </a:lnTo>
                <a:lnTo>
                  <a:pt x="768" y="150"/>
                </a:lnTo>
                <a:lnTo>
                  <a:pt x="756" y="144"/>
                </a:lnTo>
                <a:lnTo>
                  <a:pt x="744" y="144"/>
                </a:lnTo>
                <a:lnTo>
                  <a:pt x="738" y="114"/>
                </a:lnTo>
                <a:lnTo>
                  <a:pt x="708" y="102"/>
                </a:lnTo>
                <a:lnTo>
                  <a:pt x="708" y="78"/>
                </a:lnTo>
                <a:lnTo>
                  <a:pt x="696" y="66"/>
                </a:lnTo>
                <a:lnTo>
                  <a:pt x="582" y="66"/>
                </a:lnTo>
                <a:lnTo>
                  <a:pt x="576" y="72"/>
                </a:lnTo>
                <a:lnTo>
                  <a:pt x="576" y="90"/>
                </a:lnTo>
                <a:lnTo>
                  <a:pt x="570" y="102"/>
                </a:lnTo>
                <a:lnTo>
                  <a:pt x="570" y="108"/>
                </a:lnTo>
                <a:lnTo>
                  <a:pt x="366" y="108"/>
                </a:lnTo>
                <a:lnTo>
                  <a:pt x="156" y="12"/>
                </a:lnTo>
                <a:lnTo>
                  <a:pt x="150" y="12"/>
                </a:lnTo>
                <a:lnTo>
                  <a:pt x="150" y="6"/>
                </a:lnTo>
                <a:lnTo>
                  <a:pt x="156" y="0"/>
                </a:lnTo>
                <a:lnTo>
                  <a:pt x="12" y="6"/>
                </a:lnTo>
                <a:lnTo>
                  <a:pt x="6" y="0"/>
                </a:lnTo>
                <a:lnTo>
                  <a:pt x="0" y="18"/>
                </a:lnTo>
                <a:lnTo>
                  <a:pt x="0" y="48"/>
                </a:lnTo>
                <a:lnTo>
                  <a:pt x="6" y="60"/>
                </a:lnTo>
                <a:lnTo>
                  <a:pt x="12" y="66"/>
                </a:lnTo>
                <a:lnTo>
                  <a:pt x="18" y="78"/>
                </a:lnTo>
                <a:lnTo>
                  <a:pt x="0" y="90"/>
                </a:lnTo>
                <a:lnTo>
                  <a:pt x="12" y="114"/>
                </a:lnTo>
                <a:lnTo>
                  <a:pt x="6" y="126"/>
                </a:lnTo>
                <a:lnTo>
                  <a:pt x="24" y="144"/>
                </a:lnTo>
                <a:lnTo>
                  <a:pt x="6" y="174"/>
                </a:lnTo>
                <a:lnTo>
                  <a:pt x="18" y="180"/>
                </a:lnTo>
                <a:lnTo>
                  <a:pt x="18" y="210"/>
                </a:lnTo>
                <a:lnTo>
                  <a:pt x="24" y="228"/>
                </a:lnTo>
                <a:lnTo>
                  <a:pt x="24" y="240"/>
                </a:lnTo>
                <a:lnTo>
                  <a:pt x="30" y="252"/>
                </a:lnTo>
                <a:lnTo>
                  <a:pt x="42" y="264"/>
                </a:lnTo>
                <a:lnTo>
                  <a:pt x="60" y="264"/>
                </a:lnTo>
                <a:lnTo>
                  <a:pt x="60" y="270"/>
                </a:lnTo>
                <a:lnTo>
                  <a:pt x="66" y="276"/>
                </a:lnTo>
                <a:lnTo>
                  <a:pt x="72" y="288"/>
                </a:lnTo>
                <a:lnTo>
                  <a:pt x="84" y="300"/>
                </a:lnTo>
                <a:lnTo>
                  <a:pt x="90" y="318"/>
                </a:lnTo>
                <a:lnTo>
                  <a:pt x="96" y="330"/>
                </a:lnTo>
                <a:lnTo>
                  <a:pt x="96" y="342"/>
                </a:lnTo>
                <a:lnTo>
                  <a:pt x="78" y="378"/>
                </a:lnTo>
                <a:lnTo>
                  <a:pt x="72" y="384"/>
                </a:lnTo>
                <a:lnTo>
                  <a:pt x="72" y="390"/>
                </a:lnTo>
                <a:lnTo>
                  <a:pt x="84" y="396"/>
                </a:lnTo>
                <a:lnTo>
                  <a:pt x="72" y="414"/>
                </a:lnTo>
                <a:lnTo>
                  <a:pt x="60" y="396"/>
                </a:lnTo>
                <a:lnTo>
                  <a:pt x="12" y="390"/>
                </a:lnTo>
                <a:lnTo>
                  <a:pt x="36" y="414"/>
                </a:lnTo>
                <a:lnTo>
                  <a:pt x="42" y="438"/>
                </a:lnTo>
                <a:lnTo>
                  <a:pt x="66" y="444"/>
                </a:lnTo>
                <a:lnTo>
                  <a:pt x="78" y="456"/>
                </a:lnTo>
                <a:lnTo>
                  <a:pt x="84" y="468"/>
                </a:lnTo>
                <a:lnTo>
                  <a:pt x="90" y="474"/>
                </a:lnTo>
                <a:lnTo>
                  <a:pt x="96" y="474"/>
                </a:lnTo>
                <a:lnTo>
                  <a:pt x="102" y="468"/>
                </a:lnTo>
                <a:lnTo>
                  <a:pt x="108" y="468"/>
                </a:lnTo>
                <a:lnTo>
                  <a:pt x="120" y="462"/>
                </a:lnTo>
                <a:lnTo>
                  <a:pt x="126" y="456"/>
                </a:lnTo>
                <a:lnTo>
                  <a:pt x="126" y="480"/>
                </a:lnTo>
                <a:lnTo>
                  <a:pt x="144" y="516"/>
                </a:lnTo>
                <a:lnTo>
                  <a:pt x="156" y="528"/>
                </a:lnTo>
                <a:lnTo>
                  <a:pt x="168" y="552"/>
                </a:lnTo>
                <a:lnTo>
                  <a:pt x="168" y="564"/>
                </a:lnTo>
                <a:lnTo>
                  <a:pt x="156" y="588"/>
                </a:lnTo>
                <a:lnTo>
                  <a:pt x="150" y="606"/>
                </a:lnTo>
                <a:lnTo>
                  <a:pt x="150" y="618"/>
                </a:lnTo>
                <a:lnTo>
                  <a:pt x="180" y="648"/>
                </a:lnTo>
                <a:lnTo>
                  <a:pt x="192" y="666"/>
                </a:lnTo>
                <a:lnTo>
                  <a:pt x="222" y="696"/>
                </a:lnTo>
                <a:lnTo>
                  <a:pt x="234" y="714"/>
                </a:lnTo>
                <a:lnTo>
                  <a:pt x="264" y="744"/>
                </a:lnTo>
                <a:lnTo>
                  <a:pt x="258" y="750"/>
                </a:lnTo>
                <a:lnTo>
                  <a:pt x="258" y="762"/>
                </a:lnTo>
                <a:lnTo>
                  <a:pt x="252" y="768"/>
                </a:lnTo>
                <a:lnTo>
                  <a:pt x="252" y="780"/>
                </a:lnTo>
                <a:lnTo>
                  <a:pt x="258" y="786"/>
                </a:lnTo>
                <a:lnTo>
                  <a:pt x="276" y="786"/>
                </a:lnTo>
                <a:lnTo>
                  <a:pt x="288" y="780"/>
                </a:lnTo>
                <a:lnTo>
                  <a:pt x="294" y="768"/>
                </a:lnTo>
                <a:lnTo>
                  <a:pt x="306" y="762"/>
                </a:lnTo>
                <a:lnTo>
                  <a:pt x="312" y="756"/>
                </a:lnTo>
                <a:lnTo>
                  <a:pt x="306" y="738"/>
                </a:lnTo>
                <a:lnTo>
                  <a:pt x="306" y="732"/>
                </a:lnTo>
                <a:lnTo>
                  <a:pt x="300" y="726"/>
                </a:lnTo>
                <a:lnTo>
                  <a:pt x="300" y="708"/>
                </a:lnTo>
                <a:lnTo>
                  <a:pt x="288" y="684"/>
                </a:lnTo>
                <a:lnTo>
                  <a:pt x="282" y="678"/>
                </a:lnTo>
                <a:lnTo>
                  <a:pt x="258" y="678"/>
                </a:lnTo>
                <a:lnTo>
                  <a:pt x="240" y="648"/>
                </a:lnTo>
                <a:lnTo>
                  <a:pt x="240" y="576"/>
                </a:lnTo>
                <a:lnTo>
                  <a:pt x="222" y="546"/>
                </a:lnTo>
                <a:lnTo>
                  <a:pt x="228" y="534"/>
                </a:lnTo>
                <a:lnTo>
                  <a:pt x="228" y="528"/>
                </a:lnTo>
                <a:lnTo>
                  <a:pt x="234" y="516"/>
                </a:lnTo>
                <a:lnTo>
                  <a:pt x="234" y="492"/>
                </a:lnTo>
                <a:lnTo>
                  <a:pt x="228" y="486"/>
                </a:lnTo>
                <a:lnTo>
                  <a:pt x="216" y="480"/>
                </a:lnTo>
                <a:lnTo>
                  <a:pt x="210" y="474"/>
                </a:lnTo>
                <a:lnTo>
                  <a:pt x="198" y="474"/>
                </a:lnTo>
                <a:lnTo>
                  <a:pt x="198" y="432"/>
                </a:lnTo>
                <a:lnTo>
                  <a:pt x="168" y="396"/>
                </a:lnTo>
                <a:lnTo>
                  <a:pt x="174" y="336"/>
                </a:lnTo>
                <a:lnTo>
                  <a:pt x="168" y="330"/>
                </a:lnTo>
                <a:lnTo>
                  <a:pt x="162" y="318"/>
                </a:lnTo>
                <a:lnTo>
                  <a:pt x="144" y="300"/>
                </a:lnTo>
                <a:lnTo>
                  <a:pt x="138" y="288"/>
                </a:lnTo>
                <a:lnTo>
                  <a:pt x="138" y="276"/>
                </a:lnTo>
                <a:lnTo>
                  <a:pt x="132" y="264"/>
                </a:lnTo>
                <a:lnTo>
                  <a:pt x="132" y="246"/>
                </a:lnTo>
                <a:lnTo>
                  <a:pt x="126" y="240"/>
                </a:lnTo>
                <a:lnTo>
                  <a:pt x="120" y="228"/>
                </a:lnTo>
                <a:lnTo>
                  <a:pt x="108" y="216"/>
                </a:lnTo>
                <a:lnTo>
                  <a:pt x="102" y="204"/>
                </a:lnTo>
                <a:lnTo>
                  <a:pt x="96" y="198"/>
                </a:lnTo>
                <a:lnTo>
                  <a:pt x="96" y="192"/>
                </a:lnTo>
                <a:lnTo>
                  <a:pt x="102" y="186"/>
                </a:lnTo>
                <a:lnTo>
                  <a:pt x="114" y="162"/>
                </a:lnTo>
                <a:lnTo>
                  <a:pt x="114" y="114"/>
                </a:lnTo>
                <a:lnTo>
                  <a:pt x="120" y="108"/>
                </a:lnTo>
                <a:lnTo>
                  <a:pt x="126" y="96"/>
                </a:lnTo>
                <a:lnTo>
                  <a:pt x="126" y="60"/>
                </a:lnTo>
                <a:lnTo>
                  <a:pt x="132" y="66"/>
                </a:lnTo>
                <a:lnTo>
                  <a:pt x="144" y="72"/>
                </a:lnTo>
                <a:lnTo>
                  <a:pt x="150" y="84"/>
                </a:lnTo>
                <a:lnTo>
                  <a:pt x="162" y="90"/>
                </a:lnTo>
                <a:lnTo>
                  <a:pt x="180" y="90"/>
                </a:lnTo>
                <a:lnTo>
                  <a:pt x="186" y="84"/>
                </a:lnTo>
                <a:lnTo>
                  <a:pt x="198" y="84"/>
                </a:lnTo>
                <a:lnTo>
                  <a:pt x="198" y="102"/>
                </a:lnTo>
                <a:lnTo>
                  <a:pt x="204" y="108"/>
                </a:lnTo>
                <a:lnTo>
                  <a:pt x="216" y="114"/>
                </a:lnTo>
                <a:lnTo>
                  <a:pt x="234" y="114"/>
                </a:lnTo>
                <a:lnTo>
                  <a:pt x="234" y="120"/>
                </a:lnTo>
                <a:lnTo>
                  <a:pt x="228" y="126"/>
                </a:lnTo>
                <a:lnTo>
                  <a:pt x="228" y="186"/>
                </a:lnTo>
                <a:lnTo>
                  <a:pt x="240" y="258"/>
                </a:lnTo>
                <a:lnTo>
                  <a:pt x="240" y="270"/>
                </a:lnTo>
                <a:lnTo>
                  <a:pt x="246" y="282"/>
                </a:lnTo>
                <a:lnTo>
                  <a:pt x="252" y="306"/>
                </a:lnTo>
                <a:lnTo>
                  <a:pt x="264" y="342"/>
                </a:lnTo>
                <a:lnTo>
                  <a:pt x="276" y="372"/>
                </a:lnTo>
                <a:lnTo>
                  <a:pt x="282" y="384"/>
                </a:lnTo>
                <a:lnTo>
                  <a:pt x="324" y="384"/>
                </a:lnTo>
                <a:lnTo>
                  <a:pt x="318" y="390"/>
                </a:lnTo>
                <a:lnTo>
                  <a:pt x="306" y="414"/>
                </a:lnTo>
                <a:lnTo>
                  <a:pt x="318" y="438"/>
                </a:lnTo>
                <a:lnTo>
                  <a:pt x="330" y="444"/>
                </a:lnTo>
                <a:lnTo>
                  <a:pt x="336" y="450"/>
                </a:lnTo>
                <a:lnTo>
                  <a:pt x="348" y="450"/>
                </a:lnTo>
                <a:lnTo>
                  <a:pt x="354" y="474"/>
                </a:lnTo>
                <a:lnTo>
                  <a:pt x="384" y="474"/>
                </a:lnTo>
                <a:lnTo>
                  <a:pt x="390" y="516"/>
                </a:lnTo>
                <a:lnTo>
                  <a:pt x="384" y="516"/>
                </a:lnTo>
                <a:lnTo>
                  <a:pt x="378" y="522"/>
                </a:lnTo>
                <a:lnTo>
                  <a:pt x="366" y="528"/>
                </a:lnTo>
                <a:lnTo>
                  <a:pt x="360" y="534"/>
                </a:lnTo>
                <a:lnTo>
                  <a:pt x="354" y="546"/>
                </a:lnTo>
                <a:lnTo>
                  <a:pt x="354" y="558"/>
                </a:lnTo>
                <a:lnTo>
                  <a:pt x="360" y="564"/>
                </a:lnTo>
                <a:lnTo>
                  <a:pt x="372" y="570"/>
                </a:lnTo>
                <a:lnTo>
                  <a:pt x="384" y="558"/>
                </a:lnTo>
                <a:lnTo>
                  <a:pt x="384" y="564"/>
                </a:lnTo>
                <a:lnTo>
                  <a:pt x="396" y="576"/>
                </a:lnTo>
                <a:lnTo>
                  <a:pt x="396" y="588"/>
                </a:lnTo>
                <a:lnTo>
                  <a:pt x="402" y="594"/>
                </a:lnTo>
                <a:lnTo>
                  <a:pt x="414" y="594"/>
                </a:lnTo>
                <a:lnTo>
                  <a:pt x="426" y="600"/>
                </a:lnTo>
                <a:lnTo>
                  <a:pt x="432" y="600"/>
                </a:lnTo>
                <a:lnTo>
                  <a:pt x="438" y="606"/>
                </a:lnTo>
                <a:lnTo>
                  <a:pt x="438" y="624"/>
                </a:lnTo>
                <a:lnTo>
                  <a:pt x="432" y="630"/>
                </a:lnTo>
                <a:lnTo>
                  <a:pt x="432" y="636"/>
                </a:lnTo>
                <a:lnTo>
                  <a:pt x="426" y="648"/>
                </a:lnTo>
                <a:lnTo>
                  <a:pt x="426" y="654"/>
                </a:lnTo>
                <a:lnTo>
                  <a:pt x="468" y="654"/>
                </a:lnTo>
                <a:lnTo>
                  <a:pt x="468" y="684"/>
                </a:lnTo>
                <a:lnTo>
                  <a:pt x="504" y="720"/>
                </a:lnTo>
                <a:lnTo>
                  <a:pt x="510" y="732"/>
                </a:lnTo>
                <a:lnTo>
                  <a:pt x="528" y="750"/>
                </a:lnTo>
                <a:lnTo>
                  <a:pt x="534" y="768"/>
                </a:lnTo>
                <a:lnTo>
                  <a:pt x="546" y="780"/>
                </a:lnTo>
                <a:lnTo>
                  <a:pt x="552" y="798"/>
                </a:lnTo>
                <a:lnTo>
                  <a:pt x="558" y="810"/>
                </a:lnTo>
                <a:lnTo>
                  <a:pt x="558" y="870"/>
                </a:lnTo>
                <a:lnTo>
                  <a:pt x="564" y="882"/>
                </a:lnTo>
                <a:lnTo>
                  <a:pt x="576" y="894"/>
                </a:lnTo>
                <a:lnTo>
                  <a:pt x="576" y="906"/>
                </a:lnTo>
                <a:lnTo>
                  <a:pt x="570" y="918"/>
                </a:lnTo>
                <a:lnTo>
                  <a:pt x="552" y="936"/>
                </a:lnTo>
                <a:lnTo>
                  <a:pt x="546" y="948"/>
                </a:lnTo>
                <a:lnTo>
                  <a:pt x="546" y="954"/>
                </a:lnTo>
                <a:lnTo>
                  <a:pt x="552" y="960"/>
                </a:lnTo>
                <a:lnTo>
                  <a:pt x="564" y="966"/>
                </a:lnTo>
                <a:lnTo>
                  <a:pt x="540" y="966"/>
                </a:lnTo>
                <a:lnTo>
                  <a:pt x="528" y="972"/>
                </a:lnTo>
                <a:lnTo>
                  <a:pt x="528" y="1038"/>
                </a:lnTo>
                <a:lnTo>
                  <a:pt x="534" y="1056"/>
                </a:lnTo>
                <a:lnTo>
                  <a:pt x="540" y="1062"/>
                </a:lnTo>
                <a:lnTo>
                  <a:pt x="546" y="1074"/>
                </a:lnTo>
                <a:lnTo>
                  <a:pt x="558" y="1074"/>
                </a:lnTo>
                <a:lnTo>
                  <a:pt x="576" y="1080"/>
                </a:lnTo>
                <a:lnTo>
                  <a:pt x="600" y="1080"/>
                </a:lnTo>
                <a:lnTo>
                  <a:pt x="612" y="1086"/>
                </a:lnTo>
                <a:lnTo>
                  <a:pt x="636" y="1110"/>
                </a:lnTo>
                <a:lnTo>
                  <a:pt x="642" y="1122"/>
                </a:lnTo>
                <a:lnTo>
                  <a:pt x="648" y="1140"/>
                </a:lnTo>
                <a:lnTo>
                  <a:pt x="654" y="1152"/>
                </a:lnTo>
                <a:lnTo>
                  <a:pt x="666" y="1164"/>
                </a:lnTo>
                <a:lnTo>
                  <a:pt x="678" y="1170"/>
                </a:lnTo>
                <a:lnTo>
                  <a:pt x="732" y="1170"/>
                </a:lnTo>
                <a:lnTo>
                  <a:pt x="750" y="1176"/>
                </a:lnTo>
                <a:lnTo>
                  <a:pt x="762" y="1182"/>
                </a:lnTo>
                <a:lnTo>
                  <a:pt x="768" y="1188"/>
                </a:lnTo>
                <a:lnTo>
                  <a:pt x="774" y="1200"/>
                </a:lnTo>
                <a:lnTo>
                  <a:pt x="786" y="1218"/>
                </a:lnTo>
                <a:lnTo>
                  <a:pt x="810" y="1242"/>
                </a:lnTo>
                <a:lnTo>
                  <a:pt x="834" y="1254"/>
                </a:lnTo>
                <a:lnTo>
                  <a:pt x="870" y="1266"/>
                </a:lnTo>
                <a:lnTo>
                  <a:pt x="912" y="1272"/>
                </a:lnTo>
                <a:lnTo>
                  <a:pt x="942" y="1278"/>
                </a:lnTo>
                <a:lnTo>
                  <a:pt x="960" y="1290"/>
                </a:lnTo>
                <a:lnTo>
                  <a:pt x="966" y="1302"/>
                </a:lnTo>
                <a:lnTo>
                  <a:pt x="978" y="1314"/>
                </a:lnTo>
                <a:lnTo>
                  <a:pt x="990" y="1320"/>
                </a:lnTo>
                <a:lnTo>
                  <a:pt x="996" y="1320"/>
                </a:lnTo>
                <a:lnTo>
                  <a:pt x="1002" y="1326"/>
                </a:lnTo>
                <a:lnTo>
                  <a:pt x="1008" y="1338"/>
                </a:lnTo>
                <a:lnTo>
                  <a:pt x="1014" y="1344"/>
                </a:lnTo>
                <a:lnTo>
                  <a:pt x="1080" y="1344"/>
                </a:lnTo>
                <a:lnTo>
                  <a:pt x="1092" y="1356"/>
                </a:lnTo>
                <a:lnTo>
                  <a:pt x="1098" y="1368"/>
                </a:lnTo>
                <a:lnTo>
                  <a:pt x="1104" y="1374"/>
                </a:lnTo>
                <a:lnTo>
                  <a:pt x="1116" y="1374"/>
                </a:lnTo>
                <a:lnTo>
                  <a:pt x="1140" y="1362"/>
                </a:lnTo>
                <a:lnTo>
                  <a:pt x="1170" y="1350"/>
                </a:lnTo>
                <a:lnTo>
                  <a:pt x="1206" y="1332"/>
                </a:lnTo>
                <a:lnTo>
                  <a:pt x="1260" y="1314"/>
                </a:lnTo>
                <a:lnTo>
                  <a:pt x="1278" y="1326"/>
                </a:lnTo>
                <a:lnTo>
                  <a:pt x="1308" y="1350"/>
                </a:lnTo>
                <a:lnTo>
                  <a:pt x="1344" y="1374"/>
                </a:lnTo>
                <a:lnTo>
                  <a:pt x="1386" y="1416"/>
                </a:lnTo>
                <a:lnTo>
                  <a:pt x="1386" y="1428"/>
                </a:lnTo>
                <a:lnTo>
                  <a:pt x="1392" y="1446"/>
                </a:lnTo>
                <a:lnTo>
                  <a:pt x="1398" y="1458"/>
                </a:lnTo>
                <a:lnTo>
                  <a:pt x="1416" y="1458"/>
                </a:lnTo>
                <a:lnTo>
                  <a:pt x="1422" y="1452"/>
                </a:lnTo>
                <a:lnTo>
                  <a:pt x="1422" y="144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88" name="Malta"/>
          <p:cNvSpPr>
            <a:spLocks/>
          </p:cNvSpPr>
          <p:nvPr/>
        </p:nvSpPr>
        <p:spPr bwMode="gray">
          <a:xfrm>
            <a:off x="4414108" y="3085180"/>
            <a:ext cx="12700" cy="11113"/>
          </a:xfrm>
          <a:custGeom>
            <a:avLst/>
            <a:gdLst>
              <a:gd name="T0" fmla="*/ 2147483647 w 30"/>
              <a:gd name="T1" fmla="*/ 2147483647 h 30"/>
              <a:gd name="T2" fmla="*/ 2147483647 w 30"/>
              <a:gd name="T3" fmla="*/ 2147483647 h 30"/>
              <a:gd name="T4" fmla="*/ 2147483647 w 30"/>
              <a:gd name="T5" fmla="*/ 2147483647 h 30"/>
              <a:gd name="T6" fmla="*/ 2147483647 w 30"/>
              <a:gd name="T7" fmla="*/ 0 h 30"/>
              <a:gd name="T8" fmla="*/ 2147483647 w 30"/>
              <a:gd name="T9" fmla="*/ 0 h 30"/>
              <a:gd name="T10" fmla="*/ 0 w 30"/>
              <a:gd name="T11" fmla="*/ 2147483647 h 30"/>
              <a:gd name="T12" fmla="*/ 0 w 30"/>
              <a:gd name="T13" fmla="*/ 2147483647 h 30"/>
              <a:gd name="T14" fmla="*/ 2147483647 w 30"/>
              <a:gd name="T15" fmla="*/ 2147483647 h 30"/>
              <a:gd name="T16" fmla="*/ 2147483647 w 30"/>
              <a:gd name="T17" fmla="*/ 2147483647 h 30"/>
              <a:gd name="T18" fmla="*/ 2147483647 w 30"/>
              <a:gd name="T19" fmla="*/ 2147483647 h 3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0"/>
              <a:gd name="T31" fmla="*/ 0 h 30"/>
              <a:gd name="T32" fmla="*/ 30 w 30"/>
              <a:gd name="T33" fmla="*/ 30 h 3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0" h="30">
                <a:moveTo>
                  <a:pt x="24" y="30"/>
                </a:moveTo>
                <a:lnTo>
                  <a:pt x="30" y="24"/>
                </a:lnTo>
                <a:lnTo>
                  <a:pt x="30" y="12"/>
                </a:lnTo>
                <a:lnTo>
                  <a:pt x="18" y="0"/>
                </a:lnTo>
                <a:lnTo>
                  <a:pt x="6" y="0"/>
                </a:lnTo>
                <a:lnTo>
                  <a:pt x="0" y="6"/>
                </a:lnTo>
                <a:lnTo>
                  <a:pt x="0" y="18"/>
                </a:lnTo>
                <a:lnTo>
                  <a:pt x="6" y="24"/>
                </a:lnTo>
                <a:lnTo>
                  <a:pt x="18" y="30"/>
                </a:lnTo>
                <a:lnTo>
                  <a:pt x="24" y="3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9" name="Mauritania"/>
          <p:cNvSpPr>
            <a:spLocks/>
          </p:cNvSpPr>
          <p:nvPr/>
        </p:nvSpPr>
        <p:spPr bwMode="gray">
          <a:xfrm>
            <a:off x="3544158" y="3377280"/>
            <a:ext cx="346075" cy="404813"/>
          </a:xfrm>
          <a:custGeom>
            <a:avLst/>
            <a:gdLst>
              <a:gd name="T0" fmla="*/ 2147483647 w 858"/>
              <a:gd name="T1" fmla="*/ 2147483647 h 1002"/>
              <a:gd name="T2" fmla="*/ 2147483647 w 858"/>
              <a:gd name="T3" fmla="*/ 2147483647 h 1002"/>
              <a:gd name="T4" fmla="*/ 2147483647 w 858"/>
              <a:gd name="T5" fmla="*/ 2147483647 h 1002"/>
              <a:gd name="T6" fmla="*/ 2147483647 w 858"/>
              <a:gd name="T7" fmla="*/ 2147483647 h 1002"/>
              <a:gd name="T8" fmla="*/ 2147483647 w 858"/>
              <a:gd name="T9" fmla="*/ 2147483647 h 1002"/>
              <a:gd name="T10" fmla="*/ 2147483647 w 858"/>
              <a:gd name="T11" fmla="*/ 2147483647 h 1002"/>
              <a:gd name="T12" fmla="*/ 2147483647 w 858"/>
              <a:gd name="T13" fmla="*/ 2147483647 h 1002"/>
              <a:gd name="T14" fmla="*/ 2147483647 w 858"/>
              <a:gd name="T15" fmla="*/ 2147483647 h 1002"/>
              <a:gd name="T16" fmla="*/ 2147483647 w 858"/>
              <a:gd name="T17" fmla="*/ 2147483647 h 1002"/>
              <a:gd name="T18" fmla="*/ 2147483647 w 858"/>
              <a:gd name="T19" fmla="*/ 2147483647 h 1002"/>
              <a:gd name="T20" fmla="*/ 2147483647 w 858"/>
              <a:gd name="T21" fmla="*/ 2147483647 h 1002"/>
              <a:gd name="T22" fmla="*/ 2147483647 w 858"/>
              <a:gd name="T23" fmla="*/ 2147483647 h 1002"/>
              <a:gd name="T24" fmla="*/ 2147483647 w 858"/>
              <a:gd name="T25" fmla="*/ 2147483647 h 1002"/>
              <a:gd name="T26" fmla="*/ 2147483647 w 858"/>
              <a:gd name="T27" fmla="*/ 2147483647 h 1002"/>
              <a:gd name="T28" fmla="*/ 2147483647 w 858"/>
              <a:gd name="T29" fmla="*/ 2147483647 h 1002"/>
              <a:gd name="T30" fmla="*/ 2147483647 w 858"/>
              <a:gd name="T31" fmla="*/ 2147483647 h 1002"/>
              <a:gd name="T32" fmla="*/ 2147483647 w 858"/>
              <a:gd name="T33" fmla="*/ 2147483647 h 1002"/>
              <a:gd name="T34" fmla="*/ 2147483647 w 858"/>
              <a:gd name="T35" fmla="*/ 2147483647 h 1002"/>
              <a:gd name="T36" fmla="*/ 2147483647 w 858"/>
              <a:gd name="T37" fmla="*/ 2147483647 h 1002"/>
              <a:gd name="T38" fmla="*/ 2147483647 w 858"/>
              <a:gd name="T39" fmla="*/ 2147483647 h 1002"/>
              <a:gd name="T40" fmla="*/ 2147483647 w 858"/>
              <a:gd name="T41" fmla="*/ 2147483647 h 1002"/>
              <a:gd name="T42" fmla="*/ 2147483647 w 858"/>
              <a:gd name="T43" fmla="*/ 2147483647 h 1002"/>
              <a:gd name="T44" fmla="*/ 2147483647 w 858"/>
              <a:gd name="T45" fmla="*/ 2147483647 h 1002"/>
              <a:gd name="T46" fmla="*/ 2147483647 w 858"/>
              <a:gd name="T47" fmla="*/ 2147483647 h 1002"/>
              <a:gd name="T48" fmla="*/ 2147483647 w 858"/>
              <a:gd name="T49" fmla="*/ 2147483647 h 1002"/>
              <a:gd name="T50" fmla="*/ 2147483647 w 858"/>
              <a:gd name="T51" fmla="*/ 2147483647 h 1002"/>
              <a:gd name="T52" fmla="*/ 2147483647 w 858"/>
              <a:gd name="T53" fmla="*/ 2147483647 h 1002"/>
              <a:gd name="T54" fmla="*/ 2147483647 w 858"/>
              <a:gd name="T55" fmla="*/ 2147483647 h 1002"/>
              <a:gd name="T56" fmla="*/ 2147483647 w 858"/>
              <a:gd name="T57" fmla="*/ 2147483647 h 1002"/>
              <a:gd name="T58" fmla="*/ 2147483647 w 858"/>
              <a:gd name="T59" fmla="*/ 2147483647 h 1002"/>
              <a:gd name="T60" fmla="*/ 2147483647 w 858"/>
              <a:gd name="T61" fmla="*/ 2147483647 h 1002"/>
              <a:gd name="T62" fmla="*/ 2147483647 w 858"/>
              <a:gd name="T63" fmla="*/ 2147483647 h 1002"/>
              <a:gd name="T64" fmla="*/ 2147483647 w 858"/>
              <a:gd name="T65" fmla="*/ 2147483647 h 1002"/>
              <a:gd name="T66" fmla="*/ 2147483647 w 858"/>
              <a:gd name="T67" fmla="*/ 2147483647 h 1002"/>
              <a:gd name="T68" fmla="*/ 2147483647 w 858"/>
              <a:gd name="T69" fmla="*/ 2147483647 h 1002"/>
              <a:gd name="T70" fmla="*/ 2147483647 w 858"/>
              <a:gd name="T71" fmla="*/ 2147483647 h 1002"/>
              <a:gd name="T72" fmla="*/ 2147483647 w 858"/>
              <a:gd name="T73" fmla="*/ 2147483647 h 1002"/>
              <a:gd name="T74" fmla="*/ 2147483647 w 858"/>
              <a:gd name="T75" fmla="*/ 2147483647 h 1002"/>
              <a:gd name="T76" fmla="*/ 2147483647 w 858"/>
              <a:gd name="T77" fmla="*/ 2147483647 h 1002"/>
              <a:gd name="T78" fmla="*/ 2147483647 w 858"/>
              <a:gd name="T79" fmla="*/ 2147483647 h 1002"/>
              <a:gd name="T80" fmla="*/ 2147483647 w 858"/>
              <a:gd name="T81" fmla="*/ 2147483647 h 1002"/>
              <a:gd name="T82" fmla="*/ 2147483647 w 858"/>
              <a:gd name="T83" fmla="*/ 2147483647 h 1002"/>
              <a:gd name="T84" fmla="*/ 2147483647 w 858"/>
              <a:gd name="T85" fmla="*/ 2147483647 h 1002"/>
              <a:gd name="T86" fmla="*/ 2147483647 w 858"/>
              <a:gd name="T87" fmla="*/ 2147483647 h 1002"/>
              <a:gd name="T88" fmla="*/ 2147483647 w 858"/>
              <a:gd name="T89" fmla="*/ 2147483647 h 1002"/>
              <a:gd name="T90" fmla="*/ 2147483647 w 858"/>
              <a:gd name="T91" fmla="*/ 2147483647 h 1002"/>
              <a:gd name="T92" fmla="*/ 2147483647 w 858"/>
              <a:gd name="T93" fmla="*/ 2147483647 h 1002"/>
              <a:gd name="T94" fmla="*/ 2147483647 w 858"/>
              <a:gd name="T95" fmla="*/ 2147483647 h 1002"/>
              <a:gd name="T96" fmla="*/ 2147483647 w 858"/>
              <a:gd name="T97" fmla="*/ 2147483647 h 1002"/>
              <a:gd name="T98" fmla="*/ 0 w 858"/>
              <a:gd name="T99" fmla="*/ 2147483647 h 1002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858"/>
              <a:gd name="T151" fmla="*/ 0 h 1002"/>
              <a:gd name="T152" fmla="*/ 858 w 858"/>
              <a:gd name="T153" fmla="*/ 1002 h 1002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858" h="1002">
                <a:moveTo>
                  <a:pt x="0" y="498"/>
                </a:moveTo>
                <a:lnTo>
                  <a:pt x="18" y="498"/>
                </a:lnTo>
                <a:lnTo>
                  <a:pt x="18" y="528"/>
                </a:lnTo>
                <a:lnTo>
                  <a:pt x="24" y="534"/>
                </a:lnTo>
                <a:lnTo>
                  <a:pt x="30" y="534"/>
                </a:lnTo>
                <a:lnTo>
                  <a:pt x="30" y="528"/>
                </a:lnTo>
                <a:lnTo>
                  <a:pt x="36" y="522"/>
                </a:lnTo>
                <a:lnTo>
                  <a:pt x="48" y="558"/>
                </a:lnTo>
                <a:lnTo>
                  <a:pt x="42" y="600"/>
                </a:lnTo>
                <a:lnTo>
                  <a:pt x="30" y="600"/>
                </a:lnTo>
                <a:lnTo>
                  <a:pt x="36" y="624"/>
                </a:lnTo>
                <a:lnTo>
                  <a:pt x="24" y="630"/>
                </a:lnTo>
                <a:lnTo>
                  <a:pt x="30" y="642"/>
                </a:lnTo>
                <a:lnTo>
                  <a:pt x="36" y="648"/>
                </a:lnTo>
                <a:lnTo>
                  <a:pt x="48" y="666"/>
                </a:lnTo>
                <a:lnTo>
                  <a:pt x="60" y="690"/>
                </a:lnTo>
                <a:lnTo>
                  <a:pt x="60" y="720"/>
                </a:lnTo>
                <a:lnTo>
                  <a:pt x="54" y="738"/>
                </a:lnTo>
                <a:lnTo>
                  <a:pt x="54" y="750"/>
                </a:lnTo>
                <a:lnTo>
                  <a:pt x="48" y="756"/>
                </a:lnTo>
                <a:lnTo>
                  <a:pt x="48" y="804"/>
                </a:lnTo>
                <a:lnTo>
                  <a:pt x="42" y="816"/>
                </a:lnTo>
                <a:lnTo>
                  <a:pt x="30" y="822"/>
                </a:lnTo>
                <a:lnTo>
                  <a:pt x="24" y="840"/>
                </a:lnTo>
                <a:lnTo>
                  <a:pt x="18" y="852"/>
                </a:lnTo>
                <a:lnTo>
                  <a:pt x="18" y="864"/>
                </a:lnTo>
                <a:lnTo>
                  <a:pt x="12" y="876"/>
                </a:lnTo>
                <a:lnTo>
                  <a:pt x="12" y="906"/>
                </a:lnTo>
                <a:lnTo>
                  <a:pt x="18" y="900"/>
                </a:lnTo>
                <a:lnTo>
                  <a:pt x="36" y="864"/>
                </a:lnTo>
                <a:lnTo>
                  <a:pt x="42" y="858"/>
                </a:lnTo>
                <a:lnTo>
                  <a:pt x="54" y="852"/>
                </a:lnTo>
                <a:lnTo>
                  <a:pt x="60" y="852"/>
                </a:lnTo>
                <a:lnTo>
                  <a:pt x="66" y="858"/>
                </a:lnTo>
                <a:lnTo>
                  <a:pt x="72" y="858"/>
                </a:lnTo>
                <a:lnTo>
                  <a:pt x="84" y="852"/>
                </a:lnTo>
                <a:lnTo>
                  <a:pt x="114" y="858"/>
                </a:lnTo>
                <a:lnTo>
                  <a:pt x="114" y="840"/>
                </a:lnTo>
                <a:lnTo>
                  <a:pt x="138" y="852"/>
                </a:lnTo>
                <a:lnTo>
                  <a:pt x="162" y="852"/>
                </a:lnTo>
                <a:lnTo>
                  <a:pt x="174" y="858"/>
                </a:lnTo>
                <a:lnTo>
                  <a:pt x="180" y="858"/>
                </a:lnTo>
                <a:lnTo>
                  <a:pt x="186" y="870"/>
                </a:lnTo>
                <a:lnTo>
                  <a:pt x="198" y="882"/>
                </a:lnTo>
                <a:lnTo>
                  <a:pt x="204" y="894"/>
                </a:lnTo>
                <a:lnTo>
                  <a:pt x="216" y="888"/>
                </a:lnTo>
                <a:lnTo>
                  <a:pt x="234" y="888"/>
                </a:lnTo>
                <a:lnTo>
                  <a:pt x="240" y="894"/>
                </a:lnTo>
                <a:lnTo>
                  <a:pt x="240" y="900"/>
                </a:lnTo>
                <a:lnTo>
                  <a:pt x="246" y="912"/>
                </a:lnTo>
                <a:lnTo>
                  <a:pt x="246" y="942"/>
                </a:lnTo>
                <a:lnTo>
                  <a:pt x="264" y="942"/>
                </a:lnTo>
                <a:lnTo>
                  <a:pt x="270" y="948"/>
                </a:lnTo>
                <a:lnTo>
                  <a:pt x="270" y="972"/>
                </a:lnTo>
                <a:lnTo>
                  <a:pt x="300" y="978"/>
                </a:lnTo>
                <a:lnTo>
                  <a:pt x="312" y="1002"/>
                </a:lnTo>
                <a:lnTo>
                  <a:pt x="330" y="1002"/>
                </a:lnTo>
                <a:lnTo>
                  <a:pt x="342" y="996"/>
                </a:lnTo>
                <a:lnTo>
                  <a:pt x="348" y="996"/>
                </a:lnTo>
                <a:lnTo>
                  <a:pt x="348" y="948"/>
                </a:lnTo>
                <a:lnTo>
                  <a:pt x="360" y="936"/>
                </a:lnTo>
                <a:lnTo>
                  <a:pt x="378" y="936"/>
                </a:lnTo>
                <a:lnTo>
                  <a:pt x="402" y="960"/>
                </a:lnTo>
                <a:lnTo>
                  <a:pt x="408" y="972"/>
                </a:lnTo>
                <a:lnTo>
                  <a:pt x="420" y="948"/>
                </a:lnTo>
                <a:lnTo>
                  <a:pt x="456" y="948"/>
                </a:lnTo>
                <a:lnTo>
                  <a:pt x="462" y="954"/>
                </a:lnTo>
                <a:lnTo>
                  <a:pt x="492" y="954"/>
                </a:lnTo>
                <a:lnTo>
                  <a:pt x="504" y="948"/>
                </a:lnTo>
                <a:lnTo>
                  <a:pt x="510" y="948"/>
                </a:lnTo>
                <a:lnTo>
                  <a:pt x="510" y="936"/>
                </a:lnTo>
                <a:lnTo>
                  <a:pt x="516" y="930"/>
                </a:lnTo>
                <a:lnTo>
                  <a:pt x="522" y="930"/>
                </a:lnTo>
                <a:lnTo>
                  <a:pt x="522" y="942"/>
                </a:lnTo>
                <a:lnTo>
                  <a:pt x="786" y="942"/>
                </a:lnTo>
                <a:lnTo>
                  <a:pt x="798" y="900"/>
                </a:lnTo>
                <a:lnTo>
                  <a:pt x="804" y="894"/>
                </a:lnTo>
                <a:lnTo>
                  <a:pt x="804" y="882"/>
                </a:lnTo>
                <a:lnTo>
                  <a:pt x="786" y="864"/>
                </a:lnTo>
                <a:lnTo>
                  <a:pt x="780" y="864"/>
                </a:lnTo>
                <a:lnTo>
                  <a:pt x="738" y="174"/>
                </a:lnTo>
                <a:lnTo>
                  <a:pt x="858" y="180"/>
                </a:lnTo>
                <a:lnTo>
                  <a:pt x="600" y="0"/>
                </a:lnTo>
                <a:lnTo>
                  <a:pt x="594" y="48"/>
                </a:lnTo>
                <a:lnTo>
                  <a:pt x="588" y="54"/>
                </a:lnTo>
                <a:lnTo>
                  <a:pt x="588" y="90"/>
                </a:lnTo>
                <a:lnTo>
                  <a:pt x="366" y="96"/>
                </a:lnTo>
                <a:lnTo>
                  <a:pt x="366" y="108"/>
                </a:lnTo>
                <a:lnTo>
                  <a:pt x="354" y="114"/>
                </a:lnTo>
                <a:lnTo>
                  <a:pt x="354" y="306"/>
                </a:lnTo>
                <a:lnTo>
                  <a:pt x="348" y="312"/>
                </a:lnTo>
                <a:lnTo>
                  <a:pt x="336" y="318"/>
                </a:lnTo>
                <a:lnTo>
                  <a:pt x="306" y="318"/>
                </a:lnTo>
                <a:lnTo>
                  <a:pt x="282" y="330"/>
                </a:lnTo>
                <a:lnTo>
                  <a:pt x="276" y="342"/>
                </a:lnTo>
                <a:lnTo>
                  <a:pt x="276" y="360"/>
                </a:lnTo>
                <a:lnTo>
                  <a:pt x="282" y="372"/>
                </a:lnTo>
                <a:lnTo>
                  <a:pt x="276" y="474"/>
                </a:lnTo>
                <a:lnTo>
                  <a:pt x="0" y="474"/>
                </a:lnTo>
                <a:lnTo>
                  <a:pt x="0" y="49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0" name="Mali"/>
          <p:cNvSpPr>
            <a:spLocks/>
          </p:cNvSpPr>
          <p:nvPr/>
        </p:nvSpPr>
        <p:spPr bwMode="gray">
          <a:xfrm>
            <a:off x="3671158" y="3447130"/>
            <a:ext cx="466725" cy="484188"/>
          </a:xfrm>
          <a:custGeom>
            <a:avLst/>
            <a:gdLst>
              <a:gd name="T0" fmla="*/ 2147483647 w 1164"/>
              <a:gd name="T1" fmla="*/ 2147483647 h 1200"/>
              <a:gd name="T2" fmla="*/ 2147483647 w 1164"/>
              <a:gd name="T3" fmla="*/ 2147483647 h 1200"/>
              <a:gd name="T4" fmla="*/ 2147483647 w 1164"/>
              <a:gd name="T5" fmla="*/ 2147483647 h 1200"/>
              <a:gd name="T6" fmla="*/ 2147483647 w 1164"/>
              <a:gd name="T7" fmla="*/ 2147483647 h 1200"/>
              <a:gd name="T8" fmla="*/ 2147483647 w 1164"/>
              <a:gd name="T9" fmla="*/ 2147483647 h 1200"/>
              <a:gd name="T10" fmla="*/ 2147483647 w 1164"/>
              <a:gd name="T11" fmla="*/ 2147483647 h 1200"/>
              <a:gd name="T12" fmla="*/ 2147483647 w 1164"/>
              <a:gd name="T13" fmla="*/ 2147483647 h 1200"/>
              <a:gd name="T14" fmla="*/ 2147483647 w 1164"/>
              <a:gd name="T15" fmla="*/ 2147483647 h 1200"/>
              <a:gd name="T16" fmla="*/ 2147483647 w 1164"/>
              <a:gd name="T17" fmla="*/ 2147483647 h 1200"/>
              <a:gd name="T18" fmla="*/ 2147483647 w 1164"/>
              <a:gd name="T19" fmla="*/ 2147483647 h 1200"/>
              <a:gd name="T20" fmla="*/ 2147483647 w 1164"/>
              <a:gd name="T21" fmla="*/ 2147483647 h 1200"/>
              <a:gd name="T22" fmla="*/ 2147483647 w 1164"/>
              <a:gd name="T23" fmla="*/ 2147483647 h 1200"/>
              <a:gd name="T24" fmla="*/ 2147483647 w 1164"/>
              <a:gd name="T25" fmla="*/ 2147483647 h 1200"/>
              <a:gd name="T26" fmla="*/ 2147483647 w 1164"/>
              <a:gd name="T27" fmla="*/ 2147483647 h 1200"/>
              <a:gd name="T28" fmla="*/ 2147483647 w 1164"/>
              <a:gd name="T29" fmla="*/ 2147483647 h 1200"/>
              <a:gd name="T30" fmla="*/ 2147483647 w 1164"/>
              <a:gd name="T31" fmla="*/ 2147483647 h 1200"/>
              <a:gd name="T32" fmla="*/ 2147483647 w 1164"/>
              <a:gd name="T33" fmla="*/ 2147483647 h 1200"/>
              <a:gd name="T34" fmla="*/ 2147483647 w 1164"/>
              <a:gd name="T35" fmla="*/ 2147483647 h 1200"/>
              <a:gd name="T36" fmla="*/ 2147483647 w 1164"/>
              <a:gd name="T37" fmla="*/ 2147483647 h 1200"/>
              <a:gd name="T38" fmla="*/ 2147483647 w 1164"/>
              <a:gd name="T39" fmla="*/ 2147483647 h 1200"/>
              <a:gd name="T40" fmla="*/ 2147483647 w 1164"/>
              <a:gd name="T41" fmla="*/ 2147483647 h 1200"/>
              <a:gd name="T42" fmla="*/ 2147483647 w 1164"/>
              <a:gd name="T43" fmla="*/ 2147483647 h 1200"/>
              <a:gd name="T44" fmla="*/ 2147483647 w 1164"/>
              <a:gd name="T45" fmla="*/ 2147483647 h 1200"/>
              <a:gd name="T46" fmla="*/ 2147483647 w 1164"/>
              <a:gd name="T47" fmla="*/ 2147483647 h 1200"/>
              <a:gd name="T48" fmla="*/ 2147483647 w 1164"/>
              <a:gd name="T49" fmla="*/ 2147483647 h 1200"/>
              <a:gd name="T50" fmla="*/ 2147483647 w 1164"/>
              <a:gd name="T51" fmla="*/ 2147483647 h 1200"/>
              <a:gd name="T52" fmla="*/ 2147483647 w 1164"/>
              <a:gd name="T53" fmla="*/ 2147483647 h 1200"/>
              <a:gd name="T54" fmla="*/ 0 w 1164"/>
              <a:gd name="T55" fmla="*/ 2147483647 h 1200"/>
              <a:gd name="T56" fmla="*/ 2147483647 w 1164"/>
              <a:gd name="T57" fmla="*/ 2147483647 h 1200"/>
              <a:gd name="T58" fmla="*/ 2147483647 w 1164"/>
              <a:gd name="T59" fmla="*/ 2147483647 h 1200"/>
              <a:gd name="T60" fmla="*/ 2147483647 w 1164"/>
              <a:gd name="T61" fmla="*/ 2147483647 h 1200"/>
              <a:gd name="T62" fmla="*/ 2147483647 w 1164"/>
              <a:gd name="T63" fmla="*/ 2147483647 h 1200"/>
              <a:gd name="T64" fmla="*/ 2147483647 w 1164"/>
              <a:gd name="T65" fmla="*/ 2147483647 h 1200"/>
              <a:gd name="T66" fmla="*/ 2147483647 w 1164"/>
              <a:gd name="T67" fmla="*/ 2147483647 h 1200"/>
              <a:gd name="T68" fmla="*/ 2147483647 w 1164"/>
              <a:gd name="T69" fmla="*/ 2147483647 h 1200"/>
              <a:gd name="T70" fmla="*/ 2147483647 w 1164"/>
              <a:gd name="T71" fmla="*/ 2147483647 h 1200"/>
              <a:gd name="T72" fmla="*/ 2147483647 w 1164"/>
              <a:gd name="T73" fmla="*/ 2147483647 h 1200"/>
              <a:gd name="T74" fmla="*/ 2147483647 w 1164"/>
              <a:gd name="T75" fmla="*/ 2147483647 h 1200"/>
              <a:gd name="T76" fmla="*/ 2147483647 w 1164"/>
              <a:gd name="T77" fmla="*/ 2147483647 h 1200"/>
              <a:gd name="T78" fmla="*/ 2147483647 w 1164"/>
              <a:gd name="T79" fmla="*/ 2147483647 h 1200"/>
              <a:gd name="T80" fmla="*/ 2147483647 w 1164"/>
              <a:gd name="T81" fmla="*/ 2147483647 h 1200"/>
              <a:gd name="T82" fmla="*/ 2147483647 w 1164"/>
              <a:gd name="T83" fmla="*/ 2147483647 h 1200"/>
              <a:gd name="T84" fmla="*/ 2147483647 w 1164"/>
              <a:gd name="T85" fmla="*/ 2147483647 h 1200"/>
              <a:gd name="T86" fmla="*/ 2147483647 w 1164"/>
              <a:gd name="T87" fmla="*/ 2147483647 h 1200"/>
              <a:gd name="T88" fmla="*/ 2147483647 w 1164"/>
              <a:gd name="T89" fmla="*/ 2147483647 h 1200"/>
              <a:gd name="T90" fmla="*/ 2147483647 w 1164"/>
              <a:gd name="T91" fmla="*/ 2147483647 h 1200"/>
              <a:gd name="T92" fmla="*/ 2147483647 w 1164"/>
              <a:gd name="T93" fmla="*/ 2147483647 h 1200"/>
              <a:gd name="T94" fmla="*/ 2147483647 w 1164"/>
              <a:gd name="T95" fmla="*/ 2147483647 h 1200"/>
              <a:gd name="T96" fmla="*/ 2147483647 w 1164"/>
              <a:gd name="T97" fmla="*/ 2147483647 h 1200"/>
              <a:gd name="T98" fmla="*/ 2147483647 w 1164"/>
              <a:gd name="T99" fmla="*/ 2147483647 h 1200"/>
              <a:gd name="T100" fmla="*/ 2147483647 w 1164"/>
              <a:gd name="T101" fmla="*/ 2147483647 h 1200"/>
              <a:gd name="T102" fmla="*/ 2147483647 w 1164"/>
              <a:gd name="T103" fmla="*/ 2147483647 h 1200"/>
              <a:gd name="T104" fmla="*/ 2147483647 w 1164"/>
              <a:gd name="T105" fmla="*/ 2147483647 h 1200"/>
              <a:gd name="T106" fmla="*/ 2147483647 w 1164"/>
              <a:gd name="T107" fmla="*/ 2147483647 h 120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164"/>
              <a:gd name="T163" fmla="*/ 0 h 1200"/>
              <a:gd name="T164" fmla="*/ 1164 w 1164"/>
              <a:gd name="T165" fmla="*/ 1200 h 120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164" h="1200">
                <a:moveTo>
                  <a:pt x="612" y="954"/>
                </a:moveTo>
                <a:lnTo>
                  <a:pt x="636" y="948"/>
                </a:lnTo>
                <a:lnTo>
                  <a:pt x="636" y="912"/>
                </a:lnTo>
                <a:lnTo>
                  <a:pt x="654" y="912"/>
                </a:lnTo>
                <a:lnTo>
                  <a:pt x="654" y="906"/>
                </a:lnTo>
                <a:lnTo>
                  <a:pt x="660" y="900"/>
                </a:lnTo>
                <a:lnTo>
                  <a:pt x="666" y="888"/>
                </a:lnTo>
                <a:lnTo>
                  <a:pt x="678" y="882"/>
                </a:lnTo>
                <a:lnTo>
                  <a:pt x="684" y="870"/>
                </a:lnTo>
                <a:lnTo>
                  <a:pt x="690" y="864"/>
                </a:lnTo>
                <a:lnTo>
                  <a:pt x="696" y="864"/>
                </a:lnTo>
                <a:lnTo>
                  <a:pt x="708" y="876"/>
                </a:lnTo>
                <a:lnTo>
                  <a:pt x="720" y="876"/>
                </a:lnTo>
                <a:lnTo>
                  <a:pt x="720" y="870"/>
                </a:lnTo>
                <a:lnTo>
                  <a:pt x="726" y="864"/>
                </a:lnTo>
                <a:lnTo>
                  <a:pt x="726" y="846"/>
                </a:lnTo>
                <a:lnTo>
                  <a:pt x="750" y="846"/>
                </a:lnTo>
                <a:lnTo>
                  <a:pt x="768" y="822"/>
                </a:lnTo>
                <a:lnTo>
                  <a:pt x="792" y="822"/>
                </a:lnTo>
                <a:lnTo>
                  <a:pt x="810" y="804"/>
                </a:lnTo>
                <a:lnTo>
                  <a:pt x="858" y="804"/>
                </a:lnTo>
                <a:lnTo>
                  <a:pt x="882" y="816"/>
                </a:lnTo>
                <a:lnTo>
                  <a:pt x="930" y="804"/>
                </a:lnTo>
                <a:lnTo>
                  <a:pt x="954" y="786"/>
                </a:lnTo>
                <a:lnTo>
                  <a:pt x="1020" y="792"/>
                </a:lnTo>
                <a:lnTo>
                  <a:pt x="1020" y="774"/>
                </a:lnTo>
                <a:lnTo>
                  <a:pt x="1068" y="780"/>
                </a:lnTo>
                <a:lnTo>
                  <a:pt x="1080" y="774"/>
                </a:lnTo>
                <a:lnTo>
                  <a:pt x="1104" y="774"/>
                </a:lnTo>
                <a:lnTo>
                  <a:pt x="1122" y="768"/>
                </a:lnTo>
                <a:lnTo>
                  <a:pt x="1134" y="762"/>
                </a:lnTo>
                <a:lnTo>
                  <a:pt x="1140" y="750"/>
                </a:lnTo>
                <a:lnTo>
                  <a:pt x="1140" y="732"/>
                </a:lnTo>
                <a:lnTo>
                  <a:pt x="1146" y="720"/>
                </a:lnTo>
                <a:lnTo>
                  <a:pt x="1146" y="708"/>
                </a:lnTo>
                <a:lnTo>
                  <a:pt x="1164" y="684"/>
                </a:lnTo>
                <a:lnTo>
                  <a:pt x="1164" y="480"/>
                </a:lnTo>
                <a:lnTo>
                  <a:pt x="1140" y="480"/>
                </a:lnTo>
                <a:lnTo>
                  <a:pt x="1134" y="486"/>
                </a:lnTo>
                <a:lnTo>
                  <a:pt x="1104" y="486"/>
                </a:lnTo>
                <a:lnTo>
                  <a:pt x="1092" y="480"/>
                </a:lnTo>
                <a:lnTo>
                  <a:pt x="1086" y="474"/>
                </a:lnTo>
                <a:lnTo>
                  <a:pt x="1086" y="468"/>
                </a:lnTo>
                <a:lnTo>
                  <a:pt x="1104" y="450"/>
                </a:lnTo>
                <a:lnTo>
                  <a:pt x="1104" y="432"/>
                </a:lnTo>
                <a:lnTo>
                  <a:pt x="1092" y="408"/>
                </a:lnTo>
                <a:lnTo>
                  <a:pt x="1080" y="402"/>
                </a:lnTo>
                <a:lnTo>
                  <a:pt x="1050" y="402"/>
                </a:lnTo>
                <a:lnTo>
                  <a:pt x="1044" y="408"/>
                </a:lnTo>
                <a:lnTo>
                  <a:pt x="1038" y="408"/>
                </a:lnTo>
                <a:lnTo>
                  <a:pt x="1032" y="378"/>
                </a:lnTo>
                <a:lnTo>
                  <a:pt x="996" y="378"/>
                </a:lnTo>
                <a:lnTo>
                  <a:pt x="984" y="366"/>
                </a:lnTo>
                <a:lnTo>
                  <a:pt x="984" y="348"/>
                </a:lnTo>
                <a:lnTo>
                  <a:pt x="978" y="342"/>
                </a:lnTo>
                <a:lnTo>
                  <a:pt x="954" y="342"/>
                </a:lnTo>
                <a:lnTo>
                  <a:pt x="954" y="318"/>
                </a:lnTo>
                <a:lnTo>
                  <a:pt x="546" y="6"/>
                </a:lnTo>
                <a:lnTo>
                  <a:pt x="426" y="0"/>
                </a:lnTo>
                <a:lnTo>
                  <a:pt x="468" y="690"/>
                </a:lnTo>
                <a:lnTo>
                  <a:pt x="474" y="690"/>
                </a:lnTo>
                <a:lnTo>
                  <a:pt x="492" y="708"/>
                </a:lnTo>
                <a:lnTo>
                  <a:pt x="492" y="720"/>
                </a:lnTo>
                <a:lnTo>
                  <a:pt x="486" y="726"/>
                </a:lnTo>
                <a:lnTo>
                  <a:pt x="474" y="768"/>
                </a:lnTo>
                <a:lnTo>
                  <a:pt x="210" y="768"/>
                </a:lnTo>
                <a:lnTo>
                  <a:pt x="210" y="756"/>
                </a:lnTo>
                <a:lnTo>
                  <a:pt x="204" y="756"/>
                </a:lnTo>
                <a:lnTo>
                  <a:pt x="198" y="762"/>
                </a:lnTo>
                <a:lnTo>
                  <a:pt x="198" y="774"/>
                </a:lnTo>
                <a:lnTo>
                  <a:pt x="192" y="774"/>
                </a:lnTo>
                <a:lnTo>
                  <a:pt x="180" y="780"/>
                </a:lnTo>
                <a:lnTo>
                  <a:pt x="150" y="780"/>
                </a:lnTo>
                <a:lnTo>
                  <a:pt x="144" y="774"/>
                </a:lnTo>
                <a:lnTo>
                  <a:pt x="108" y="774"/>
                </a:lnTo>
                <a:lnTo>
                  <a:pt x="96" y="798"/>
                </a:lnTo>
                <a:lnTo>
                  <a:pt x="90" y="786"/>
                </a:lnTo>
                <a:lnTo>
                  <a:pt x="66" y="762"/>
                </a:lnTo>
                <a:lnTo>
                  <a:pt x="48" y="762"/>
                </a:lnTo>
                <a:lnTo>
                  <a:pt x="36" y="774"/>
                </a:lnTo>
                <a:lnTo>
                  <a:pt x="36" y="822"/>
                </a:lnTo>
                <a:lnTo>
                  <a:pt x="30" y="822"/>
                </a:lnTo>
                <a:lnTo>
                  <a:pt x="18" y="828"/>
                </a:lnTo>
                <a:lnTo>
                  <a:pt x="0" y="828"/>
                </a:lnTo>
                <a:lnTo>
                  <a:pt x="0" y="852"/>
                </a:lnTo>
                <a:lnTo>
                  <a:pt x="12" y="870"/>
                </a:lnTo>
                <a:lnTo>
                  <a:pt x="12" y="876"/>
                </a:lnTo>
                <a:lnTo>
                  <a:pt x="24" y="888"/>
                </a:lnTo>
                <a:lnTo>
                  <a:pt x="24" y="906"/>
                </a:lnTo>
                <a:lnTo>
                  <a:pt x="18" y="912"/>
                </a:lnTo>
                <a:lnTo>
                  <a:pt x="18" y="936"/>
                </a:lnTo>
                <a:lnTo>
                  <a:pt x="24" y="942"/>
                </a:lnTo>
                <a:lnTo>
                  <a:pt x="36" y="942"/>
                </a:lnTo>
                <a:lnTo>
                  <a:pt x="36" y="936"/>
                </a:lnTo>
                <a:lnTo>
                  <a:pt x="42" y="936"/>
                </a:lnTo>
                <a:lnTo>
                  <a:pt x="48" y="942"/>
                </a:lnTo>
                <a:lnTo>
                  <a:pt x="54" y="954"/>
                </a:lnTo>
                <a:lnTo>
                  <a:pt x="54" y="1032"/>
                </a:lnTo>
                <a:lnTo>
                  <a:pt x="60" y="1044"/>
                </a:lnTo>
                <a:lnTo>
                  <a:pt x="60" y="1050"/>
                </a:lnTo>
                <a:lnTo>
                  <a:pt x="66" y="1056"/>
                </a:lnTo>
                <a:lnTo>
                  <a:pt x="72" y="1050"/>
                </a:lnTo>
                <a:lnTo>
                  <a:pt x="78" y="1038"/>
                </a:lnTo>
                <a:lnTo>
                  <a:pt x="90" y="1026"/>
                </a:lnTo>
                <a:lnTo>
                  <a:pt x="102" y="1038"/>
                </a:lnTo>
                <a:lnTo>
                  <a:pt x="108" y="1050"/>
                </a:lnTo>
                <a:lnTo>
                  <a:pt x="108" y="1062"/>
                </a:lnTo>
                <a:lnTo>
                  <a:pt x="114" y="1050"/>
                </a:lnTo>
                <a:lnTo>
                  <a:pt x="126" y="1038"/>
                </a:lnTo>
                <a:lnTo>
                  <a:pt x="132" y="1026"/>
                </a:lnTo>
                <a:lnTo>
                  <a:pt x="138" y="1026"/>
                </a:lnTo>
                <a:lnTo>
                  <a:pt x="144" y="1032"/>
                </a:lnTo>
                <a:lnTo>
                  <a:pt x="150" y="1032"/>
                </a:lnTo>
                <a:lnTo>
                  <a:pt x="162" y="1038"/>
                </a:lnTo>
                <a:lnTo>
                  <a:pt x="168" y="1044"/>
                </a:lnTo>
                <a:lnTo>
                  <a:pt x="180" y="1050"/>
                </a:lnTo>
                <a:lnTo>
                  <a:pt x="198" y="1032"/>
                </a:lnTo>
                <a:lnTo>
                  <a:pt x="198" y="1014"/>
                </a:lnTo>
                <a:lnTo>
                  <a:pt x="204" y="1008"/>
                </a:lnTo>
                <a:lnTo>
                  <a:pt x="216" y="1008"/>
                </a:lnTo>
                <a:lnTo>
                  <a:pt x="228" y="1014"/>
                </a:lnTo>
                <a:lnTo>
                  <a:pt x="228" y="1032"/>
                </a:lnTo>
                <a:lnTo>
                  <a:pt x="246" y="1044"/>
                </a:lnTo>
                <a:lnTo>
                  <a:pt x="234" y="1074"/>
                </a:lnTo>
                <a:lnTo>
                  <a:pt x="270" y="1092"/>
                </a:lnTo>
                <a:lnTo>
                  <a:pt x="246" y="1128"/>
                </a:lnTo>
                <a:lnTo>
                  <a:pt x="270" y="1128"/>
                </a:lnTo>
                <a:lnTo>
                  <a:pt x="270" y="1164"/>
                </a:lnTo>
                <a:lnTo>
                  <a:pt x="300" y="1194"/>
                </a:lnTo>
                <a:lnTo>
                  <a:pt x="312" y="1200"/>
                </a:lnTo>
                <a:lnTo>
                  <a:pt x="312" y="1182"/>
                </a:lnTo>
                <a:lnTo>
                  <a:pt x="318" y="1176"/>
                </a:lnTo>
                <a:lnTo>
                  <a:pt x="330" y="1176"/>
                </a:lnTo>
                <a:lnTo>
                  <a:pt x="348" y="1182"/>
                </a:lnTo>
                <a:lnTo>
                  <a:pt x="366" y="1200"/>
                </a:lnTo>
                <a:lnTo>
                  <a:pt x="372" y="1182"/>
                </a:lnTo>
                <a:lnTo>
                  <a:pt x="390" y="1182"/>
                </a:lnTo>
                <a:lnTo>
                  <a:pt x="396" y="1158"/>
                </a:lnTo>
                <a:lnTo>
                  <a:pt x="408" y="1176"/>
                </a:lnTo>
                <a:lnTo>
                  <a:pt x="420" y="1152"/>
                </a:lnTo>
                <a:lnTo>
                  <a:pt x="420" y="1188"/>
                </a:lnTo>
                <a:lnTo>
                  <a:pt x="444" y="1194"/>
                </a:lnTo>
                <a:lnTo>
                  <a:pt x="450" y="1188"/>
                </a:lnTo>
                <a:lnTo>
                  <a:pt x="456" y="1176"/>
                </a:lnTo>
                <a:lnTo>
                  <a:pt x="462" y="1170"/>
                </a:lnTo>
                <a:lnTo>
                  <a:pt x="474" y="1170"/>
                </a:lnTo>
                <a:lnTo>
                  <a:pt x="468" y="1116"/>
                </a:lnTo>
                <a:lnTo>
                  <a:pt x="492" y="1116"/>
                </a:lnTo>
                <a:lnTo>
                  <a:pt x="504" y="1092"/>
                </a:lnTo>
                <a:lnTo>
                  <a:pt x="480" y="1062"/>
                </a:lnTo>
                <a:lnTo>
                  <a:pt x="498" y="1050"/>
                </a:lnTo>
                <a:lnTo>
                  <a:pt x="504" y="1050"/>
                </a:lnTo>
                <a:lnTo>
                  <a:pt x="510" y="1044"/>
                </a:lnTo>
                <a:lnTo>
                  <a:pt x="546" y="1044"/>
                </a:lnTo>
                <a:lnTo>
                  <a:pt x="546" y="1032"/>
                </a:lnTo>
                <a:lnTo>
                  <a:pt x="540" y="1026"/>
                </a:lnTo>
                <a:lnTo>
                  <a:pt x="546" y="1026"/>
                </a:lnTo>
                <a:lnTo>
                  <a:pt x="552" y="1020"/>
                </a:lnTo>
                <a:lnTo>
                  <a:pt x="552" y="990"/>
                </a:lnTo>
                <a:lnTo>
                  <a:pt x="570" y="990"/>
                </a:lnTo>
                <a:lnTo>
                  <a:pt x="570" y="960"/>
                </a:lnTo>
                <a:lnTo>
                  <a:pt x="564" y="954"/>
                </a:lnTo>
                <a:lnTo>
                  <a:pt x="582" y="924"/>
                </a:lnTo>
                <a:lnTo>
                  <a:pt x="612" y="95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1" name="Malaysia"/>
          <p:cNvSpPr>
            <a:spLocks/>
          </p:cNvSpPr>
          <p:nvPr/>
        </p:nvSpPr>
        <p:spPr bwMode="gray">
          <a:xfrm>
            <a:off x="6876321" y="4040855"/>
            <a:ext cx="123825" cy="176213"/>
          </a:xfrm>
          <a:custGeom>
            <a:avLst/>
            <a:gdLst>
              <a:gd name="T0" fmla="*/ 2147483647 w 306"/>
              <a:gd name="T1" fmla="*/ 2147483647 h 438"/>
              <a:gd name="T2" fmla="*/ 2147483647 w 306"/>
              <a:gd name="T3" fmla="*/ 2147483647 h 438"/>
              <a:gd name="T4" fmla="*/ 2147483647 w 306"/>
              <a:gd name="T5" fmla="*/ 2147483647 h 438"/>
              <a:gd name="T6" fmla="*/ 2147483647 w 306"/>
              <a:gd name="T7" fmla="*/ 2147483647 h 438"/>
              <a:gd name="T8" fmla="*/ 2147483647 w 306"/>
              <a:gd name="T9" fmla="*/ 2147483647 h 438"/>
              <a:gd name="T10" fmla="*/ 2147483647 w 306"/>
              <a:gd name="T11" fmla="*/ 2147483647 h 438"/>
              <a:gd name="T12" fmla="*/ 2147483647 w 306"/>
              <a:gd name="T13" fmla="*/ 2147483647 h 438"/>
              <a:gd name="T14" fmla="*/ 2147483647 w 306"/>
              <a:gd name="T15" fmla="*/ 2147483647 h 438"/>
              <a:gd name="T16" fmla="*/ 2147483647 w 306"/>
              <a:gd name="T17" fmla="*/ 2147483647 h 438"/>
              <a:gd name="T18" fmla="*/ 2147483647 w 306"/>
              <a:gd name="T19" fmla="*/ 2147483647 h 438"/>
              <a:gd name="T20" fmla="*/ 2147483647 w 306"/>
              <a:gd name="T21" fmla="*/ 2147483647 h 438"/>
              <a:gd name="T22" fmla="*/ 2147483647 w 306"/>
              <a:gd name="T23" fmla="*/ 2147483647 h 438"/>
              <a:gd name="T24" fmla="*/ 2147483647 w 306"/>
              <a:gd name="T25" fmla="*/ 2147483647 h 438"/>
              <a:gd name="T26" fmla="*/ 2147483647 w 306"/>
              <a:gd name="T27" fmla="*/ 2147483647 h 438"/>
              <a:gd name="T28" fmla="*/ 2147483647 w 306"/>
              <a:gd name="T29" fmla="*/ 2147483647 h 438"/>
              <a:gd name="T30" fmla="*/ 2147483647 w 306"/>
              <a:gd name="T31" fmla="*/ 2147483647 h 438"/>
              <a:gd name="T32" fmla="*/ 2147483647 w 306"/>
              <a:gd name="T33" fmla="*/ 2147483647 h 438"/>
              <a:gd name="T34" fmla="*/ 2147483647 w 306"/>
              <a:gd name="T35" fmla="*/ 2147483647 h 438"/>
              <a:gd name="T36" fmla="*/ 2147483647 w 306"/>
              <a:gd name="T37" fmla="*/ 2147483647 h 438"/>
              <a:gd name="T38" fmla="*/ 2147483647 w 306"/>
              <a:gd name="T39" fmla="*/ 2147483647 h 438"/>
              <a:gd name="T40" fmla="*/ 2147483647 w 306"/>
              <a:gd name="T41" fmla="*/ 2147483647 h 438"/>
              <a:gd name="T42" fmla="*/ 2147483647 w 306"/>
              <a:gd name="T43" fmla="*/ 2147483647 h 438"/>
              <a:gd name="T44" fmla="*/ 2147483647 w 306"/>
              <a:gd name="T45" fmla="*/ 2147483647 h 438"/>
              <a:gd name="T46" fmla="*/ 2147483647 w 306"/>
              <a:gd name="T47" fmla="*/ 2147483647 h 438"/>
              <a:gd name="T48" fmla="*/ 2147483647 w 306"/>
              <a:gd name="T49" fmla="*/ 2147483647 h 438"/>
              <a:gd name="T50" fmla="*/ 2147483647 w 306"/>
              <a:gd name="T51" fmla="*/ 2147483647 h 438"/>
              <a:gd name="T52" fmla="*/ 2147483647 w 306"/>
              <a:gd name="T53" fmla="*/ 2147483647 h 438"/>
              <a:gd name="T54" fmla="*/ 2147483647 w 306"/>
              <a:gd name="T55" fmla="*/ 2147483647 h 438"/>
              <a:gd name="T56" fmla="*/ 2147483647 w 306"/>
              <a:gd name="T57" fmla="*/ 2147483647 h 438"/>
              <a:gd name="T58" fmla="*/ 2147483647 w 306"/>
              <a:gd name="T59" fmla="*/ 2147483647 h 438"/>
              <a:gd name="T60" fmla="*/ 2147483647 w 306"/>
              <a:gd name="T61" fmla="*/ 2147483647 h 438"/>
              <a:gd name="T62" fmla="*/ 2147483647 w 306"/>
              <a:gd name="T63" fmla="*/ 2147483647 h 438"/>
              <a:gd name="T64" fmla="*/ 2147483647 w 306"/>
              <a:gd name="T65" fmla="*/ 2147483647 h 438"/>
              <a:gd name="T66" fmla="*/ 2147483647 w 306"/>
              <a:gd name="T67" fmla="*/ 2147483647 h 438"/>
              <a:gd name="T68" fmla="*/ 2147483647 w 306"/>
              <a:gd name="T69" fmla="*/ 2147483647 h 438"/>
              <a:gd name="T70" fmla="*/ 2147483647 w 306"/>
              <a:gd name="T71" fmla="*/ 2147483647 h 438"/>
              <a:gd name="T72" fmla="*/ 2147483647 w 306"/>
              <a:gd name="T73" fmla="*/ 2147483647 h 438"/>
              <a:gd name="T74" fmla="*/ 2147483647 w 306"/>
              <a:gd name="T75" fmla="*/ 2147483647 h 438"/>
              <a:gd name="T76" fmla="*/ 2147483647 w 306"/>
              <a:gd name="T77" fmla="*/ 0 h 438"/>
              <a:gd name="T78" fmla="*/ 2147483647 w 306"/>
              <a:gd name="T79" fmla="*/ 2147483647 h 438"/>
              <a:gd name="T80" fmla="*/ 2147483647 w 306"/>
              <a:gd name="T81" fmla="*/ 2147483647 h 43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06"/>
              <a:gd name="T124" fmla="*/ 0 h 438"/>
              <a:gd name="T125" fmla="*/ 306 w 306"/>
              <a:gd name="T126" fmla="*/ 438 h 43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06" h="438">
                <a:moveTo>
                  <a:pt x="0" y="42"/>
                </a:moveTo>
                <a:lnTo>
                  <a:pt x="6" y="138"/>
                </a:lnTo>
                <a:lnTo>
                  <a:pt x="18" y="138"/>
                </a:lnTo>
                <a:lnTo>
                  <a:pt x="24" y="132"/>
                </a:lnTo>
                <a:lnTo>
                  <a:pt x="42" y="132"/>
                </a:lnTo>
                <a:lnTo>
                  <a:pt x="54" y="138"/>
                </a:lnTo>
                <a:lnTo>
                  <a:pt x="54" y="168"/>
                </a:lnTo>
                <a:lnTo>
                  <a:pt x="48" y="180"/>
                </a:lnTo>
                <a:lnTo>
                  <a:pt x="48" y="198"/>
                </a:lnTo>
                <a:lnTo>
                  <a:pt x="54" y="216"/>
                </a:lnTo>
                <a:lnTo>
                  <a:pt x="60" y="228"/>
                </a:lnTo>
                <a:lnTo>
                  <a:pt x="66" y="234"/>
                </a:lnTo>
                <a:lnTo>
                  <a:pt x="84" y="234"/>
                </a:lnTo>
                <a:lnTo>
                  <a:pt x="90" y="228"/>
                </a:lnTo>
                <a:lnTo>
                  <a:pt x="90" y="240"/>
                </a:lnTo>
                <a:lnTo>
                  <a:pt x="84" y="252"/>
                </a:lnTo>
                <a:lnTo>
                  <a:pt x="84" y="282"/>
                </a:lnTo>
                <a:lnTo>
                  <a:pt x="96" y="306"/>
                </a:lnTo>
                <a:lnTo>
                  <a:pt x="102" y="312"/>
                </a:lnTo>
                <a:lnTo>
                  <a:pt x="114" y="318"/>
                </a:lnTo>
                <a:lnTo>
                  <a:pt x="132" y="330"/>
                </a:lnTo>
                <a:lnTo>
                  <a:pt x="144" y="336"/>
                </a:lnTo>
                <a:lnTo>
                  <a:pt x="162" y="354"/>
                </a:lnTo>
                <a:lnTo>
                  <a:pt x="168" y="354"/>
                </a:lnTo>
                <a:lnTo>
                  <a:pt x="168" y="366"/>
                </a:lnTo>
                <a:lnTo>
                  <a:pt x="174" y="372"/>
                </a:lnTo>
                <a:lnTo>
                  <a:pt x="174" y="378"/>
                </a:lnTo>
                <a:lnTo>
                  <a:pt x="180" y="384"/>
                </a:lnTo>
                <a:lnTo>
                  <a:pt x="186" y="384"/>
                </a:lnTo>
                <a:lnTo>
                  <a:pt x="198" y="390"/>
                </a:lnTo>
                <a:lnTo>
                  <a:pt x="204" y="396"/>
                </a:lnTo>
                <a:lnTo>
                  <a:pt x="216" y="396"/>
                </a:lnTo>
                <a:lnTo>
                  <a:pt x="222" y="402"/>
                </a:lnTo>
                <a:lnTo>
                  <a:pt x="228" y="402"/>
                </a:lnTo>
                <a:lnTo>
                  <a:pt x="252" y="438"/>
                </a:lnTo>
                <a:lnTo>
                  <a:pt x="300" y="432"/>
                </a:lnTo>
                <a:lnTo>
                  <a:pt x="300" y="420"/>
                </a:lnTo>
                <a:lnTo>
                  <a:pt x="306" y="408"/>
                </a:lnTo>
                <a:lnTo>
                  <a:pt x="306" y="378"/>
                </a:lnTo>
                <a:lnTo>
                  <a:pt x="294" y="354"/>
                </a:lnTo>
                <a:lnTo>
                  <a:pt x="270" y="330"/>
                </a:lnTo>
                <a:lnTo>
                  <a:pt x="264" y="318"/>
                </a:lnTo>
                <a:lnTo>
                  <a:pt x="258" y="312"/>
                </a:lnTo>
                <a:lnTo>
                  <a:pt x="258" y="288"/>
                </a:lnTo>
                <a:lnTo>
                  <a:pt x="252" y="276"/>
                </a:lnTo>
                <a:lnTo>
                  <a:pt x="246" y="270"/>
                </a:lnTo>
                <a:lnTo>
                  <a:pt x="246" y="258"/>
                </a:lnTo>
                <a:lnTo>
                  <a:pt x="252" y="252"/>
                </a:lnTo>
                <a:lnTo>
                  <a:pt x="252" y="126"/>
                </a:lnTo>
                <a:lnTo>
                  <a:pt x="246" y="114"/>
                </a:lnTo>
                <a:lnTo>
                  <a:pt x="222" y="90"/>
                </a:lnTo>
                <a:lnTo>
                  <a:pt x="204" y="84"/>
                </a:lnTo>
                <a:lnTo>
                  <a:pt x="192" y="72"/>
                </a:lnTo>
                <a:lnTo>
                  <a:pt x="180" y="66"/>
                </a:lnTo>
                <a:lnTo>
                  <a:pt x="156" y="42"/>
                </a:lnTo>
                <a:lnTo>
                  <a:pt x="150" y="54"/>
                </a:lnTo>
                <a:lnTo>
                  <a:pt x="144" y="60"/>
                </a:lnTo>
                <a:lnTo>
                  <a:pt x="138" y="72"/>
                </a:lnTo>
                <a:lnTo>
                  <a:pt x="138" y="78"/>
                </a:lnTo>
                <a:lnTo>
                  <a:pt x="132" y="84"/>
                </a:lnTo>
                <a:lnTo>
                  <a:pt x="114" y="66"/>
                </a:lnTo>
                <a:lnTo>
                  <a:pt x="108" y="66"/>
                </a:lnTo>
                <a:lnTo>
                  <a:pt x="102" y="72"/>
                </a:lnTo>
                <a:lnTo>
                  <a:pt x="90" y="72"/>
                </a:lnTo>
                <a:lnTo>
                  <a:pt x="90" y="78"/>
                </a:lnTo>
                <a:lnTo>
                  <a:pt x="72" y="78"/>
                </a:lnTo>
                <a:lnTo>
                  <a:pt x="66" y="72"/>
                </a:lnTo>
                <a:lnTo>
                  <a:pt x="66" y="66"/>
                </a:lnTo>
                <a:lnTo>
                  <a:pt x="78" y="54"/>
                </a:lnTo>
                <a:lnTo>
                  <a:pt x="78" y="42"/>
                </a:lnTo>
                <a:lnTo>
                  <a:pt x="66" y="42"/>
                </a:lnTo>
                <a:lnTo>
                  <a:pt x="66" y="30"/>
                </a:lnTo>
                <a:lnTo>
                  <a:pt x="60" y="24"/>
                </a:lnTo>
                <a:lnTo>
                  <a:pt x="48" y="18"/>
                </a:lnTo>
                <a:lnTo>
                  <a:pt x="30" y="18"/>
                </a:lnTo>
                <a:lnTo>
                  <a:pt x="30" y="12"/>
                </a:lnTo>
                <a:lnTo>
                  <a:pt x="24" y="0"/>
                </a:lnTo>
                <a:lnTo>
                  <a:pt x="12" y="0"/>
                </a:lnTo>
                <a:lnTo>
                  <a:pt x="6" y="6"/>
                </a:lnTo>
                <a:lnTo>
                  <a:pt x="6" y="18"/>
                </a:lnTo>
                <a:lnTo>
                  <a:pt x="12" y="24"/>
                </a:lnTo>
                <a:lnTo>
                  <a:pt x="6" y="36"/>
                </a:lnTo>
                <a:lnTo>
                  <a:pt x="0" y="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2" name="Malaysia"/>
          <p:cNvSpPr>
            <a:spLocks/>
          </p:cNvSpPr>
          <p:nvPr/>
        </p:nvSpPr>
        <p:spPr bwMode="gray">
          <a:xfrm>
            <a:off x="7165246" y="4020218"/>
            <a:ext cx="276225" cy="212725"/>
          </a:xfrm>
          <a:custGeom>
            <a:avLst/>
            <a:gdLst>
              <a:gd name="T0" fmla="*/ 2147483647 w 690"/>
              <a:gd name="T1" fmla="*/ 2147483647 h 528"/>
              <a:gd name="T2" fmla="*/ 2147483647 w 690"/>
              <a:gd name="T3" fmla="*/ 2147483647 h 528"/>
              <a:gd name="T4" fmla="*/ 2147483647 w 690"/>
              <a:gd name="T5" fmla="*/ 2147483647 h 528"/>
              <a:gd name="T6" fmla="*/ 2147483647 w 690"/>
              <a:gd name="T7" fmla="*/ 2147483647 h 528"/>
              <a:gd name="T8" fmla="*/ 2147483647 w 690"/>
              <a:gd name="T9" fmla="*/ 2147483647 h 528"/>
              <a:gd name="T10" fmla="*/ 2147483647 w 690"/>
              <a:gd name="T11" fmla="*/ 2147483647 h 528"/>
              <a:gd name="T12" fmla="*/ 2147483647 w 690"/>
              <a:gd name="T13" fmla="*/ 2147483647 h 528"/>
              <a:gd name="T14" fmla="*/ 2147483647 w 690"/>
              <a:gd name="T15" fmla="*/ 2147483647 h 528"/>
              <a:gd name="T16" fmla="*/ 2147483647 w 690"/>
              <a:gd name="T17" fmla="*/ 2147483647 h 528"/>
              <a:gd name="T18" fmla="*/ 2147483647 w 690"/>
              <a:gd name="T19" fmla="*/ 2147483647 h 528"/>
              <a:gd name="T20" fmla="*/ 2147483647 w 690"/>
              <a:gd name="T21" fmla="*/ 2147483647 h 528"/>
              <a:gd name="T22" fmla="*/ 2147483647 w 690"/>
              <a:gd name="T23" fmla="*/ 2147483647 h 528"/>
              <a:gd name="T24" fmla="*/ 2147483647 w 690"/>
              <a:gd name="T25" fmla="*/ 2147483647 h 528"/>
              <a:gd name="T26" fmla="*/ 2147483647 w 690"/>
              <a:gd name="T27" fmla="*/ 2147483647 h 528"/>
              <a:gd name="T28" fmla="*/ 2147483647 w 690"/>
              <a:gd name="T29" fmla="*/ 2147483647 h 528"/>
              <a:gd name="T30" fmla="*/ 2147483647 w 690"/>
              <a:gd name="T31" fmla="*/ 2147483647 h 528"/>
              <a:gd name="T32" fmla="*/ 2147483647 w 690"/>
              <a:gd name="T33" fmla="*/ 2147483647 h 528"/>
              <a:gd name="T34" fmla="*/ 2147483647 w 690"/>
              <a:gd name="T35" fmla="*/ 2147483647 h 528"/>
              <a:gd name="T36" fmla="*/ 2147483647 w 690"/>
              <a:gd name="T37" fmla="*/ 2147483647 h 528"/>
              <a:gd name="T38" fmla="*/ 2147483647 w 690"/>
              <a:gd name="T39" fmla="*/ 2147483647 h 528"/>
              <a:gd name="T40" fmla="*/ 2147483647 w 690"/>
              <a:gd name="T41" fmla="*/ 2147483647 h 528"/>
              <a:gd name="T42" fmla="*/ 2147483647 w 690"/>
              <a:gd name="T43" fmla="*/ 2147483647 h 528"/>
              <a:gd name="T44" fmla="*/ 2147483647 w 690"/>
              <a:gd name="T45" fmla="*/ 2147483647 h 528"/>
              <a:gd name="T46" fmla="*/ 2147483647 w 690"/>
              <a:gd name="T47" fmla="*/ 2147483647 h 528"/>
              <a:gd name="T48" fmla="*/ 2147483647 w 690"/>
              <a:gd name="T49" fmla="*/ 2147483647 h 528"/>
              <a:gd name="T50" fmla="*/ 2147483647 w 690"/>
              <a:gd name="T51" fmla="*/ 2147483647 h 528"/>
              <a:gd name="T52" fmla="*/ 2147483647 w 690"/>
              <a:gd name="T53" fmla="*/ 2147483647 h 528"/>
              <a:gd name="T54" fmla="*/ 2147483647 w 690"/>
              <a:gd name="T55" fmla="*/ 2147483647 h 528"/>
              <a:gd name="T56" fmla="*/ 2147483647 w 690"/>
              <a:gd name="T57" fmla="*/ 2147483647 h 528"/>
              <a:gd name="T58" fmla="*/ 2147483647 w 690"/>
              <a:gd name="T59" fmla="*/ 2147483647 h 528"/>
              <a:gd name="T60" fmla="*/ 2147483647 w 690"/>
              <a:gd name="T61" fmla="*/ 2147483647 h 528"/>
              <a:gd name="T62" fmla="*/ 2147483647 w 690"/>
              <a:gd name="T63" fmla="*/ 2147483647 h 528"/>
              <a:gd name="T64" fmla="*/ 2147483647 w 690"/>
              <a:gd name="T65" fmla="*/ 2147483647 h 528"/>
              <a:gd name="T66" fmla="*/ 2147483647 w 690"/>
              <a:gd name="T67" fmla="*/ 2147483647 h 528"/>
              <a:gd name="T68" fmla="*/ 2147483647 w 690"/>
              <a:gd name="T69" fmla="*/ 2147483647 h 528"/>
              <a:gd name="T70" fmla="*/ 2147483647 w 690"/>
              <a:gd name="T71" fmla="*/ 0 h 528"/>
              <a:gd name="T72" fmla="*/ 2147483647 w 690"/>
              <a:gd name="T73" fmla="*/ 0 h 528"/>
              <a:gd name="T74" fmla="*/ 2147483647 w 690"/>
              <a:gd name="T75" fmla="*/ 2147483647 h 528"/>
              <a:gd name="T76" fmla="*/ 2147483647 w 690"/>
              <a:gd name="T77" fmla="*/ 2147483647 h 528"/>
              <a:gd name="T78" fmla="*/ 2147483647 w 690"/>
              <a:gd name="T79" fmla="*/ 2147483647 h 528"/>
              <a:gd name="T80" fmla="*/ 2147483647 w 690"/>
              <a:gd name="T81" fmla="*/ 2147483647 h 528"/>
              <a:gd name="T82" fmla="*/ 2147483647 w 690"/>
              <a:gd name="T83" fmla="*/ 2147483647 h 528"/>
              <a:gd name="T84" fmla="*/ 2147483647 w 690"/>
              <a:gd name="T85" fmla="*/ 2147483647 h 528"/>
              <a:gd name="T86" fmla="*/ 2147483647 w 690"/>
              <a:gd name="T87" fmla="*/ 2147483647 h 528"/>
              <a:gd name="T88" fmla="*/ 2147483647 w 690"/>
              <a:gd name="T89" fmla="*/ 2147483647 h 528"/>
              <a:gd name="T90" fmla="*/ 2147483647 w 690"/>
              <a:gd name="T91" fmla="*/ 2147483647 h 528"/>
              <a:gd name="T92" fmla="*/ 2147483647 w 690"/>
              <a:gd name="T93" fmla="*/ 2147483647 h 528"/>
              <a:gd name="T94" fmla="*/ 2147483647 w 690"/>
              <a:gd name="T95" fmla="*/ 2147483647 h 528"/>
              <a:gd name="T96" fmla="*/ 2147483647 w 690"/>
              <a:gd name="T97" fmla="*/ 2147483647 h 528"/>
              <a:gd name="T98" fmla="*/ 2147483647 w 690"/>
              <a:gd name="T99" fmla="*/ 2147483647 h 528"/>
              <a:gd name="T100" fmla="*/ 2147483647 w 690"/>
              <a:gd name="T101" fmla="*/ 2147483647 h 528"/>
              <a:gd name="T102" fmla="*/ 2147483647 w 690"/>
              <a:gd name="T103" fmla="*/ 2147483647 h 528"/>
              <a:gd name="T104" fmla="*/ 2147483647 w 690"/>
              <a:gd name="T105" fmla="*/ 2147483647 h 528"/>
              <a:gd name="T106" fmla="*/ 2147483647 w 690"/>
              <a:gd name="T107" fmla="*/ 2147483647 h 528"/>
              <a:gd name="T108" fmla="*/ 2147483647 w 690"/>
              <a:gd name="T109" fmla="*/ 2147483647 h 528"/>
              <a:gd name="T110" fmla="*/ 2147483647 w 690"/>
              <a:gd name="T111" fmla="*/ 2147483647 h 528"/>
              <a:gd name="T112" fmla="*/ 2147483647 w 690"/>
              <a:gd name="T113" fmla="*/ 2147483647 h 528"/>
              <a:gd name="T114" fmla="*/ 0 w 690"/>
              <a:gd name="T115" fmla="*/ 2147483647 h 52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90"/>
              <a:gd name="T175" fmla="*/ 0 h 528"/>
              <a:gd name="T176" fmla="*/ 690 w 690"/>
              <a:gd name="T177" fmla="*/ 528 h 52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90" h="528">
                <a:moveTo>
                  <a:pt x="12" y="504"/>
                </a:moveTo>
                <a:lnTo>
                  <a:pt x="24" y="510"/>
                </a:lnTo>
                <a:lnTo>
                  <a:pt x="30" y="516"/>
                </a:lnTo>
                <a:lnTo>
                  <a:pt x="54" y="528"/>
                </a:lnTo>
                <a:lnTo>
                  <a:pt x="60" y="528"/>
                </a:lnTo>
                <a:lnTo>
                  <a:pt x="78" y="510"/>
                </a:lnTo>
                <a:lnTo>
                  <a:pt x="102" y="510"/>
                </a:lnTo>
                <a:lnTo>
                  <a:pt x="120" y="516"/>
                </a:lnTo>
                <a:lnTo>
                  <a:pt x="144" y="516"/>
                </a:lnTo>
                <a:lnTo>
                  <a:pt x="174" y="486"/>
                </a:lnTo>
                <a:lnTo>
                  <a:pt x="180" y="474"/>
                </a:lnTo>
                <a:lnTo>
                  <a:pt x="222" y="474"/>
                </a:lnTo>
                <a:lnTo>
                  <a:pt x="234" y="486"/>
                </a:lnTo>
                <a:lnTo>
                  <a:pt x="258" y="498"/>
                </a:lnTo>
                <a:lnTo>
                  <a:pt x="264" y="504"/>
                </a:lnTo>
                <a:lnTo>
                  <a:pt x="270" y="504"/>
                </a:lnTo>
                <a:lnTo>
                  <a:pt x="282" y="492"/>
                </a:lnTo>
                <a:lnTo>
                  <a:pt x="294" y="486"/>
                </a:lnTo>
                <a:lnTo>
                  <a:pt x="300" y="480"/>
                </a:lnTo>
                <a:lnTo>
                  <a:pt x="324" y="480"/>
                </a:lnTo>
                <a:lnTo>
                  <a:pt x="354" y="444"/>
                </a:lnTo>
                <a:lnTo>
                  <a:pt x="348" y="432"/>
                </a:lnTo>
                <a:lnTo>
                  <a:pt x="384" y="402"/>
                </a:lnTo>
                <a:lnTo>
                  <a:pt x="378" y="390"/>
                </a:lnTo>
                <a:lnTo>
                  <a:pt x="372" y="384"/>
                </a:lnTo>
                <a:lnTo>
                  <a:pt x="372" y="360"/>
                </a:lnTo>
                <a:lnTo>
                  <a:pt x="378" y="354"/>
                </a:lnTo>
                <a:lnTo>
                  <a:pt x="396" y="354"/>
                </a:lnTo>
                <a:lnTo>
                  <a:pt x="402" y="342"/>
                </a:lnTo>
                <a:lnTo>
                  <a:pt x="402" y="336"/>
                </a:lnTo>
                <a:lnTo>
                  <a:pt x="408" y="318"/>
                </a:lnTo>
                <a:lnTo>
                  <a:pt x="408" y="264"/>
                </a:lnTo>
                <a:lnTo>
                  <a:pt x="414" y="252"/>
                </a:lnTo>
                <a:lnTo>
                  <a:pt x="420" y="246"/>
                </a:lnTo>
                <a:lnTo>
                  <a:pt x="516" y="246"/>
                </a:lnTo>
                <a:lnTo>
                  <a:pt x="540" y="270"/>
                </a:lnTo>
                <a:lnTo>
                  <a:pt x="552" y="276"/>
                </a:lnTo>
                <a:lnTo>
                  <a:pt x="558" y="282"/>
                </a:lnTo>
                <a:lnTo>
                  <a:pt x="576" y="276"/>
                </a:lnTo>
                <a:lnTo>
                  <a:pt x="564" y="216"/>
                </a:lnTo>
                <a:lnTo>
                  <a:pt x="576" y="222"/>
                </a:lnTo>
                <a:lnTo>
                  <a:pt x="582" y="234"/>
                </a:lnTo>
                <a:lnTo>
                  <a:pt x="594" y="240"/>
                </a:lnTo>
                <a:lnTo>
                  <a:pt x="636" y="240"/>
                </a:lnTo>
                <a:lnTo>
                  <a:pt x="630" y="234"/>
                </a:lnTo>
                <a:lnTo>
                  <a:pt x="624" y="222"/>
                </a:lnTo>
                <a:lnTo>
                  <a:pt x="618" y="216"/>
                </a:lnTo>
                <a:lnTo>
                  <a:pt x="606" y="192"/>
                </a:lnTo>
                <a:lnTo>
                  <a:pt x="606" y="186"/>
                </a:lnTo>
                <a:lnTo>
                  <a:pt x="612" y="180"/>
                </a:lnTo>
                <a:lnTo>
                  <a:pt x="624" y="180"/>
                </a:lnTo>
                <a:lnTo>
                  <a:pt x="642" y="186"/>
                </a:lnTo>
                <a:lnTo>
                  <a:pt x="654" y="186"/>
                </a:lnTo>
                <a:lnTo>
                  <a:pt x="660" y="192"/>
                </a:lnTo>
                <a:lnTo>
                  <a:pt x="666" y="192"/>
                </a:lnTo>
                <a:lnTo>
                  <a:pt x="690" y="162"/>
                </a:lnTo>
                <a:lnTo>
                  <a:pt x="666" y="156"/>
                </a:lnTo>
                <a:lnTo>
                  <a:pt x="660" y="144"/>
                </a:lnTo>
                <a:lnTo>
                  <a:pt x="642" y="126"/>
                </a:lnTo>
                <a:lnTo>
                  <a:pt x="630" y="120"/>
                </a:lnTo>
                <a:lnTo>
                  <a:pt x="612" y="120"/>
                </a:lnTo>
                <a:lnTo>
                  <a:pt x="600" y="114"/>
                </a:lnTo>
                <a:lnTo>
                  <a:pt x="588" y="114"/>
                </a:lnTo>
                <a:lnTo>
                  <a:pt x="588" y="108"/>
                </a:lnTo>
                <a:lnTo>
                  <a:pt x="582" y="102"/>
                </a:lnTo>
                <a:lnTo>
                  <a:pt x="582" y="90"/>
                </a:lnTo>
                <a:lnTo>
                  <a:pt x="576" y="78"/>
                </a:lnTo>
                <a:lnTo>
                  <a:pt x="564" y="66"/>
                </a:lnTo>
                <a:lnTo>
                  <a:pt x="540" y="54"/>
                </a:lnTo>
                <a:lnTo>
                  <a:pt x="534" y="60"/>
                </a:lnTo>
                <a:lnTo>
                  <a:pt x="528" y="60"/>
                </a:lnTo>
                <a:lnTo>
                  <a:pt x="510" y="0"/>
                </a:lnTo>
                <a:lnTo>
                  <a:pt x="504" y="18"/>
                </a:lnTo>
                <a:lnTo>
                  <a:pt x="492" y="0"/>
                </a:lnTo>
                <a:lnTo>
                  <a:pt x="480" y="60"/>
                </a:lnTo>
                <a:lnTo>
                  <a:pt x="468" y="66"/>
                </a:lnTo>
                <a:lnTo>
                  <a:pt x="462" y="66"/>
                </a:lnTo>
                <a:lnTo>
                  <a:pt x="450" y="72"/>
                </a:lnTo>
                <a:lnTo>
                  <a:pt x="438" y="96"/>
                </a:lnTo>
                <a:lnTo>
                  <a:pt x="438" y="114"/>
                </a:lnTo>
                <a:lnTo>
                  <a:pt x="408" y="126"/>
                </a:lnTo>
                <a:lnTo>
                  <a:pt x="420" y="162"/>
                </a:lnTo>
                <a:lnTo>
                  <a:pt x="408" y="162"/>
                </a:lnTo>
                <a:lnTo>
                  <a:pt x="390" y="156"/>
                </a:lnTo>
                <a:lnTo>
                  <a:pt x="378" y="156"/>
                </a:lnTo>
                <a:lnTo>
                  <a:pt x="360" y="150"/>
                </a:lnTo>
                <a:lnTo>
                  <a:pt x="354" y="150"/>
                </a:lnTo>
                <a:lnTo>
                  <a:pt x="342" y="156"/>
                </a:lnTo>
                <a:lnTo>
                  <a:pt x="342" y="168"/>
                </a:lnTo>
                <a:lnTo>
                  <a:pt x="336" y="180"/>
                </a:lnTo>
                <a:lnTo>
                  <a:pt x="336" y="204"/>
                </a:lnTo>
                <a:lnTo>
                  <a:pt x="294" y="246"/>
                </a:lnTo>
                <a:lnTo>
                  <a:pt x="294" y="258"/>
                </a:lnTo>
                <a:lnTo>
                  <a:pt x="282" y="294"/>
                </a:lnTo>
                <a:lnTo>
                  <a:pt x="276" y="306"/>
                </a:lnTo>
                <a:lnTo>
                  <a:pt x="264" y="318"/>
                </a:lnTo>
                <a:lnTo>
                  <a:pt x="228" y="336"/>
                </a:lnTo>
                <a:lnTo>
                  <a:pt x="186" y="342"/>
                </a:lnTo>
                <a:lnTo>
                  <a:pt x="162" y="348"/>
                </a:lnTo>
                <a:lnTo>
                  <a:pt x="156" y="354"/>
                </a:lnTo>
                <a:lnTo>
                  <a:pt x="132" y="366"/>
                </a:lnTo>
                <a:lnTo>
                  <a:pt x="114" y="384"/>
                </a:lnTo>
                <a:lnTo>
                  <a:pt x="102" y="390"/>
                </a:lnTo>
                <a:lnTo>
                  <a:pt x="84" y="426"/>
                </a:lnTo>
                <a:lnTo>
                  <a:pt x="102" y="444"/>
                </a:lnTo>
                <a:lnTo>
                  <a:pt x="102" y="462"/>
                </a:lnTo>
                <a:lnTo>
                  <a:pt x="96" y="474"/>
                </a:lnTo>
                <a:lnTo>
                  <a:pt x="84" y="480"/>
                </a:lnTo>
                <a:lnTo>
                  <a:pt x="72" y="480"/>
                </a:lnTo>
                <a:lnTo>
                  <a:pt x="48" y="468"/>
                </a:lnTo>
                <a:lnTo>
                  <a:pt x="42" y="462"/>
                </a:lnTo>
                <a:lnTo>
                  <a:pt x="30" y="456"/>
                </a:lnTo>
                <a:lnTo>
                  <a:pt x="24" y="456"/>
                </a:lnTo>
                <a:lnTo>
                  <a:pt x="12" y="462"/>
                </a:lnTo>
                <a:lnTo>
                  <a:pt x="0" y="474"/>
                </a:lnTo>
                <a:lnTo>
                  <a:pt x="0" y="492"/>
                </a:lnTo>
                <a:lnTo>
                  <a:pt x="12" y="50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3" name="Malawi"/>
          <p:cNvSpPr>
            <a:spLocks/>
          </p:cNvSpPr>
          <p:nvPr/>
        </p:nvSpPr>
        <p:spPr bwMode="gray">
          <a:xfrm>
            <a:off x="4947508" y="4564730"/>
            <a:ext cx="93663" cy="252413"/>
          </a:xfrm>
          <a:custGeom>
            <a:avLst/>
            <a:gdLst>
              <a:gd name="T0" fmla="*/ 2147483647 w 234"/>
              <a:gd name="T1" fmla="*/ 2147483647 h 624"/>
              <a:gd name="T2" fmla="*/ 2147483647 w 234"/>
              <a:gd name="T3" fmla="*/ 2147483647 h 624"/>
              <a:gd name="T4" fmla="*/ 2147483647 w 234"/>
              <a:gd name="T5" fmla="*/ 2147483647 h 624"/>
              <a:gd name="T6" fmla="*/ 2147483647 w 234"/>
              <a:gd name="T7" fmla="*/ 2147483647 h 624"/>
              <a:gd name="T8" fmla="*/ 2147483647 w 234"/>
              <a:gd name="T9" fmla="*/ 2147483647 h 624"/>
              <a:gd name="T10" fmla="*/ 2147483647 w 234"/>
              <a:gd name="T11" fmla="*/ 2147483647 h 624"/>
              <a:gd name="T12" fmla="*/ 2147483647 w 234"/>
              <a:gd name="T13" fmla="*/ 2147483647 h 624"/>
              <a:gd name="T14" fmla="*/ 2147483647 w 234"/>
              <a:gd name="T15" fmla="*/ 2147483647 h 624"/>
              <a:gd name="T16" fmla="*/ 2147483647 w 234"/>
              <a:gd name="T17" fmla="*/ 2147483647 h 624"/>
              <a:gd name="T18" fmla="*/ 2147483647 w 234"/>
              <a:gd name="T19" fmla="*/ 2147483647 h 624"/>
              <a:gd name="T20" fmla="*/ 2147483647 w 234"/>
              <a:gd name="T21" fmla="*/ 2147483647 h 624"/>
              <a:gd name="T22" fmla="*/ 2147483647 w 234"/>
              <a:gd name="T23" fmla="*/ 2147483647 h 624"/>
              <a:gd name="T24" fmla="*/ 2147483647 w 234"/>
              <a:gd name="T25" fmla="*/ 2147483647 h 624"/>
              <a:gd name="T26" fmla="*/ 2147483647 w 234"/>
              <a:gd name="T27" fmla="*/ 2147483647 h 624"/>
              <a:gd name="T28" fmla="*/ 2147483647 w 234"/>
              <a:gd name="T29" fmla="*/ 2147483647 h 624"/>
              <a:gd name="T30" fmla="*/ 2147483647 w 234"/>
              <a:gd name="T31" fmla="*/ 2147483647 h 624"/>
              <a:gd name="T32" fmla="*/ 2147483647 w 234"/>
              <a:gd name="T33" fmla="*/ 2147483647 h 624"/>
              <a:gd name="T34" fmla="*/ 2147483647 w 234"/>
              <a:gd name="T35" fmla="*/ 2147483647 h 624"/>
              <a:gd name="T36" fmla="*/ 2147483647 w 234"/>
              <a:gd name="T37" fmla="*/ 2147483647 h 624"/>
              <a:gd name="T38" fmla="*/ 2147483647 w 234"/>
              <a:gd name="T39" fmla="*/ 2147483647 h 624"/>
              <a:gd name="T40" fmla="*/ 2147483647 w 234"/>
              <a:gd name="T41" fmla="*/ 2147483647 h 624"/>
              <a:gd name="T42" fmla="*/ 2147483647 w 234"/>
              <a:gd name="T43" fmla="*/ 2147483647 h 624"/>
              <a:gd name="T44" fmla="*/ 2147483647 w 234"/>
              <a:gd name="T45" fmla="*/ 2147483647 h 624"/>
              <a:gd name="T46" fmla="*/ 2147483647 w 234"/>
              <a:gd name="T47" fmla="*/ 0 h 624"/>
              <a:gd name="T48" fmla="*/ 2147483647 w 234"/>
              <a:gd name="T49" fmla="*/ 2147483647 h 624"/>
              <a:gd name="T50" fmla="*/ 2147483647 w 234"/>
              <a:gd name="T51" fmla="*/ 2147483647 h 624"/>
              <a:gd name="T52" fmla="*/ 2147483647 w 234"/>
              <a:gd name="T53" fmla="*/ 2147483647 h 624"/>
              <a:gd name="T54" fmla="*/ 2147483647 w 234"/>
              <a:gd name="T55" fmla="*/ 2147483647 h 624"/>
              <a:gd name="T56" fmla="*/ 2147483647 w 234"/>
              <a:gd name="T57" fmla="*/ 2147483647 h 624"/>
              <a:gd name="T58" fmla="*/ 2147483647 w 234"/>
              <a:gd name="T59" fmla="*/ 2147483647 h 624"/>
              <a:gd name="T60" fmla="*/ 2147483647 w 234"/>
              <a:gd name="T61" fmla="*/ 2147483647 h 624"/>
              <a:gd name="T62" fmla="*/ 2147483647 w 234"/>
              <a:gd name="T63" fmla="*/ 2147483647 h 624"/>
              <a:gd name="T64" fmla="*/ 2147483647 w 234"/>
              <a:gd name="T65" fmla="*/ 2147483647 h 624"/>
              <a:gd name="T66" fmla="*/ 2147483647 w 234"/>
              <a:gd name="T67" fmla="*/ 2147483647 h 624"/>
              <a:gd name="T68" fmla="*/ 2147483647 w 234"/>
              <a:gd name="T69" fmla="*/ 2147483647 h 624"/>
              <a:gd name="T70" fmla="*/ 2147483647 w 234"/>
              <a:gd name="T71" fmla="*/ 2147483647 h 624"/>
              <a:gd name="T72" fmla="*/ 2147483647 w 234"/>
              <a:gd name="T73" fmla="*/ 2147483647 h 624"/>
              <a:gd name="T74" fmla="*/ 0 w 234"/>
              <a:gd name="T75" fmla="*/ 2147483647 h 624"/>
              <a:gd name="T76" fmla="*/ 2147483647 w 234"/>
              <a:gd name="T77" fmla="*/ 2147483647 h 624"/>
              <a:gd name="T78" fmla="*/ 2147483647 w 234"/>
              <a:gd name="T79" fmla="*/ 2147483647 h 624"/>
              <a:gd name="T80" fmla="*/ 2147483647 w 234"/>
              <a:gd name="T81" fmla="*/ 2147483647 h 624"/>
              <a:gd name="T82" fmla="*/ 2147483647 w 234"/>
              <a:gd name="T83" fmla="*/ 2147483647 h 624"/>
              <a:gd name="T84" fmla="*/ 2147483647 w 234"/>
              <a:gd name="T85" fmla="*/ 2147483647 h 624"/>
              <a:gd name="T86" fmla="*/ 2147483647 w 234"/>
              <a:gd name="T87" fmla="*/ 2147483647 h 624"/>
              <a:gd name="T88" fmla="*/ 2147483647 w 234"/>
              <a:gd name="T89" fmla="*/ 2147483647 h 624"/>
              <a:gd name="T90" fmla="*/ 2147483647 w 234"/>
              <a:gd name="T91" fmla="*/ 2147483647 h 624"/>
              <a:gd name="T92" fmla="*/ 2147483647 w 234"/>
              <a:gd name="T93" fmla="*/ 2147483647 h 624"/>
              <a:gd name="T94" fmla="*/ 2147483647 w 234"/>
              <a:gd name="T95" fmla="*/ 2147483647 h 624"/>
              <a:gd name="T96" fmla="*/ 2147483647 w 234"/>
              <a:gd name="T97" fmla="*/ 2147483647 h 624"/>
              <a:gd name="T98" fmla="*/ 2147483647 w 234"/>
              <a:gd name="T99" fmla="*/ 2147483647 h 624"/>
              <a:gd name="T100" fmla="*/ 2147483647 w 234"/>
              <a:gd name="T101" fmla="*/ 2147483647 h 624"/>
              <a:gd name="T102" fmla="*/ 2147483647 w 234"/>
              <a:gd name="T103" fmla="*/ 2147483647 h 624"/>
              <a:gd name="T104" fmla="*/ 2147483647 w 234"/>
              <a:gd name="T105" fmla="*/ 2147483647 h 624"/>
              <a:gd name="T106" fmla="*/ 2147483647 w 234"/>
              <a:gd name="T107" fmla="*/ 2147483647 h 624"/>
              <a:gd name="T108" fmla="*/ 2147483647 w 234"/>
              <a:gd name="T109" fmla="*/ 2147483647 h 624"/>
              <a:gd name="T110" fmla="*/ 2147483647 w 234"/>
              <a:gd name="T111" fmla="*/ 2147483647 h 624"/>
              <a:gd name="T112" fmla="*/ 2147483647 w 234"/>
              <a:gd name="T113" fmla="*/ 2147483647 h 624"/>
              <a:gd name="T114" fmla="*/ 2147483647 w 234"/>
              <a:gd name="T115" fmla="*/ 2147483647 h 624"/>
              <a:gd name="T116" fmla="*/ 2147483647 w 234"/>
              <a:gd name="T117" fmla="*/ 2147483647 h 6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4"/>
              <a:gd name="T178" fmla="*/ 0 h 624"/>
              <a:gd name="T179" fmla="*/ 234 w 234"/>
              <a:gd name="T180" fmla="*/ 624 h 6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4" h="624">
                <a:moveTo>
                  <a:pt x="234" y="432"/>
                </a:moveTo>
                <a:lnTo>
                  <a:pt x="222" y="420"/>
                </a:lnTo>
                <a:lnTo>
                  <a:pt x="210" y="402"/>
                </a:lnTo>
                <a:lnTo>
                  <a:pt x="204" y="390"/>
                </a:lnTo>
                <a:lnTo>
                  <a:pt x="198" y="384"/>
                </a:lnTo>
                <a:lnTo>
                  <a:pt x="186" y="360"/>
                </a:lnTo>
                <a:lnTo>
                  <a:pt x="162" y="336"/>
                </a:lnTo>
                <a:lnTo>
                  <a:pt x="156" y="336"/>
                </a:lnTo>
                <a:lnTo>
                  <a:pt x="156" y="330"/>
                </a:lnTo>
                <a:lnTo>
                  <a:pt x="150" y="330"/>
                </a:lnTo>
                <a:lnTo>
                  <a:pt x="150" y="342"/>
                </a:lnTo>
                <a:lnTo>
                  <a:pt x="156" y="342"/>
                </a:lnTo>
                <a:lnTo>
                  <a:pt x="168" y="354"/>
                </a:lnTo>
                <a:lnTo>
                  <a:pt x="168" y="366"/>
                </a:lnTo>
                <a:lnTo>
                  <a:pt x="174" y="378"/>
                </a:lnTo>
                <a:lnTo>
                  <a:pt x="174" y="390"/>
                </a:lnTo>
                <a:lnTo>
                  <a:pt x="168" y="396"/>
                </a:lnTo>
                <a:lnTo>
                  <a:pt x="162" y="396"/>
                </a:lnTo>
                <a:lnTo>
                  <a:pt x="162" y="390"/>
                </a:lnTo>
                <a:lnTo>
                  <a:pt x="156" y="384"/>
                </a:lnTo>
                <a:lnTo>
                  <a:pt x="156" y="378"/>
                </a:lnTo>
                <a:lnTo>
                  <a:pt x="144" y="384"/>
                </a:lnTo>
                <a:lnTo>
                  <a:pt x="132" y="384"/>
                </a:lnTo>
                <a:lnTo>
                  <a:pt x="132" y="360"/>
                </a:lnTo>
                <a:lnTo>
                  <a:pt x="126" y="354"/>
                </a:lnTo>
                <a:lnTo>
                  <a:pt x="126" y="342"/>
                </a:lnTo>
                <a:lnTo>
                  <a:pt x="120" y="330"/>
                </a:lnTo>
                <a:lnTo>
                  <a:pt x="120" y="282"/>
                </a:lnTo>
                <a:lnTo>
                  <a:pt x="84" y="246"/>
                </a:lnTo>
                <a:lnTo>
                  <a:pt x="90" y="240"/>
                </a:lnTo>
                <a:lnTo>
                  <a:pt x="90" y="222"/>
                </a:lnTo>
                <a:lnTo>
                  <a:pt x="96" y="210"/>
                </a:lnTo>
                <a:lnTo>
                  <a:pt x="114" y="192"/>
                </a:lnTo>
                <a:lnTo>
                  <a:pt x="120" y="180"/>
                </a:lnTo>
                <a:lnTo>
                  <a:pt x="126" y="174"/>
                </a:lnTo>
                <a:lnTo>
                  <a:pt x="126" y="156"/>
                </a:lnTo>
                <a:lnTo>
                  <a:pt x="120" y="150"/>
                </a:lnTo>
                <a:lnTo>
                  <a:pt x="120" y="102"/>
                </a:lnTo>
                <a:lnTo>
                  <a:pt x="114" y="78"/>
                </a:lnTo>
                <a:lnTo>
                  <a:pt x="114" y="60"/>
                </a:lnTo>
                <a:lnTo>
                  <a:pt x="102" y="60"/>
                </a:lnTo>
                <a:lnTo>
                  <a:pt x="84" y="42"/>
                </a:lnTo>
                <a:lnTo>
                  <a:pt x="84" y="36"/>
                </a:lnTo>
                <a:lnTo>
                  <a:pt x="90" y="24"/>
                </a:lnTo>
                <a:lnTo>
                  <a:pt x="90" y="18"/>
                </a:lnTo>
                <a:lnTo>
                  <a:pt x="60" y="18"/>
                </a:lnTo>
                <a:lnTo>
                  <a:pt x="54" y="0"/>
                </a:lnTo>
                <a:lnTo>
                  <a:pt x="30" y="0"/>
                </a:lnTo>
                <a:lnTo>
                  <a:pt x="30" y="12"/>
                </a:lnTo>
                <a:lnTo>
                  <a:pt x="42" y="12"/>
                </a:lnTo>
                <a:lnTo>
                  <a:pt x="54" y="24"/>
                </a:lnTo>
                <a:lnTo>
                  <a:pt x="54" y="66"/>
                </a:lnTo>
                <a:lnTo>
                  <a:pt x="60" y="66"/>
                </a:lnTo>
                <a:lnTo>
                  <a:pt x="66" y="60"/>
                </a:lnTo>
                <a:lnTo>
                  <a:pt x="66" y="84"/>
                </a:lnTo>
                <a:lnTo>
                  <a:pt x="78" y="84"/>
                </a:lnTo>
                <a:lnTo>
                  <a:pt x="78" y="96"/>
                </a:lnTo>
                <a:lnTo>
                  <a:pt x="54" y="108"/>
                </a:lnTo>
                <a:lnTo>
                  <a:pt x="48" y="114"/>
                </a:lnTo>
                <a:lnTo>
                  <a:pt x="42" y="114"/>
                </a:lnTo>
                <a:lnTo>
                  <a:pt x="42" y="132"/>
                </a:lnTo>
                <a:lnTo>
                  <a:pt x="54" y="138"/>
                </a:lnTo>
                <a:lnTo>
                  <a:pt x="48" y="156"/>
                </a:lnTo>
                <a:lnTo>
                  <a:pt x="48" y="228"/>
                </a:lnTo>
                <a:lnTo>
                  <a:pt x="60" y="228"/>
                </a:lnTo>
                <a:lnTo>
                  <a:pt x="60" y="234"/>
                </a:lnTo>
                <a:lnTo>
                  <a:pt x="42" y="252"/>
                </a:lnTo>
                <a:lnTo>
                  <a:pt x="30" y="258"/>
                </a:lnTo>
                <a:lnTo>
                  <a:pt x="24" y="264"/>
                </a:lnTo>
                <a:lnTo>
                  <a:pt x="18" y="264"/>
                </a:lnTo>
                <a:lnTo>
                  <a:pt x="24" y="300"/>
                </a:lnTo>
                <a:lnTo>
                  <a:pt x="18" y="312"/>
                </a:lnTo>
                <a:lnTo>
                  <a:pt x="12" y="318"/>
                </a:lnTo>
                <a:lnTo>
                  <a:pt x="6" y="330"/>
                </a:lnTo>
                <a:lnTo>
                  <a:pt x="0" y="336"/>
                </a:lnTo>
                <a:lnTo>
                  <a:pt x="0" y="342"/>
                </a:lnTo>
                <a:lnTo>
                  <a:pt x="12" y="348"/>
                </a:lnTo>
                <a:lnTo>
                  <a:pt x="24" y="360"/>
                </a:lnTo>
                <a:lnTo>
                  <a:pt x="36" y="366"/>
                </a:lnTo>
                <a:lnTo>
                  <a:pt x="66" y="414"/>
                </a:lnTo>
                <a:lnTo>
                  <a:pt x="96" y="414"/>
                </a:lnTo>
                <a:lnTo>
                  <a:pt x="102" y="408"/>
                </a:lnTo>
                <a:lnTo>
                  <a:pt x="120" y="408"/>
                </a:lnTo>
                <a:lnTo>
                  <a:pt x="126" y="414"/>
                </a:lnTo>
                <a:lnTo>
                  <a:pt x="126" y="450"/>
                </a:lnTo>
                <a:lnTo>
                  <a:pt x="132" y="450"/>
                </a:lnTo>
                <a:lnTo>
                  <a:pt x="126" y="480"/>
                </a:lnTo>
                <a:lnTo>
                  <a:pt x="114" y="486"/>
                </a:lnTo>
                <a:lnTo>
                  <a:pt x="126" y="504"/>
                </a:lnTo>
                <a:lnTo>
                  <a:pt x="120" y="510"/>
                </a:lnTo>
                <a:lnTo>
                  <a:pt x="108" y="516"/>
                </a:lnTo>
                <a:lnTo>
                  <a:pt x="102" y="522"/>
                </a:lnTo>
                <a:lnTo>
                  <a:pt x="102" y="528"/>
                </a:lnTo>
                <a:lnTo>
                  <a:pt x="114" y="528"/>
                </a:lnTo>
                <a:lnTo>
                  <a:pt x="114" y="558"/>
                </a:lnTo>
                <a:lnTo>
                  <a:pt x="126" y="564"/>
                </a:lnTo>
                <a:lnTo>
                  <a:pt x="132" y="570"/>
                </a:lnTo>
                <a:lnTo>
                  <a:pt x="144" y="576"/>
                </a:lnTo>
                <a:lnTo>
                  <a:pt x="150" y="582"/>
                </a:lnTo>
                <a:lnTo>
                  <a:pt x="162" y="588"/>
                </a:lnTo>
                <a:lnTo>
                  <a:pt x="162" y="600"/>
                </a:lnTo>
                <a:lnTo>
                  <a:pt x="156" y="606"/>
                </a:lnTo>
                <a:lnTo>
                  <a:pt x="156" y="618"/>
                </a:lnTo>
                <a:lnTo>
                  <a:pt x="162" y="624"/>
                </a:lnTo>
                <a:lnTo>
                  <a:pt x="168" y="618"/>
                </a:lnTo>
                <a:lnTo>
                  <a:pt x="180" y="612"/>
                </a:lnTo>
                <a:lnTo>
                  <a:pt x="180" y="582"/>
                </a:lnTo>
                <a:lnTo>
                  <a:pt x="174" y="576"/>
                </a:lnTo>
                <a:lnTo>
                  <a:pt x="168" y="576"/>
                </a:lnTo>
                <a:lnTo>
                  <a:pt x="168" y="558"/>
                </a:lnTo>
                <a:lnTo>
                  <a:pt x="174" y="546"/>
                </a:lnTo>
                <a:lnTo>
                  <a:pt x="186" y="540"/>
                </a:lnTo>
                <a:lnTo>
                  <a:pt x="210" y="540"/>
                </a:lnTo>
                <a:lnTo>
                  <a:pt x="216" y="534"/>
                </a:lnTo>
                <a:lnTo>
                  <a:pt x="216" y="474"/>
                </a:lnTo>
                <a:lnTo>
                  <a:pt x="222" y="468"/>
                </a:lnTo>
                <a:lnTo>
                  <a:pt x="228" y="456"/>
                </a:lnTo>
                <a:lnTo>
                  <a:pt x="234" y="450"/>
                </a:lnTo>
                <a:lnTo>
                  <a:pt x="234" y="43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4" name="Madagascar"/>
          <p:cNvSpPr>
            <a:spLocks/>
          </p:cNvSpPr>
          <p:nvPr/>
        </p:nvSpPr>
        <p:spPr bwMode="gray">
          <a:xfrm>
            <a:off x="5222146" y="4658393"/>
            <a:ext cx="239712" cy="438150"/>
          </a:xfrm>
          <a:custGeom>
            <a:avLst/>
            <a:gdLst>
              <a:gd name="T0" fmla="*/ 2147483647 w 594"/>
              <a:gd name="T1" fmla="*/ 2147483647 h 1092"/>
              <a:gd name="T2" fmla="*/ 2147483647 w 594"/>
              <a:gd name="T3" fmla="*/ 2147483647 h 1092"/>
              <a:gd name="T4" fmla="*/ 2147483647 w 594"/>
              <a:gd name="T5" fmla="*/ 2147483647 h 1092"/>
              <a:gd name="T6" fmla="*/ 2147483647 w 594"/>
              <a:gd name="T7" fmla="*/ 2147483647 h 1092"/>
              <a:gd name="T8" fmla="*/ 2147483647 w 594"/>
              <a:gd name="T9" fmla="*/ 2147483647 h 1092"/>
              <a:gd name="T10" fmla="*/ 2147483647 w 594"/>
              <a:gd name="T11" fmla="*/ 2147483647 h 1092"/>
              <a:gd name="T12" fmla="*/ 2147483647 w 594"/>
              <a:gd name="T13" fmla="*/ 2147483647 h 1092"/>
              <a:gd name="T14" fmla="*/ 2147483647 w 594"/>
              <a:gd name="T15" fmla="*/ 2147483647 h 1092"/>
              <a:gd name="T16" fmla="*/ 2147483647 w 594"/>
              <a:gd name="T17" fmla="*/ 2147483647 h 1092"/>
              <a:gd name="T18" fmla="*/ 2147483647 w 594"/>
              <a:gd name="T19" fmla="*/ 2147483647 h 1092"/>
              <a:gd name="T20" fmla="*/ 2147483647 w 594"/>
              <a:gd name="T21" fmla="*/ 2147483647 h 1092"/>
              <a:gd name="T22" fmla="*/ 2147483647 w 594"/>
              <a:gd name="T23" fmla="*/ 2147483647 h 1092"/>
              <a:gd name="T24" fmla="*/ 2147483647 w 594"/>
              <a:gd name="T25" fmla="*/ 2147483647 h 1092"/>
              <a:gd name="T26" fmla="*/ 2147483647 w 594"/>
              <a:gd name="T27" fmla="*/ 2147483647 h 1092"/>
              <a:gd name="T28" fmla="*/ 2147483647 w 594"/>
              <a:gd name="T29" fmla="*/ 2147483647 h 1092"/>
              <a:gd name="T30" fmla="*/ 2147483647 w 594"/>
              <a:gd name="T31" fmla="*/ 2147483647 h 1092"/>
              <a:gd name="T32" fmla="*/ 2147483647 w 594"/>
              <a:gd name="T33" fmla="*/ 0 h 1092"/>
              <a:gd name="T34" fmla="*/ 2147483647 w 594"/>
              <a:gd name="T35" fmla="*/ 2147483647 h 1092"/>
              <a:gd name="T36" fmla="*/ 2147483647 w 594"/>
              <a:gd name="T37" fmla="*/ 2147483647 h 1092"/>
              <a:gd name="T38" fmla="*/ 2147483647 w 594"/>
              <a:gd name="T39" fmla="*/ 2147483647 h 1092"/>
              <a:gd name="T40" fmla="*/ 2147483647 w 594"/>
              <a:gd name="T41" fmla="*/ 2147483647 h 1092"/>
              <a:gd name="T42" fmla="*/ 2147483647 w 594"/>
              <a:gd name="T43" fmla="*/ 2147483647 h 1092"/>
              <a:gd name="T44" fmla="*/ 2147483647 w 594"/>
              <a:gd name="T45" fmla="*/ 2147483647 h 1092"/>
              <a:gd name="T46" fmla="*/ 2147483647 w 594"/>
              <a:gd name="T47" fmla="*/ 2147483647 h 1092"/>
              <a:gd name="T48" fmla="*/ 2147483647 w 594"/>
              <a:gd name="T49" fmla="*/ 2147483647 h 1092"/>
              <a:gd name="T50" fmla="*/ 2147483647 w 594"/>
              <a:gd name="T51" fmla="*/ 2147483647 h 1092"/>
              <a:gd name="T52" fmla="*/ 2147483647 w 594"/>
              <a:gd name="T53" fmla="*/ 2147483647 h 1092"/>
              <a:gd name="T54" fmla="*/ 2147483647 w 594"/>
              <a:gd name="T55" fmla="*/ 2147483647 h 1092"/>
              <a:gd name="T56" fmla="*/ 2147483647 w 594"/>
              <a:gd name="T57" fmla="*/ 2147483647 h 1092"/>
              <a:gd name="T58" fmla="*/ 2147483647 w 594"/>
              <a:gd name="T59" fmla="*/ 2147483647 h 1092"/>
              <a:gd name="T60" fmla="*/ 2147483647 w 594"/>
              <a:gd name="T61" fmla="*/ 2147483647 h 1092"/>
              <a:gd name="T62" fmla="*/ 2147483647 w 594"/>
              <a:gd name="T63" fmla="*/ 2147483647 h 1092"/>
              <a:gd name="T64" fmla="*/ 2147483647 w 594"/>
              <a:gd name="T65" fmla="*/ 2147483647 h 1092"/>
              <a:gd name="T66" fmla="*/ 2147483647 w 594"/>
              <a:gd name="T67" fmla="*/ 2147483647 h 1092"/>
              <a:gd name="T68" fmla="*/ 2147483647 w 594"/>
              <a:gd name="T69" fmla="*/ 2147483647 h 1092"/>
              <a:gd name="T70" fmla="*/ 2147483647 w 594"/>
              <a:gd name="T71" fmla="*/ 2147483647 h 1092"/>
              <a:gd name="T72" fmla="*/ 2147483647 w 594"/>
              <a:gd name="T73" fmla="*/ 2147483647 h 1092"/>
              <a:gd name="T74" fmla="*/ 2147483647 w 594"/>
              <a:gd name="T75" fmla="*/ 2147483647 h 1092"/>
              <a:gd name="T76" fmla="*/ 2147483647 w 594"/>
              <a:gd name="T77" fmla="*/ 2147483647 h 1092"/>
              <a:gd name="T78" fmla="*/ 2147483647 w 594"/>
              <a:gd name="T79" fmla="*/ 2147483647 h 1092"/>
              <a:gd name="T80" fmla="*/ 2147483647 w 594"/>
              <a:gd name="T81" fmla="*/ 2147483647 h 1092"/>
              <a:gd name="T82" fmla="*/ 2147483647 w 594"/>
              <a:gd name="T83" fmla="*/ 2147483647 h 1092"/>
              <a:gd name="T84" fmla="*/ 2147483647 w 594"/>
              <a:gd name="T85" fmla="*/ 2147483647 h 1092"/>
              <a:gd name="T86" fmla="*/ 0 w 594"/>
              <a:gd name="T87" fmla="*/ 2147483647 h 1092"/>
              <a:gd name="T88" fmla="*/ 2147483647 w 594"/>
              <a:gd name="T89" fmla="*/ 2147483647 h 1092"/>
              <a:gd name="T90" fmla="*/ 2147483647 w 594"/>
              <a:gd name="T91" fmla="*/ 2147483647 h 1092"/>
              <a:gd name="T92" fmla="*/ 2147483647 w 594"/>
              <a:gd name="T93" fmla="*/ 2147483647 h 1092"/>
              <a:gd name="T94" fmla="*/ 2147483647 w 594"/>
              <a:gd name="T95" fmla="*/ 2147483647 h 1092"/>
              <a:gd name="T96" fmla="*/ 2147483647 w 594"/>
              <a:gd name="T97" fmla="*/ 2147483647 h 1092"/>
              <a:gd name="T98" fmla="*/ 2147483647 w 594"/>
              <a:gd name="T99" fmla="*/ 2147483647 h 1092"/>
              <a:gd name="T100" fmla="*/ 2147483647 w 594"/>
              <a:gd name="T101" fmla="*/ 2147483647 h 1092"/>
              <a:gd name="T102" fmla="*/ 2147483647 w 594"/>
              <a:gd name="T103" fmla="*/ 2147483647 h 109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94"/>
              <a:gd name="T157" fmla="*/ 0 h 1092"/>
              <a:gd name="T158" fmla="*/ 594 w 594"/>
              <a:gd name="T159" fmla="*/ 1092 h 109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94" h="1092">
                <a:moveTo>
                  <a:pt x="120" y="330"/>
                </a:moveTo>
                <a:lnTo>
                  <a:pt x="144" y="324"/>
                </a:lnTo>
                <a:lnTo>
                  <a:pt x="192" y="324"/>
                </a:lnTo>
                <a:lnTo>
                  <a:pt x="192" y="300"/>
                </a:lnTo>
                <a:lnTo>
                  <a:pt x="252" y="312"/>
                </a:lnTo>
                <a:lnTo>
                  <a:pt x="270" y="282"/>
                </a:lnTo>
                <a:lnTo>
                  <a:pt x="312" y="288"/>
                </a:lnTo>
                <a:lnTo>
                  <a:pt x="312" y="258"/>
                </a:lnTo>
                <a:lnTo>
                  <a:pt x="324" y="228"/>
                </a:lnTo>
                <a:lnTo>
                  <a:pt x="324" y="258"/>
                </a:lnTo>
                <a:lnTo>
                  <a:pt x="336" y="276"/>
                </a:lnTo>
                <a:lnTo>
                  <a:pt x="348" y="240"/>
                </a:lnTo>
                <a:lnTo>
                  <a:pt x="348" y="210"/>
                </a:lnTo>
                <a:lnTo>
                  <a:pt x="354" y="192"/>
                </a:lnTo>
                <a:lnTo>
                  <a:pt x="354" y="186"/>
                </a:lnTo>
                <a:lnTo>
                  <a:pt x="360" y="186"/>
                </a:lnTo>
                <a:lnTo>
                  <a:pt x="372" y="198"/>
                </a:lnTo>
                <a:lnTo>
                  <a:pt x="372" y="204"/>
                </a:lnTo>
                <a:lnTo>
                  <a:pt x="378" y="204"/>
                </a:lnTo>
                <a:lnTo>
                  <a:pt x="402" y="180"/>
                </a:lnTo>
                <a:lnTo>
                  <a:pt x="396" y="168"/>
                </a:lnTo>
                <a:lnTo>
                  <a:pt x="396" y="150"/>
                </a:lnTo>
                <a:lnTo>
                  <a:pt x="390" y="138"/>
                </a:lnTo>
                <a:lnTo>
                  <a:pt x="402" y="126"/>
                </a:lnTo>
                <a:lnTo>
                  <a:pt x="414" y="126"/>
                </a:lnTo>
                <a:lnTo>
                  <a:pt x="420" y="132"/>
                </a:lnTo>
                <a:lnTo>
                  <a:pt x="426" y="132"/>
                </a:lnTo>
                <a:lnTo>
                  <a:pt x="432" y="126"/>
                </a:lnTo>
                <a:lnTo>
                  <a:pt x="438" y="114"/>
                </a:lnTo>
                <a:lnTo>
                  <a:pt x="450" y="102"/>
                </a:lnTo>
                <a:lnTo>
                  <a:pt x="456" y="90"/>
                </a:lnTo>
                <a:lnTo>
                  <a:pt x="462" y="72"/>
                </a:lnTo>
                <a:lnTo>
                  <a:pt x="462" y="42"/>
                </a:lnTo>
                <a:lnTo>
                  <a:pt x="492" y="0"/>
                </a:lnTo>
                <a:lnTo>
                  <a:pt x="546" y="60"/>
                </a:lnTo>
                <a:lnTo>
                  <a:pt x="546" y="90"/>
                </a:lnTo>
                <a:lnTo>
                  <a:pt x="552" y="96"/>
                </a:lnTo>
                <a:lnTo>
                  <a:pt x="558" y="114"/>
                </a:lnTo>
                <a:lnTo>
                  <a:pt x="576" y="150"/>
                </a:lnTo>
                <a:lnTo>
                  <a:pt x="582" y="156"/>
                </a:lnTo>
                <a:lnTo>
                  <a:pt x="582" y="162"/>
                </a:lnTo>
                <a:lnTo>
                  <a:pt x="564" y="216"/>
                </a:lnTo>
                <a:lnTo>
                  <a:pt x="594" y="276"/>
                </a:lnTo>
                <a:lnTo>
                  <a:pt x="594" y="288"/>
                </a:lnTo>
                <a:lnTo>
                  <a:pt x="588" y="294"/>
                </a:lnTo>
                <a:lnTo>
                  <a:pt x="576" y="294"/>
                </a:lnTo>
                <a:lnTo>
                  <a:pt x="564" y="288"/>
                </a:lnTo>
                <a:lnTo>
                  <a:pt x="558" y="282"/>
                </a:lnTo>
                <a:lnTo>
                  <a:pt x="552" y="282"/>
                </a:lnTo>
                <a:lnTo>
                  <a:pt x="522" y="288"/>
                </a:lnTo>
                <a:lnTo>
                  <a:pt x="528" y="330"/>
                </a:lnTo>
                <a:lnTo>
                  <a:pt x="522" y="336"/>
                </a:lnTo>
                <a:lnTo>
                  <a:pt x="516" y="348"/>
                </a:lnTo>
                <a:lnTo>
                  <a:pt x="504" y="354"/>
                </a:lnTo>
                <a:lnTo>
                  <a:pt x="486" y="390"/>
                </a:lnTo>
                <a:lnTo>
                  <a:pt x="486" y="402"/>
                </a:lnTo>
                <a:lnTo>
                  <a:pt x="492" y="414"/>
                </a:lnTo>
                <a:lnTo>
                  <a:pt x="504" y="450"/>
                </a:lnTo>
                <a:lnTo>
                  <a:pt x="498" y="468"/>
                </a:lnTo>
                <a:lnTo>
                  <a:pt x="486" y="510"/>
                </a:lnTo>
                <a:lnTo>
                  <a:pt x="462" y="570"/>
                </a:lnTo>
                <a:lnTo>
                  <a:pt x="432" y="642"/>
                </a:lnTo>
                <a:lnTo>
                  <a:pt x="390" y="720"/>
                </a:lnTo>
                <a:lnTo>
                  <a:pt x="324" y="852"/>
                </a:lnTo>
                <a:lnTo>
                  <a:pt x="312" y="894"/>
                </a:lnTo>
                <a:lnTo>
                  <a:pt x="306" y="912"/>
                </a:lnTo>
                <a:lnTo>
                  <a:pt x="306" y="948"/>
                </a:lnTo>
                <a:lnTo>
                  <a:pt x="294" y="984"/>
                </a:lnTo>
                <a:lnTo>
                  <a:pt x="276" y="1014"/>
                </a:lnTo>
                <a:lnTo>
                  <a:pt x="258" y="1032"/>
                </a:lnTo>
                <a:lnTo>
                  <a:pt x="240" y="1044"/>
                </a:lnTo>
                <a:lnTo>
                  <a:pt x="222" y="1062"/>
                </a:lnTo>
                <a:lnTo>
                  <a:pt x="216" y="1062"/>
                </a:lnTo>
                <a:lnTo>
                  <a:pt x="210" y="1068"/>
                </a:lnTo>
                <a:lnTo>
                  <a:pt x="186" y="1068"/>
                </a:lnTo>
                <a:lnTo>
                  <a:pt x="150" y="1086"/>
                </a:lnTo>
                <a:lnTo>
                  <a:pt x="114" y="1092"/>
                </a:lnTo>
                <a:lnTo>
                  <a:pt x="78" y="1074"/>
                </a:lnTo>
                <a:lnTo>
                  <a:pt x="60" y="1056"/>
                </a:lnTo>
                <a:lnTo>
                  <a:pt x="48" y="1038"/>
                </a:lnTo>
                <a:lnTo>
                  <a:pt x="36" y="1026"/>
                </a:lnTo>
                <a:lnTo>
                  <a:pt x="36" y="1020"/>
                </a:lnTo>
                <a:lnTo>
                  <a:pt x="30" y="1014"/>
                </a:lnTo>
                <a:lnTo>
                  <a:pt x="48" y="990"/>
                </a:lnTo>
                <a:lnTo>
                  <a:pt x="42" y="978"/>
                </a:lnTo>
                <a:lnTo>
                  <a:pt x="24" y="948"/>
                </a:lnTo>
                <a:lnTo>
                  <a:pt x="12" y="900"/>
                </a:lnTo>
                <a:lnTo>
                  <a:pt x="0" y="834"/>
                </a:lnTo>
                <a:lnTo>
                  <a:pt x="0" y="786"/>
                </a:lnTo>
                <a:lnTo>
                  <a:pt x="6" y="756"/>
                </a:lnTo>
                <a:lnTo>
                  <a:pt x="18" y="738"/>
                </a:lnTo>
                <a:lnTo>
                  <a:pt x="60" y="696"/>
                </a:lnTo>
                <a:lnTo>
                  <a:pt x="72" y="678"/>
                </a:lnTo>
                <a:lnTo>
                  <a:pt x="90" y="672"/>
                </a:lnTo>
                <a:lnTo>
                  <a:pt x="96" y="660"/>
                </a:lnTo>
                <a:lnTo>
                  <a:pt x="108" y="654"/>
                </a:lnTo>
                <a:lnTo>
                  <a:pt x="108" y="636"/>
                </a:lnTo>
                <a:lnTo>
                  <a:pt x="102" y="600"/>
                </a:lnTo>
                <a:lnTo>
                  <a:pt x="96" y="558"/>
                </a:lnTo>
                <a:lnTo>
                  <a:pt x="96" y="522"/>
                </a:lnTo>
                <a:lnTo>
                  <a:pt x="78" y="432"/>
                </a:lnTo>
                <a:lnTo>
                  <a:pt x="90" y="408"/>
                </a:lnTo>
                <a:lnTo>
                  <a:pt x="132" y="366"/>
                </a:lnTo>
                <a:lnTo>
                  <a:pt x="132" y="360"/>
                </a:lnTo>
                <a:lnTo>
                  <a:pt x="120" y="330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5" name="Luxembourg"/>
          <p:cNvSpPr>
            <a:spLocks/>
          </p:cNvSpPr>
          <p:nvPr/>
        </p:nvSpPr>
        <p:spPr bwMode="gray">
          <a:xfrm>
            <a:off x="4195033" y="2640680"/>
            <a:ext cx="20638" cy="17463"/>
          </a:xfrm>
          <a:custGeom>
            <a:avLst/>
            <a:gdLst>
              <a:gd name="T0" fmla="*/ 2147483647 w 54"/>
              <a:gd name="T1" fmla="*/ 2147483647 h 42"/>
              <a:gd name="T2" fmla="*/ 2147483647 w 54"/>
              <a:gd name="T3" fmla="*/ 2147483647 h 42"/>
              <a:gd name="T4" fmla="*/ 2147483647 w 54"/>
              <a:gd name="T5" fmla="*/ 2147483647 h 42"/>
              <a:gd name="T6" fmla="*/ 2147483647 w 54"/>
              <a:gd name="T7" fmla="*/ 2147483647 h 42"/>
              <a:gd name="T8" fmla="*/ 2147483647 w 54"/>
              <a:gd name="T9" fmla="*/ 2147483647 h 42"/>
              <a:gd name="T10" fmla="*/ 2147483647 w 54"/>
              <a:gd name="T11" fmla="*/ 2147483647 h 42"/>
              <a:gd name="T12" fmla="*/ 2147483647 w 54"/>
              <a:gd name="T13" fmla="*/ 2147483647 h 42"/>
              <a:gd name="T14" fmla="*/ 2147483647 w 54"/>
              <a:gd name="T15" fmla="*/ 2147483647 h 42"/>
              <a:gd name="T16" fmla="*/ 2147483647 w 54"/>
              <a:gd name="T17" fmla="*/ 0 h 42"/>
              <a:gd name="T18" fmla="*/ 2147483647 w 54"/>
              <a:gd name="T19" fmla="*/ 0 h 42"/>
              <a:gd name="T20" fmla="*/ 2147483647 w 54"/>
              <a:gd name="T21" fmla="*/ 2147483647 h 42"/>
              <a:gd name="T22" fmla="*/ 2147483647 w 54"/>
              <a:gd name="T23" fmla="*/ 2147483647 h 42"/>
              <a:gd name="T24" fmla="*/ 0 w 54"/>
              <a:gd name="T25" fmla="*/ 2147483647 h 42"/>
              <a:gd name="T26" fmla="*/ 0 w 54"/>
              <a:gd name="T27" fmla="*/ 2147483647 h 42"/>
              <a:gd name="T28" fmla="*/ 2147483647 w 54"/>
              <a:gd name="T29" fmla="*/ 2147483647 h 42"/>
              <a:gd name="T30" fmla="*/ 2147483647 w 54"/>
              <a:gd name="T31" fmla="*/ 2147483647 h 4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4"/>
              <a:gd name="T49" fmla="*/ 0 h 42"/>
              <a:gd name="T50" fmla="*/ 54 w 54"/>
              <a:gd name="T51" fmla="*/ 42 h 4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4" h="42">
                <a:moveTo>
                  <a:pt x="18" y="42"/>
                </a:moveTo>
                <a:lnTo>
                  <a:pt x="30" y="36"/>
                </a:lnTo>
                <a:lnTo>
                  <a:pt x="48" y="42"/>
                </a:lnTo>
                <a:lnTo>
                  <a:pt x="54" y="36"/>
                </a:lnTo>
                <a:lnTo>
                  <a:pt x="54" y="24"/>
                </a:lnTo>
                <a:lnTo>
                  <a:pt x="42" y="18"/>
                </a:lnTo>
                <a:lnTo>
                  <a:pt x="36" y="18"/>
                </a:lnTo>
                <a:lnTo>
                  <a:pt x="30" y="12"/>
                </a:lnTo>
                <a:lnTo>
                  <a:pt x="30" y="0"/>
                </a:lnTo>
                <a:lnTo>
                  <a:pt x="24" y="0"/>
                </a:lnTo>
                <a:lnTo>
                  <a:pt x="18" y="6"/>
                </a:lnTo>
                <a:lnTo>
                  <a:pt x="6" y="12"/>
                </a:lnTo>
                <a:lnTo>
                  <a:pt x="0" y="12"/>
                </a:lnTo>
                <a:lnTo>
                  <a:pt x="0" y="18"/>
                </a:lnTo>
                <a:lnTo>
                  <a:pt x="12" y="30"/>
                </a:lnTo>
                <a:lnTo>
                  <a:pt x="18" y="4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96" name="Lithaunia"/>
          <p:cNvSpPr>
            <a:spLocks/>
          </p:cNvSpPr>
          <p:nvPr/>
        </p:nvSpPr>
        <p:spPr bwMode="gray">
          <a:xfrm>
            <a:off x="4566508" y="2443830"/>
            <a:ext cx="136525" cy="79375"/>
          </a:xfrm>
          <a:custGeom>
            <a:avLst/>
            <a:gdLst>
              <a:gd name="T0" fmla="*/ 2147483647 w 342"/>
              <a:gd name="T1" fmla="*/ 2147483647 h 198"/>
              <a:gd name="T2" fmla="*/ 2147483647 w 342"/>
              <a:gd name="T3" fmla="*/ 2147483647 h 198"/>
              <a:gd name="T4" fmla="*/ 2147483647 w 342"/>
              <a:gd name="T5" fmla="*/ 2147483647 h 198"/>
              <a:gd name="T6" fmla="*/ 2147483647 w 342"/>
              <a:gd name="T7" fmla="*/ 2147483647 h 198"/>
              <a:gd name="T8" fmla="*/ 2147483647 w 342"/>
              <a:gd name="T9" fmla="*/ 2147483647 h 198"/>
              <a:gd name="T10" fmla="*/ 2147483647 w 342"/>
              <a:gd name="T11" fmla="*/ 2147483647 h 198"/>
              <a:gd name="T12" fmla="*/ 2147483647 w 342"/>
              <a:gd name="T13" fmla="*/ 2147483647 h 198"/>
              <a:gd name="T14" fmla="*/ 2147483647 w 342"/>
              <a:gd name="T15" fmla="*/ 2147483647 h 198"/>
              <a:gd name="T16" fmla="*/ 2147483647 w 342"/>
              <a:gd name="T17" fmla="*/ 2147483647 h 198"/>
              <a:gd name="T18" fmla="*/ 2147483647 w 342"/>
              <a:gd name="T19" fmla="*/ 2147483647 h 198"/>
              <a:gd name="T20" fmla="*/ 2147483647 w 342"/>
              <a:gd name="T21" fmla="*/ 2147483647 h 198"/>
              <a:gd name="T22" fmla="*/ 2147483647 w 342"/>
              <a:gd name="T23" fmla="*/ 2147483647 h 198"/>
              <a:gd name="T24" fmla="*/ 2147483647 w 342"/>
              <a:gd name="T25" fmla="*/ 0 h 198"/>
              <a:gd name="T26" fmla="*/ 2147483647 w 342"/>
              <a:gd name="T27" fmla="*/ 2147483647 h 198"/>
              <a:gd name="T28" fmla="*/ 0 w 342"/>
              <a:gd name="T29" fmla="*/ 2147483647 h 198"/>
              <a:gd name="T30" fmla="*/ 2147483647 w 342"/>
              <a:gd name="T31" fmla="*/ 2147483647 h 198"/>
              <a:gd name="T32" fmla="*/ 2147483647 w 342"/>
              <a:gd name="T33" fmla="*/ 2147483647 h 198"/>
              <a:gd name="T34" fmla="*/ 2147483647 w 342"/>
              <a:gd name="T35" fmla="*/ 2147483647 h 198"/>
              <a:gd name="T36" fmla="*/ 2147483647 w 342"/>
              <a:gd name="T37" fmla="*/ 2147483647 h 198"/>
              <a:gd name="T38" fmla="*/ 2147483647 w 342"/>
              <a:gd name="T39" fmla="*/ 2147483647 h 198"/>
              <a:gd name="T40" fmla="*/ 2147483647 w 342"/>
              <a:gd name="T41" fmla="*/ 2147483647 h 198"/>
              <a:gd name="T42" fmla="*/ 2147483647 w 342"/>
              <a:gd name="T43" fmla="*/ 2147483647 h 198"/>
              <a:gd name="T44" fmla="*/ 2147483647 w 342"/>
              <a:gd name="T45" fmla="*/ 2147483647 h 198"/>
              <a:gd name="T46" fmla="*/ 2147483647 w 342"/>
              <a:gd name="T47" fmla="*/ 2147483647 h 198"/>
              <a:gd name="T48" fmla="*/ 2147483647 w 342"/>
              <a:gd name="T49" fmla="*/ 2147483647 h 198"/>
              <a:gd name="T50" fmla="*/ 2147483647 w 342"/>
              <a:gd name="T51" fmla="*/ 2147483647 h 198"/>
              <a:gd name="T52" fmla="*/ 2147483647 w 342"/>
              <a:gd name="T53" fmla="*/ 2147483647 h 198"/>
              <a:gd name="T54" fmla="*/ 2147483647 w 342"/>
              <a:gd name="T55" fmla="*/ 2147483647 h 198"/>
              <a:gd name="T56" fmla="*/ 2147483647 w 342"/>
              <a:gd name="T57" fmla="*/ 2147483647 h 198"/>
              <a:gd name="T58" fmla="*/ 2147483647 w 342"/>
              <a:gd name="T59" fmla="*/ 2147483647 h 198"/>
              <a:gd name="T60" fmla="*/ 2147483647 w 342"/>
              <a:gd name="T61" fmla="*/ 2147483647 h 198"/>
              <a:gd name="T62" fmla="*/ 2147483647 w 342"/>
              <a:gd name="T63" fmla="*/ 2147483647 h 198"/>
              <a:gd name="T64" fmla="*/ 2147483647 w 342"/>
              <a:gd name="T65" fmla="*/ 2147483647 h 198"/>
              <a:gd name="T66" fmla="*/ 2147483647 w 342"/>
              <a:gd name="T67" fmla="*/ 2147483647 h 198"/>
              <a:gd name="T68" fmla="*/ 2147483647 w 342"/>
              <a:gd name="T69" fmla="*/ 2147483647 h 198"/>
              <a:gd name="T70" fmla="*/ 2147483647 w 342"/>
              <a:gd name="T71" fmla="*/ 2147483647 h 198"/>
              <a:gd name="T72" fmla="*/ 2147483647 w 342"/>
              <a:gd name="T73" fmla="*/ 2147483647 h 198"/>
              <a:gd name="T74" fmla="*/ 2147483647 w 342"/>
              <a:gd name="T75" fmla="*/ 2147483647 h 198"/>
              <a:gd name="T76" fmla="*/ 2147483647 w 342"/>
              <a:gd name="T77" fmla="*/ 2147483647 h 198"/>
              <a:gd name="T78" fmla="*/ 2147483647 w 342"/>
              <a:gd name="T79" fmla="*/ 2147483647 h 198"/>
              <a:gd name="T80" fmla="*/ 2147483647 w 342"/>
              <a:gd name="T81" fmla="*/ 2147483647 h 198"/>
              <a:gd name="T82" fmla="*/ 2147483647 w 342"/>
              <a:gd name="T83" fmla="*/ 2147483647 h 198"/>
              <a:gd name="T84" fmla="*/ 2147483647 w 342"/>
              <a:gd name="T85" fmla="*/ 2147483647 h 19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42"/>
              <a:gd name="T130" fmla="*/ 0 h 198"/>
              <a:gd name="T131" fmla="*/ 342 w 342"/>
              <a:gd name="T132" fmla="*/ 198 h 19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42" h="198">
                <a:moveTo>
                  <a:pt x="330" y="60"/>
                </a:moveTo>
                <a:lnTo>
                  <a:pt x="312" y="54"/>
                </a:lnTo>
                <a:lnTo>
                  <a:pt x="294" y="42"/>
                </a:lnTo>
                <a:lnTo>
                  <a:pt x="282" y="30"/>
                </a:lnTo>
                <a:lnTo>
                  <a:pt x="276" y="30"/>
                </a:lnTo>
                <a:lnTo>
                  <a:pt x="264" y="24"/>
                </a:lnTo>
                <a:lnTo>
                  <a:pt x="234" y="24"/>
                </a:lnTo>
                <a:lnTo>
                  <a:pt x="228" y="12"/>
                </a:lnTo>
                <a:lnTo>
                  <a:pt x="222" y="6"/>
                </a:lnTo>
                <a:lnTo>
                  <a:pt x="210" y="6"/>
                </a:lnTo>
                <a:lnTo>
                  <a:pt x="198" y="18"/>
                </a:lnTo>
                <a:lnTo>
                  <a:pt x="180" y="18"/>
                </a:lnTo>
                <a:lnTo>
                  <a:pt x="174" y="12"/>
                </a:lnTo>
                <a:lnTo>
                  <a:pt x="162" y="12"/>
                </a:lnTo>
                <a:lnTo>
                  <a:pt x="156" y="18"/>
                </a:lnTo>
                <a:lnTo>
                  <a:pt x="150" y="18"/>
                </a:lnTo>
                <a:lnTo>
                  <a:pt x="144" y="12"/>
                </a:lnTo>
                <a:lnTo>
                  <a:pt x="138" y="12"/>
                </a:lnTo>
                <a:lnTo>
                  <a:pt x="126" y="6"/>
                </a:lnTo>
                <a:lnTo>
                  <a:pt x="120" y="6"/>
                </a:lnTo>
                <a:lnTo>
                  <a:pt x="114" y="12"/>
                </a:lnTo>
                <a:lnTo>
                  <a:pt x="108" y="12"/>
                </a:lnTo>
                <a:lnTo>
                  <a:pt x="102" y="6"/>
                </a:lnTo>
                <a:lnTo>
                  <a:pt x="96" y="6"/>
                </a:lnTo>
                <a:lnTo>
                  <a:pt x="90" y="0"/>
                </a:lnTo>
                <a:lnTo>
                  <a:pt x="72" y="0"/>
                </a:lnTo>
                <a:lnTo>
                  <a:pt x="60" y="12"/>
                </a:lnTo>
                <a:lnTo>
                  <a:pt x="18" y="12"/>
                </a:lnTo>
                <a:lnTo>
                  <a:pt x="6" y="18"/>
                </a:lnTo>
                <a:lnTo>
                  <a:pt x="0" y="18"/>
                </a:lnTo>
                <a:lnTo>
                  <a:pt x="0" y="60"/>
                </a:lnTo>
                <a:lnTo>
                  <a:pt x="12" y="84"/>
                </a:lnTo>
                <a:lnTo>
                  <a:pt x="18" y="90"/>
                </a:lnTo>
                <a:lnTo>
                  <a:pt x="18" y="96"/>
                </a:lnTo>
                <a:lnTo>
                  <a:pt x="30" y="96"/>
                </a:lnTo>
                <a:lnTo>
                  <a:pt x="30" y="102"/>
                </a:lnTo>
                <a:lnTo>
                  <a:pt x="42" y="102"/>
                </a:lnTo>
                <a:lnTo>
                  <a:pt x="48" y="108"/>
                </a:lnTo>
                <a:lnTo>
                  <a:pt x="72" y="108"/>
                </a:lnTo>
                <a:lnTo>
                  <a:pt x="84" y="102"/>
                </a:lnTo>
                <a:lnTo>
                  <a:pt x="102" y="102"/>
                </a:lnTo>
                <a:lnTo>
                  <a:pt x="108" y="114"/>
                </a:lnTo>
                <a:lnTo>
                  <a:pt x="108" y="132"/>
                </a:lnTo>
                <a:lnTo>
                  <a:pt x="96" y="144"/>
                </a:lnTo>
                <a:lnTo>
                  <a:pt x="102" y="162"/>
                </a:lnTo>
                <a:lnTo>
                  <a:pt x="120" y="162"/>
                </a:lnTo>
                <a:lnTo>
                  <a:pt x="138" y="168"/>
                </a:lnTo>
                <a:lnTo>
                  <a:pt x="144" y="168"/>
                </a:lnTo>
                <a:lnTo>
                  <a:pt x="156" y="174"/>
                </a:lnTo>
                <a:lnTo>
                  <a:pt x="156" y="198"/>
                </a:lnTo>
                <a:lnTo>
                  <a:pt x="162" y="198"/>
                </a:lnTo>
                <a:lnTo>
                  <a:pt x="168" y="192"/>
                </a:lnTo>
                <a:lnTo>
                  <a:pt x="180" y="192"/>
                </a:lnTo>
                <a:lnTo>
                  <a:pt x="192" y="186"/>
                </a:lnTo>
                <a:lnTo>
                  <a:pt x="198" y="186"/>
                </a:lnTo>
                <a:lnTo>
                  <a:pt x="204" y="192"/>
                </a:lnTo>
                <a:lnTo>
                  <a:pt x="204" y="198"/>
                </a:lnTo>
                <a:lnTo>
                  <a:pt x="234" y="198"/>
                </a:lnTo>
                <a:lnTo>
                  <a:pt x="234" y="180"/>
                </a:lnTo>
                <a:lnTo>
                  <a:pt x="246" y="192"/>
                </a:lnTo>
                <a:lnTo>
                  <a:pt x="252" y="180"/>
                </a:lnTo>
                <a:lnTo>
                  <a:pt x="258" y="174"/>
                </a:lnTo>
                <a:lnTo>
                  <a:pt x="270" y="168"/>
                </a:lnTo>
                <a:lnTo>
                  <a:pt x="288" y="168"/>
                </a:lnTo>
                <a:lnTo>
                  <a:pt x="288" y="174"/>
                </a:lnTo>
                <a:lnTo>
                  <a:pt x="282" y="180"/>
                </a:lnTo>
                <a:lnTo>
                  <a:pt x="294" y="180"/>
                </a:lnTo>
                <a:lnTo>
                  <a:pt x="294" y="174"/>
                </a:lnTo>
                <a:lnTo>
                  <a:pt x="288" y="168"/>
                </a:lnTo>
                <a:lnTo>
                  <a:pt x="288" y="156"/>
                </a:lnTo>
                <a:lnTo>
                  <a:pt x="282" y="150"/>
                </a:lnTo>
                <a:lnTo>
                  <a:pt x="282" y="144"/>
                </a:lnTo>
                <a:lnTo>
                  <a:pt x="294" y="144"/>
                </a:lnTo>
                <a:lnTo>
                  <a:pt x="294" y="138"/>
                </a:lnTo>
                <a:lnTo>
                  <a:pt x="288" y="126"/>
                </a:lnTo>
                <a:lnTo>
                  <a:pt x="288" y="120"/>
                </a:lnTo>
                <a:lnTo>
                  <a:pt x="294" y="114"/>
                </a:lnTo>
                <a:lnTo>
                  <a:pt x="312" y="114"/>
                </a:lnTo>
                <a:lnTo>
                  <a:pt x="306" y="96"/>
                </a:lnTo>
                <a:lnTo>
                  <a:pt x="312" y="96"/>
                </a:lnTo>
                <a:lnTo>
                  <a:pt x="318" y="102"/>
                </a:lnTo>
                <a:lnTo>
                  <a:pt x="336" y="102"/>
                </a:lnTo>
                <a:lnTo>
                  <a:pt x="342" y="96"/>
                </a:lnTo>
                <a:lnTo>
                  <a:pt x="324" y="78"/>
                </a:lnTo>
                <a:lnTo>
                  <a:pt x="324" y="72"/>
                </a:lnTo>
                <a:lnTo>
                  <a:pt x="330" y="66"/>
                </a:lnTo>
                <a:lnTo>
                  <a:pt x="330" y="6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7" name="Liechtenstein"/>
          <p:cNvSpPr>
            <a:spLocks/>
          </p:cNvSpPr>
          <p:nvPr/>
        </p:nvSpPr>
        <p:spPr bwMode="gray">
          <a:xfrm>
            <a:off x="4285521" y="2727993"/>
            <a:ext cx="6350" cy="9525"/>
          </a:xfrm>
          <a:custGeom>
            <a:avLst/>
            <a:gdLst>
              <a:gd name="T0" fmla="*/ 2147483647 w 18"/>
              <a:gd name="T1" fmla="*/ 0 h 24"/>
              <a:gd name="T2" fmla="*/ 2147483647 w 18"/>
              <a:gd name="T3" fmla="*/ 2147483647 h 24"/>
              <a:gd name="T4" fmla="*/ 0 w 18"/>
              <a:gd name="T5" fmla="*/ 2147483647 h 24"/>
              <a:gd name="T6" fmla="*/ 0 w 18"/>
              <a:gd name="T7" fmla="*/ 2147483647 h 24"/>
              <a:gd name="T8" fmla="*/ 2147483647 w 18"/>
              <a:gd name="T9" fmla="*/ 2147483647 h 24"/>
              <a:gd name="T10" fmla="*/ 2147483647 w 18"/>
              <a:gd name="T11" fmla="*/ 0 h 24"/>
              <a:gd name="T12" fmla="*/ 2147483647 w 18"/>
              <a:gd name="T13" fmla="*/ 0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24"/>
              <a:gd name="T23" fmla="*/ 18 w 18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24">
                <a:moveTo>
                  <a:pt x="12" y="0"/>
                </a:moveTo>
                <a:lnTo>
                  <a:pt x="6" y="6"/>
                </a:lnTo>
                <a:lnTo>
                  <a:pt x="0" y="18"/>
                </a:lnTo>
                <a:lnTo>
                  <a:pt x="0" y="24"/>
                </a:lnTo>
                <a:lnTo>
                  <a:pt x="18" y="24"/>
                </a:lnTo>
                <a:lnTo>
                  <a:pt x="18" y="0"/>
                </a:lnTo>
                <a:lnTo>
                  <a:pt x="12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98" name="Libya"/>
          <p:cNvSpPr>
            <a:spLocks/>
          </p:cNvSpPr>
          <p:nvPr/>
        </p:nvSpPr>
        <p:spPr bwMode="gray">
          <a:xfrm>
            <a:off x="4282346" y="3182018"/>
            <a:ext cx="442912" cy="446087"/>
          </a:xfrm>
          <a:custGeom>
            <a:avLst/>
            <a:gdLst>
              <a:gd name="T0" fmla="*/ 2147483647 w 1098"/>
              <a:gd name="T1" fmla="*/ 2147483647 h 1110"/>
              <a:gd name="T2" fmla="*/ 2147483647 w 1098"/>
              <a:gd name="T3" fmla="*/ 2147483647 h 1110"/>
              <a:gd name="T4" fmla="*/ 2147483647 w 1098"/>
              <a:gd name="T5" fmla="*/ 2147483647 h 1110"/>
              <a:gd name="T6" fmla="*/ 2147483647 w 1098"/>
              <a:gd name="T7" fmla="*/ 2147483647 h 1110"/>
              <a:gd name="T8" fmla="*/ 2147483647 w 1098"/>
              <a:gd name="T9" fmla="*/ 2147483647 h 1110"/>
              <a:gd name="T10" fmla="*/ 2147483647 w 1098"/>
              <a:gd name="T11" fmla="*/ 2147483647 h 1110"/>
              <a:gd name="T12" fmla="*/ 2147483647 w 1098"/>
              <a:gd name="T13" fmla="*/ 2147483647 h 1110"/>
              <a:gd name="T14" fmla="*/ 2147483647 w 1098"/>
              <a:gd name="T15" fmla="*/ 2147483647 h 1110"/>
              <a:gd name="T16" fmla="*/ 2147483647 w 1098"/>
              <a:gd name="T17" fmla="*/ 2147483647 h 1110"/>
              <a:gd name="T18" fmla="*/ 2147483647 w 1098"/>
              <a:gd name="T19" fmla="*/ 2147483647 h 1110"/>
              <a:gd name="T20" fmla="*/ 2147483647 w 1098"/>
              <a:gd name="T21" fmla="*/ 2147483647 h 1110"/>
              <a:gd name="T22" fmla="*/ 2147483647 w 1098"/>
              <a:gd name="T23" fmla="*/ 2147483647 h 1110"/>
              <a:gd name="T24" fmla="*/ 0 w 1098"/>
              <a:gd name="T25" fmla="*/ 2147483647 h 1110"/>
              <a:gd name="T26" fmla="*/ 2147483647 w 1098"/>
              <a:gd name="T27" fmla="*/ 2147483647 h 1110"/>
              <a:gd name="T28" fmla="*/ 2147483647 w 1098"/>
              <a:gd name="T29" fmla="*/ 2147483647 h 1110"/>
              <a:gd name="T30" fmla="*/ 2147483647 w 1098"/>
              <a:gd name="T31" fmla="*/ 2147483647 h 1110"/>
              <a:gd name="T32" fmla="*/ 2147483647 w 1098"/>
              <a:gd name="T33" fmla="*/ 2147483647 h 1110"/>
              <a:gd name="T34" fmla="*/ 2147483647 w 1098"/>
              <a:gd name="T35" fmla="*/ 2147483647 h 1110"/>
              <a:gd name="T36" fmla="*/ 2147483647 w 1098"/>
              <a:gd name="T37" fmla="*/ 2147483647 h 1110"/>
              <a:gd name="T38" fmla="*/ 2147483647 w 1098"/>
              <a:gd name="T39" fmla="*/ 2147483647 h 1110"/>
              <a:gd name="T40" fmla="*/ 2147483647 w 1098"/>
              <a:gd name="T41" fmla="*/ 2147483647 h 1110"/>
              <a:gd name="T42" fmla="*/ 2147483647 w 1098"/>
              <a:gd name="T43" fmla="*/ 2147483647 h 1110"/>
              <a:gd name="T44" fmla="*/ 2147483647 w 1098"/>
              <a:gd name="T45" fmla="*/ 2147483647 h 1110"/>
              <a:gd name="T46" fmla="*/ 2147483647 w 1098"/>
              <a:gd name="T47" fmla="*/ 2147483647 h 1110"/>
              <a:gd name="T48" fmla="*/ 2147483647 w 1098"/>
              <a:gd name="T49" fmla="*/ 2147483647 h 1110"/>
              <a:gd name="T50" fmla="*/ 2147483647 w 1098"/>
              <a:gd name="T51" fmla="*/ 2147483647 h 1110"/>
              <a:gd name="T52" fmla="*/ 2147483647 w 1098"/>
              <a:gd name="T53" fmla="*/ 2147483647 h 1110"/>
              <a:gd name="T54" fmla="*/ 2147483647 w 1098"/>
              <a:gd name="T55" fmla="*/ 2147483647 h 1110"/>
              <a:gd name="T56" fmla="*/ 2147483647 w 1098"/>
              <a:gd name="T57" fmla="*/ 2147483647 h 1110"/>
              <a:gd name="T58" fmla="*/ 2147483647 w 1098"/>
              <a:gd name="T59" fmla="*/ 2147483647 h 1110"/>
              <a:gd name="T60" fmla="*/ 2147483647 w 1098"/>
              <a:gd name="T61" fmla="*/ 2147483647 h 1110"/>
              <a:gd name="T62" fmla="*/ 2147483647 w 1098"/>
              <a:gd name="T63" fmla="*/ 2147483647 h 1110"/>
              <a:gd name="T64" fmla="*/ 2147483647 w 1098"/>
              <a:gd name="T65" fmla="*/ 2147483647 h 1110"/>
              <a:gd name="T66" fmla="*/ 2147483647 w 1098"/>
              <a:gd name="T67" fmla="*/ 2147483647 h 1110"/>
              <a:gd name="T68" fmla="*/ 2147483647 w 1098"/>
              <a:gd name="T69" fmla="*/ 2147483647 h 1110"/>
              <a:gd name="T70" fmla="*/ 2147483647 w 1098"/>
              <a:gd name="T71" fmla="*/ 2147483647 h 1110"/>
              <a:gd name="T72" fmla="*/ 2147483647 w 1098"/>
              <a:gd name="T73" fmla="*/ 2147483647 h 1110"/>
              <a:gd name="T74" fmla="*/ 2147483647 w 1098"/>
              <a:gd name="T75" fmla="*/ 2147483647 h 1110"/>
              <a:gd name="T76" fmla="*/ 2147483647 w 1098"/>
              <a:gd name="T77" fmla="*/ 2147483647 h 1110"/>
              <a:gd name="T78" fmla="*/ 2147483647 w 1098"/>
              <a:gd name="T79" fmla="*/ 2147483647 h 1110"/>
              <a:gd name="T80" fmla="*/ 2147483647 w 1098"/>
              <a:gd name="T81" fmla="*/ 2147483647 h 1110"/>
              <a:gd name="T82" fmla="*/ 2147483647 w 1098"/>
              <a:gd name="T83" fmla="*/ 2147483647 h 1110"/>
              <a:gd name="T84" fmla="*/ 2147483647 w 1098"/>
              <a:gd name="T85" fmla="*/ 2147483647 h 1110"/>
              <a:gd name="T86" fmla="*/ 2147483647 w 1098"/>
              <a:gd name="T87" fmla="*/ 2147483647 h 1110"/>
              <a:gd name="T88" fmla="*/ 2147483647 w 1098"/>
              <a:gd name="T89" fmla="*/ 2147483647 h 1110"/>
              <a:gd name="T90" fmla="*/ 2147483647 w 1098"/>
              <a:gd name="T91" fmla="*/ 2147483647 h 1110"/>
              <a:gd name="T92" fmla="*/ 2147483647 w 1098"/>
              <a:gd name="T93" fmla="*/ 2147483647 h 1110"/>
              <a:gd name="T94" fmla="*/ 2147483647 w 1098"/>
              <a:gd name="T95" fmla="*/ 2147483647 h 1110"/>
              <a:gd name="T96" fmla="*/ 2147483647 w 1098"/>
              <a:gd name="T97" fmla="*/ 2147483647 h 1110"/>
              <a:gd name="T98" fmla="*/ 2147483647 w 1098"/>
              <a:gd name="T99" fmla="*/ 2147483647 h 1110"/>
              <a:gd name="T100" fmla="*/ 2147483647 w 1098"/>
              <a:gd name="T101" fmla="*/ 2147483647 h 1110"/>
              <a:gd name="T102" fmla="*/ 2147483647 w 1098"/>
              <a:gd name="T103" fmla="*/ 2147483647 h 1110"/>
              <a:gd name="T104" fmla="*/ 2147483647 w 1098"/>
              <a:gd name="T105" fmla="*/ 2147483647 h 1110"/>
              <a:gd name="T106" fmla="*/ 2147483647 w 1098"/>
              <a:gd name="T107" fmla="*/ 2147483647 h 1110"/>
              <a:gd name="T108" fmla="*/ 2147483647 w 1098"/>
              <a:gd name="T109" fmla="*/ 2147483647 h 1110"/>
              <a:gd name="T110" fmla="*/ 2147483647 w 1098"/>
              <a:gd name="T111" fmla="*/ 2147483647 h 1110"/>
              <a:gd name="T112" fmla="*/ 2147483647 w 1098"/>
              <a:gd name="T113" fmla="*/ 2147483647 h 111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098"/>
              <a:gd name="T172" fmla="*/ 0 h 1110"/>
              <a:gd name="T173" fmla="*/ 1098 w 1098"/>
              <a:gd name="T174" fmla="*/ 1110 h 111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098" h="1110">
                <a:moveTo>
                  <a:pt x="156" y="60"/>
                </a:moveTo>
                <a:lnTo>
                  <a:pt x="150" y="66"/>
                </a:lnTo>
                <a:lnTo>
                  <a:pt x="126" y="78"/>
                </a:lnTo>
                <a:lnTo>
                  <a:pt x="114" y="78"/>
                </a:lnTo>
                <a:lnTo>
                  <a:pt x="102" y="84"/>
                </a:lnTo>
                <a:lnTo>
                  <a:pt x="96" y="90"/>
                </a:lnTo>
                <a:lnTo>
                  <a:pt x="90" y="102"/>
                </a:lnTo>
                <a:lnTo>
                  <a:pt x="84" y="108"/>
                </a:lnTo>
                <a:lnTo>
                  <a:pt x="78" y="120"/>
                </a:lnTo>
                <a:lnTo>
                  <a:pt x="72" y="120"/>
                </a:lnTo>
                <a:lnTo>
                  <a:pt x="54" y="138"/>
                </a:lnTo>
                <a:lnTo>
                  <a:pt x="54" y="156"/>
                </a:lnTo>
                <a:lnTo>
                  <a:pt x="66" y="180"/>
                </a:lnTo>
                <a:lnTo>
                  <a:pt x="66" y="204"/>
                </a:lnTo>
                <a:lnTo>
                  <a:pt x="36" y="234"/>
                </a:lnTo>
                <a:lnTo>
                  <a:pt x="30" y="234"/>
                </a:lnTo>
                <a:lnTo>
                  <a:pt x="24" y="240"/>
                </a:lnTo>
                <a:lnTo>
                  <a:pt x="12" y="246"/>
                </a:lnTo>
                <a:lnTo>
                  <a:pt x="6" y="246"/>
                </a:lnTo>
                <a:lnTo>
                  <a:pt x="0" y="252"/>
                </a:lnTo>
                <a:lnTo>
                  <a:pt x="12" y="270"/>
                </a:lnTo>
                <a:lnTo>
                  <a:pt x="36" y="330"/>
                </a:lnTo>
                <a:lnTo>
                  <a:pt x="48" y="354"/>
                </a:lnTo>
                <a:lnTo>
                  <a:pt x="48" y="360"/>
                </a:lnTo>
                <a:lnTo>
                  <a:pt x="42" y="372"/>
                </a:lnTo>
                <a:lnTo>
                  <a:pt x="42" y="402"/>
                </a:lnTo>
                <a:lnTo>
                  <a:pt x="36" y="408"/>
                </a:lnTo>
                <a:lnTo>
                  <a:pt x="36" y="414"/>
                </a:lnTo>
                <a:lnTo>
                  <a:pt x="42" y="432"/>
                </a:lnTo>
                <a:lnTo>
                  <a:pt x="30" y="456"/>
                </a:lnTo>
                <a:lnTo>
                  <a:pt x="36" y="510"/>
                </a:lnTo>
                <a:lnTo>
                  <a:pt x="36" y="516"/>
                </a:lnTo>
                <a:lnTo>
                  <a:pt x="42" y="522"/>
                </a:lnTo>
                <a:lnTo>
                  <a:pt x="42" y="534"/>
                </a:lnTo>
                <a:lnTo>
                  <a:pt x="36" y="546"/>
                </a:lnTo>
                <a:lnTo>
                  <a:pt x="30" y="552"/>
                </a:lnTo>
                <a:lnTo>
                  <a:pt x="18" y="558"/>
                </a:lnTo>
                <a:lnTo>
                  <a:pt x="6" y="558"/>
                </a:lnTo>
                <a:lnTo>
                  <a:pt x="0" y="564"/>
                </a:lnTo>
                <a:lnTo>
                  <a:pt x="0" y="570"/>
                </a:lnTo>
                <a:lnTo>
                  <a:pt x="6" y="582"/>
                </a:lnTo>
                <a:lnTo>
                  <a:pt x="18" y="594"/>
                </a:lnTo>
                <a:lnTo>
                  <a:pt x="24" y="612"/>
                </a:lnTo>
                <a:lnTo>
                  <a:pt x="36" y="624"/>
                </a:lnTo>
                <a:lnTo>
                  <a:pt x="42" y="636"/>
                </a:lnTo>
                <a:lnTo>
                  <a:pt x="48" y="642"/>
                </a:lnTo>
                <a:lnTo>
                  <a:pt x="48" y="684"/>
                </a:lnTo>
                <a:lnTo>
                  <a:pt x="72" y="708"/>
                </a:lnTo>
                <a:lnTo>
                  <a:pt x="96" y="696"/>
                </a:lnTo>
                <a:lnTo>
                  <a:pt x="102" y="696"/>
                </a:lnTo>
                <a:lnTo>
                  <a:pt x="138" y="714"/>
                </a:lnTo>
                <a:lnTo>
                  <a:pt x="150" y="714"/>
                </a:lnTo>
                <a:lnTo>
                  <a:pt x="162" y="726"/>
                </a:lnTo>
                <a:lnTo>
                  <a:pt x="162" y="732"/>
                </a:lnTo>
                <a:lnTo>
                  <a:pt x="168" y="744"/>
                </a:lnTo>
                <a:lnTo>
                  <a:pt x="174" y="762"/>
                </a:lnTo>
                <a:lnTo>
                  <a:pt x="180" y="774"/>
                </a:lnTo>
                <a:lnTo>
                  <a:pt x="186" y="780"/>
                </a:lnTo>
                <a:lnTo>
                  <a:pt x="186" y="786"/>
                </a:lnTo>
                <a:lnTo>
                  <a:pt x="222" y="792"/>
                </a:lnTo>
                <a:lnTo>
                  <a:pt x="234" y="792"/>
                </a:lnTo>
                <a:lnTo>
                  <a:pt x="246" y="798"/>
                </a:lnTo>
                <a:lnTo>
                  <a:pt x="258" y="798"/>
                </a:lnTo>
                <a:lnTo>
                  <a:pt x="276" y="804"/>
                </a:lnTo>
                <a:lnTo>
                  <a:pt x="288" y="810"/>
                </a:lnTo>
                <a:lnTo>
                  <a:pt x="294" y="810"/>
                </a:lnTo>
                <a:lnTo>
                  <a:pt x="300" y="816"/>
                </a:lnTo>
                <a:lnTo>
                  <a:pt x="312" y="822"/>
                </a:lnTo>
                <a:lnTo>
                  <a:pt x="318" y="828"/>
                </a:lnTo>
                <a:lnTo>
                  <a:pt x="324" y="840"/>
                </a:lnTo>
                <a:lnTo>
                  <a:pt x="336" y="846"/>
                </a:lnTo>
                <a:lnTo>
                  <a:pt x="342" y="852"/>
                </a:lnTo>
                <a:lnTo>
                  <a:pt x="360" y="846"/>
                </a:lnTo>
                <a:lnTo>
                  <a:pt x="396" y="828"/>
                </a:lnTo>
                <a:lnTo>
                  <a:pt x="456" y="792"/>
                </a:lnTo>
                <a:lnTo>
                  <a:pt x="468" y="786"/>
                </a:lnTo>
                <a:lnTo>
                  <a:pt x="1026" y="1110"/>
                </a:lnTo>
                <a:lnTo>
                  <a:pt x="1026" y="1062"/>
                </a:lnTo>
                <a:lnTo>
                  <a:pt x="1098" y="1062"/>
                </a:lnTo>
                <a:lnTo>
                  <a:pt x="1098" y="828"/>
                </a:lnTo>
                <a:lnTo>
                  <a:pt x="1092" y="750"/>
                </a:lnTo>
                <a:lnTo>
                  <a:pt x="1092" y="660"/>
                </a:lnTo>
                <a:lnTo>
                  <a:pt x="1086" y="564"/>
                </a:lnTo>
                <a:lnTo>
                  <a:pt x="1086" y="468"/>
                </a:lnTo>
                <a:lnTo>
                  <a:pt x="1080" y="390"/>
                </a:lnTo>
                <a:lnTo>
                  <a:pt x="1080" y="306"/>
                </a:lnTo>
                <a:lnTo>
                  <a:pt x="1068" y="270"/>
                </a:lnTo>
                <a:lnTo>
                  <a:pt x="1056" y="258"/>
                </a:lnTo>
                <a:lnTo>
                  <a:pt x="1050" y="246"/>
                </a:lnTo>
                <a:lnTo>
                  <a:pt x="1050" y="240"/>
                </a:lnTo>
                <a:lnTo>
                  <a:pt x="1056" y="228"/>
                </a:lnTo>
                <a:lnTo>
                  <a:pt x="1062" y="222"/>
                </a:lnTo>
                <a:lnTo>
                  <a:pt x="1068" y="210"/>
                </a:lnTo>
                <a:lnTo>
                  <a:pt x="1074" y="204"/>
                </a:lnTo>
                <a:lnTo>
                  <a:pt x="1074" y="198"/>
                </a:lnTo>
                <a:lnTo>
                  <a:pt x="1068" y="186"/>
                </a:lnTo>
                <a:lnTo>
                  <a:pt x="1056" y="180"/>
                </a:lnTo>
                <a:lnTo>
                  <a:pt x="1056" y="150"/>
                </a:lnTo>
                <a:lnTo>
                  <a:pt x="1080" y="126"/>
                </a:lnTo>
                <a:lnTo>
                  <a:pt x="1074" y="114"/>
                </a:lnTo>
                <a:lnTo>
                  <a:pt x="1074" y="96"/>
                </a:lnTo>
                <a:lnTo>
                  <a:pt x="1056" y="102"/>
                </a:lnTo>
                <a:lnTo>
                  <a:pt x="1044" y="90"/>
                </a:lnTo>
                <a:lnTo>
                  <a:pt x="1032" y="102"/>
                </a:lnTo>
                <a:lnTo>
                  <a:pt x="1026" y="102"/>
                </a:lnTo>
                <a:lnTo>
                  <a:pt x="1020" y="96"/>
                </a:lnTo>
                <a:lnTo>
                  <a:pt x="1008" y="90"/>
                </a:lnTo>
                <a:lnTo>
                  <a:pt x="1002" y="84"/>
                </a:lnTo>
                <a:lnTo>
                  <a:pt x="990" y="78"/>
                </a:lnTo>
                <a:lnTo>
                  <a:pt x="978" y="78"/>
                </a:lnTo>
                <a:lnTo>
                  <a:pt x="966" y="84"/>
                </a:lnTo>
                <a:lnTo>
                  <a:pt x="954" y="84"/>
                </a:lnTo>
                <a:lnTo>
                  <a:pt x="942" y="78"/>
                </a:lnTo>
                <a:lnTo>
                  <a:pt x="936" y="72"/>
                </a:lnTo>
                <a:lnTo>
                  <a:pt x="936" y="48"/>
                </a:lnTo>
                <a:lnTo>
                  <a:pt x="930" y="42"/>
                </a:lnTo>
                <a:lnTo>
                  <a:pt x="918" y="36"/>
                </a:lnTo>
                <a:lnTo>
                  <a:pt x="882" y="36"/>
                </a:lnTo>
                <a:lnTo>
                  <a:pt x="876" y="30"/>
                </a:lnTo>
                <a:lnTo>
                  <a:pt x="864" y="30"/>
                </a:lnTo>
                <a:lnTo>
                  <a:pt x="852" y="24"/>
                </a:lnTo>
                <a:lnTo>
                  <a:pt x="840" y="24"/>
                </a:lnTo>
                <a:lnTo>
                  <a:pt x="834" y="30"/>
                </a:lnTo>
                <a:lnTo>
                  <a:pt x="834" y="36"/>
                </a:lnTo>
                <a:lnTo>
                  <a:pt x="798" y="36"/>
                </a:lnTo>
                <a:lnTo>
                  <a:pt x="780" y="42"/>
                </a:lnTo>
                <a:lnTo>
                  <a:pt x="768" y="48"/>
                </a:lnTo>
                <a:lnTo>
                  <a:pt x="732" y="84"/>
                </a:lnTo>
                <a:lnTo>
                  <a:pt x="720" y="108"/>
                </a:lnTo>
                <a:lnTo>
                  <a:pt x="720" y="120"/>
                </a:lnTo>
                <a:lnTo>
                  <a:pt x="726" y="138"/>
                </a:lnTo>
                <a:lnTo>
                  <a:pt x="738" y="150"/>
                </a:lnTo>
                <a:lnTo>
                  <a:pt x="744" y="162"/>
                </a:lnTo>
                <a:lnTo>
                  <a:pt x="744" y="180"/>
                </a:lnTo>
                <a:lnTo>
                  <a:pt x="738" y="192"/>
                </a:lnTo>
                <a:lnTo>
                  <a:pt x="714" y="216"/>
                </a:lnTo>
                <a:lnTo>
                  <a:pt x="708" y="228"/>
                </a:lnTo>
                <a:lnTo>
                  <a:pt x="696" y="234"/>
                </a:lnTo>
                <a:lnTo>
                  <a:pt x="666" y="234"/>
                </a:lnTo>
                <a:lnTo>
                  <a:pt x="648" y="228"/>
                </a:lnTo>
                <a:lnTo>
                  <a:pt x="630" y="216"/>
                </a:lnTo>
                <a:lnTo>
                  <a:pt x="612" y="198"/>
                </a:lnTo>
                <a:lnTo>
                  <a:pt x="582" y="180"/>
                </a:lnTo>
                <a:lnTo>
                  <a:pt x="552" y="168"/>
                </a:lnTo>
                <a:lnTo>
                  <a:pt x="528" y="162"/>
                </a:lnTo>
                <a:lnTo>
                  <a:pt x="462" y="162"/>
                </a:lnTo>
                <a:lnTo>
                  <a:pt x="438" y="150"/>
                </a:lnTo>
                <a:lnTo>
                  <a:pt x="426" y="138"/>
                </a:lnTo>
                <a:lnTo>
                  <a:pt x="420" y="126"/>
                </a:lnTo>
                <a:lnTo>
                  <a:pt x="414" y="108"/>
                </a:lnTo>
                <a:lnTo>
                  <a:pt x="414" y="96"/>
                </a:lnTo>
                <a:lnTo>
                  <a:pt x="402" y="72"/>
                </a:lnTo>
                <a:lnTo>
                  <a:pt x="378" y="60"/>
                </a:lnTo>
                <a:lnTo>
                  <a:pt x="366" y="60"/>
                </a:lnTo>
                <a:lnTo>
                  <a:pt x="354" y="54"/>
                </a:lnTo>
                <a:lnTo>
                  <a:pt x="348" y="48"/>
                </a:lnTo>
                <a:lnTo>
                  <a:pt x="324" y="36"/>
                </a:lnTo>
                <a:lnTo>
                  <a:pt x="318" y="36"/>
                </a:lnTo>
                <a:lnTo>
                  <a:pt x="306" y="30"/>
                </a:lnTo>
                <a:lnTo>
                  <a:pt x="264" y="30"/>
                </a:lnTo>
                <a:lnTo>
                  <a:pt x="252" y="36"/>
                </a:lnTo>
                <a:lnTo>
                  <a:pt x="216" y="36"/>
                </a:lnTo>
                <a:lnTo>
                  <a:pt x="192" y="24"/>
                </a:lnTo>
                <a:lnTo>
                  <a:pt x="180" y="12"/>
                </a:lnTo>
                <a:lnTo>
                  <a:pt x="168" y="6"/>
                </a:lnTo>
                <a:lnTo>
                  <a:pt x="150" y="6"/>
                </a:lnTo>
                <a:lnTo>
                  <a:pt x="144" y="0"/>
                </a:lnTo>
                <a:lnTo>
                  <a:pt x="138" y="42"/>
                </a:lnTo>
                <a:lnTo>
                  <a:pt x="144" y="42"/>
                </a:lnTo>
                <a:lnTo>
                  <a:pt x="156" y="54"/>
                </a:lnTo>
                <a:lnTo>
                  <a:pt x="156" y="6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9" name="Liberia"/>
          <p:cNvSpPr>
            <a:spLocks/>
          </p:cNvSpPr>
          <p:nvPr/>
        </p:nvSpPr>
        <p:spPr bwMode="gray">
          <a:xfrm>
            <a:off x="3680683" y="3980530"/>
            <a:ext cx="123825" cy="139700"/>
          </a:xfrm>
          <a:custGeom>
            <a:avLst/>
            <a:gdLst>
              <a:gd name="T0" fmla="*/ 2147483647 w 312"/>
              <a:gd name="T1" fmla="*/ 2147483647 h 342"/>
              <a:gd name="T2" fmla="*/ 2147483647 w 312"/>
              <a:gd name="T3" fmla="*/ 2147483647 h 342"/>
              <a:gd name="T4" fmla="*/ 2147483647 w 312"/>
              <a:gd name="T5" fmla="*/ 2147483647 h 342"/>
              <a:gd name="T6" fmla="*/ 2147483647 w 312"/>
              <a:gd name="T7" fmla="*/ 2147483647 h 342"/>
              <a:gd name="T8" fmla="*/ 2147483647 w 312"/>
              <a:gd name="T9" fmla="*/ 2147483647 h 342"/>
              <a:gd name="T10" fmla="*/ 2147483647 w 312"/>
              <a:gd name="T11" fmla="*/ 2147483647 h 342"/>
              <a:gd name="T12" fmla="*/ 2147483647 w 312"/>
              <a:gd name="T13" fmla="*/ 2147483647 h 342"/>
              <a:gd name="T14" fmla="*/ 2147483647 w 312"/>
              <a:gd name="T15" fmla="*/ 2147483647 h 342"/>
              <a:gd name="T16" fmla="*/ 2147483647 w 312"/>
              <a:gd name="T17" fmla="*/ 2147483647 h 342"/>
              <a:gd name="T18" fmla="*/ 2147483647 w 312"/>
              <a:gd name="T19" fmla="*/ 2147483647 h 342"/>
              <a:gd name="T20" fmla="*/ 2147483647 w 312"/>
              <a:gd name="T21" fmla="*/ 2147483647 h 342"/>
              <a:gd name="T22" fmla="*/ 2147483647 w 312"/>
              <a:gd name="T23" fmla="*/ 2147483647 h 342"/>
              <a:gd name="T24" fmla="*/ 2147483647 w 312"/>
              <a:gd name="T25" fmla="*/ 2147483647 h 342"/>
              <a:gd name="T26" fmla="*/ 2147483647 w 312"/>
              <a:gd name="T27" fmla="*/ 2147483647 h 342"/>
              <a:gd name="T28" fmla="*/ 2147483647 w 312"/>
              <a:gd name="T29" fmla="*/ 2147483647 h 342"/>
              <a:gd name="T30" fmla="*/ 2147483647 w 312"/>
              <a:gd name="T31" fmla="*/ 2147483647 h 342"/>
              <a:gd name="T32" fmla="*/ 2147483647 w 312"/>
              <a:gd name="T33" fmla="*/ 2147483647 h 342"/>
              <a:gd name="T34" fmla="*/ 2147483647 w 312"/>
              <a:gd name="T35" fmla="*/ 2147483647 h 342"/>
              <a:gd name="T36" fmla="*/ 2147483647 w 312"/>
              <a:gd name="T37" fmla="*/ 2147483647 h 342"/>
              <a:gd name="T38" fmla="*/ 2147483647 w 312"/>
              <a:gd name="T39" fmla="*/ 2147483647 h 342"/>
              <a:gd name="T40" fmla="*/ 2147483647 w 312"/>
              <a:gd name="T41" fmla="*/ 2147483647 h 342"/>
              <a:gd name="T42" fmla="*/ 2147483647 w 312"/>
              <a:gd name="T43" fmla="*/ 2147483647 h 342"/>
              <a:gd name="T44" fmla="*/ 2147483647 w 312"/>
              <a:gd name="T45" fmla="*/ 2147483647 h 342"/>
              <a:gd name="T46" fmla="*/ 2147483647 w 312"/>
              <a:gd name="T47" fmla="*/ 2147483647 h 342"/>
              <a:gd name="T48" fmla="*/ 2147483647 w 312"/>
              <a:gd name="T49" fmla="*/ 2147483647 h 342"/>
              <a:gd name="T50" fmla="*/ 2147483647 w 312"/>
              <a:gd name="T51" fmla="*/ 0 h 342"/>
              <a:gd name="T52" fmla="*/ 2147483647 w 312"/>
              <a:gd name="T53" fmla="*/ 0 h 342"/>
              <a:gd name="T54" fmla="*/ 2147483647 w 312"/>
              <a:gd name="T55" fmla="*/ 2147483647 h 342"/>
              <a:gd name="T56" fmla="*/ 2147483647 w 312"/>
              <a:gd name="T57" fmla="*/ 2147483647 h 342"/>
              <a:gd name="T58" fmla="*/ 2147483647 w 312"/>
              <a:gd name="T59" fmla="*/ 2147483647 h 342"/>
              <a:gd name="T60" fmla="*/ 2147483647 w 312"/>
              <a:gd name="T61" fmla="*/ 2147483647 h 342"/>
              <a:gd name="T62" fmla="*/ 2147483647 w 312"/>
              <a:gd name="T63" fmla="*/ 2147483647 h 342"/>
              <a:gd name="T64" fmla="*/ 2147483647 w 312"/>
              <a:gd name="T65" fmla="*/ 2147483647 h 342"/>
              <a:gd name="T66" fmla="*/ 2147483647 w 312"/>
              <a:gd name="T67" fmla="*/ 2147483647 h 342"/>
              <a:gd name="T68" fmla="*/ 2147483647 w 312"/>
              <a:gd name="T69" fmla="*/ 2147483647 h 342"/>
              <a:gd name="T70" fmla="*/ 2147483647 w 312"/>
              <a:gd name="T71" fmla="*/ 2147483647 h 342"/>
              <a:gd name="T72" fmla="*/ 2147483647 w 312"/>
              <a:gd name="T73" fmla="*/ 2147483647 h 342"/>
              <a:gd name="T74" fmla="*/ 2147483647 w 312"/>
              <a:gd name="T75" fmla="*/ 2147483647 h 342"/>
              <a:gd name="T76" fmla="*/ 2147483647 w 312"/>
              <a:gd name="T77" fmla="*/ 2147483647 h 342"/>
              <a:gd name="T78" fmla="*/ 0 w 312"/>
              <a:gd name="T79" fmla="*/ 2147483647 h 342"/>
              <a:gd name="T80" fmla="*/ 2147483647 w 312"/>
              <a:gd name="T81" fmla="*/ 2147483647 h 342"/>
              <a:gd name="T82" fmla="*/ 2147483647 w 312"/>
              <a:gd name="T83" fmla="*/ 2147483647 h 342"/>
              <a:gd name="T84" fmla="*/ 2147483647 w 312"/>
              <a:gd name="T85" fmla="*/ 2147483647 h 342"/>
              <a:gd name="T86" fmla="*/ 2147483647 w 312"/>
              <a:gd name="T87" fmla="*/ 2147483647 h 342"/>
              <a:gd name="T88" fmla="*/ 2147483647 w 312"/>
              <a:gd name="T89" fmla="*/ 2147483647 h 342"/>
              <a:gd name="T90" fmla="*/ 2147483647 w 312"/>
              <a:gd name="T91" fmla="*/ 2147483647 h 342"/>
              <a:gd name="T92" fmla="*/ 2147483647 w 312"/>
              <a:gd name="T93" fmla="*/ 2147483647 h 342"/>
              <a:gd name="T94" fmla="*/ 2147483647 w 312"/>
              <a:gd name="T95" fmla="*/ 2147483647 h 342"/>
              <a:gd name="T96" fmla="*/ 2147483647 w 312"/>
              <a:gd name="T97" fmla="*/ 2147483647 h 342"/>
              <a:gd name="T98" fmla="*/ 2147483647 w 312"/>
              <a:gd name="T99" fmla="*/ 2147483647 h 342"/>
              <a:gd name="T100" fmla="*/ 2147483647 w 312"/>
              <a:gd name="T101" fmla="*/ 2147483647 h 342"/>
              <a:gd name="T102" fmla="*/ 2147483647 w 312"/>
              <a:gd name="T103" fmla="*/ 2147483647 h 342"/>
              <a:gd name="T104" fmla="*/ 2147483647 w 312"/>
              <a:gd name="T105" fmla="*/ 2147483647 h 342"/>
              <a:gd name="T106" fmla="*/ 2147483647 w 312"/>
              <a:gd name="T107" fmla="*/ 2147483647 h 342"/>
              <a:gd name="T108" fmla="*/ 2147483647 w 312"/>
              <a:gd name="T109" fmla="*/ 2147483647 h 342"/>
              <a:gd name="T110" fmla="*/ 2147483647 w 312"/>
              <a:gd name="T111" fmla="*/ 2147483647 h 342"/>
              <a:gd name="T112" fmla="*/ 2147483647 w 312"/>
              <a:gd name="T113" fmla="*/ 2147483647 h 342"/>
              <a:gd name="T114" fmla="*/ 2147483647 w 312"/>
              <a:gd name="T115" fmla="*/ 2147483647 h 342"/>
              <a:gd name="T116" fmla="*/ 2147483647 w 312"/>
              <a:gd name="T117" fmla="*/ 2147483647 h 342"/>
              <a:gd name="T118" fmla="*/ 2147483647 w 312"/>
              <a:gd name="T119" fmla="*/ 2147483647 h 342"/>
              <a:gd name="T120" fmla="*/ 2147483647 w 312"/>
              <a:gd name="T121" fmla="*/ 2147483647 h 34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12"/>
              <a:gd name="T184" fmla="*/ 0 h 342"/>
              <a:gd name="T185" fmla="*/ 312 w 312"/>
              <a:gd name="T186" fmla="*/ 342 h 34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12" h="342">
                <a:moveTo>
                  <a:pt x="312" y="252"/>
                </a:moveTo>
                <a:lnTo>
                  <a:pt x="312" y="240"/>
                </a:lnTo>
                <a:lnTo>
                  <a:pt x="282" y="210"/>
                </a:lnTo>
                <a:lnTo>
                  <a:pt x="282" y="180"/>
                </a:lnTo>
                <a:lnTo>
                  <a:pt x="246" y="186"/>
                </a:lnTo>
                <a:lnTo>
                  <a:pt x="246" y="174"/>
                </a:lnTo>
                <a:lnTo>
                  <a:pt x="228" y="174"/>
                </a:lnTo>
                <a:lnTo>
                  <a:pt x="222" y="168"/>
                </a:lnTo>
                <a:lnTo>
                  <a:pt x="228" y="156"/>
                </a:lnTo>
                <a:lnTo>
                  <a:pt x="240" y="150"/>
                </a:lnTo>
                <a:lnTo>
                  <a:pt x="246" y="132"/>
                </a:lnTo>
                <a:lnTo>
                  <a:pt x="246" y="108"/>
                </a:lnTo>
                <a:lnTo>
                  <a:pt x="228" y="72"/>
                </a:lnTo>
                <a:lnTo>
                  <a:pt x="222" y="72"/>
                </a:lnTo>
                <a:lnTo>
                  <a:pt x="216" y="78"/>
                </a:lnTo>
                <a:lnTo>
                  <a:pt x="210" y="90"/>
                </a:lnTo>
                <a:lnTo>
                  <a:pt x="210" y="102"/>
                </a:lnTo>
                <a:lnTo>
                  <a:pt x="198" y="114"/>
                </a:lnTo>
                <a:lnTo>
                  <a:pt x="192" y="114"/>
                </a:lnTo>
                <a:lnTo>
                  <a:pt x="180" y="102"/>
                </a:lnTo>
                <a:lnTo>
                  <a:pt x="180" y="96"/>
                </a:lnTo>
                <a:lnTo>
                  <a:pt x="168" y="96"/>
                </a:lnTo>
                <a:lnTo>
                  <a:pt x="168" y="36"/>
                </a:lnTo>
                <a:lnTo>
                  <a:pt x="162" y="18"/>
                </a:lnTo>
                <a:lnTo>
                  <a:pt x="150" y="6"/>
                </a:lnTo>
                <a:lnTo>
                  <a:pt x="138" y="0"/>
                </a:lnTo>
                <a:lnTo>
                  <a:pt x="132" y="0"/>
                </a:lnTo>
                <a:lnTo>
                  <a:pt x="126" y="6"/>
                </a:lnTo>
                <a:lnTo>
                  <a:pt x="126" y="18"/>
                </a:lnTo>
                <a:lnTo>
                  <a:pt x="102" y="12"/>
                </a:lnTo>
                <a:lnTo>
                  <a:pt x="108" y="36"/>
                </a:lnTo>
                <a:lnTo>
                  <a:pt x="84" y="42"/>
                </a:lnTo>
                <a:lnTo>
                  <a:pt x="84" y="60"/>
                </a:lnTo>
                <a:lnTo>
                  <a:pt x="78" y="72"/>
                </a:lnTo>
                <a:lnTo>
                  <a:pt x="66" y="78"/>
                </a:lnTo>
                <a:lnTo>
                  <a:pt x="54" y="90"/>
                </a:lnTo>
                <a:lnTo>
                  <a:pt x="42" y="96"/>
                </a:lnTo>
                <a:lnTo>
                  <a:pt x="24" y="114"/>
                </a:lnTo>
                <a:lnTo>
                  <a:pt x="24" y="150"/>
                </a:lnTo>
                <a:lnTo>
                  <a:pt x="0" y="126"/>
                </a:lnTo>
                <a:lnTo>
                  <a:pt x="36" y="162"/>
                </a:lnTo>
                <a:lnTo>
                  <a:pt x="60" y="162"/>
                </a:lnTo>
                <a:lnTo>
                  <a:pt x="72" y="192"/>
                </a:lnTo>
                <a:lnTo>
                  <a:pt x="102" y="192"/>
                </a:lnTo>
                <a:lnTo>
                  <a:pt x="108" y="198"/>
                </a:lnTo>
                <a:lnTo>
                  <a:pt x="120" y="222"/>
                </a:lnTo>
                <a:lnTo>
                  <a:pt x="132" y="240"/>
                </a:lnTo>
                <a:lnTo>
                  <a:pt x="150" y="252"/>
                </a:lnTo>
                <a:lnTo>
                  <a:pt x="162" y="270"/>
                </a:lnTo>
                <a:lnTo>
                  <a:pt x="180" y="282"/>
                </a:lnTo>
                <a:lnTo>
                  <a:pt x="198" y="288"/>
                </a:lnTo>
                <a:lnTo>
                  <a:pt x="210" y="294"/>
                </a:lnTo>
                <a:lnTo>
                  <a:pt x="228" y="300"/>
                </a:lnTo>
                <a:lnTo>
                  <a:pt x="258" y="330"/>
                </a:lnTo>
                <a:lnTo>
                  <a:pt x="294" y="342"/>
                </a:lnTo>
                <a:lnTo>
                  <a:pt x="300" y="342"/>
                </a:lnTo>
                <a:lnTo>
                  <a:pt x="300" y="294"/>
                </a:lnTo>
                <a:lnTo>
                  <a:pt x="306" y="288"/>
                </a:lnTo>
                <a:lnTo>
                  <a:pt x="306" y="276"/>
                </a:lnTo>
                <a:lnTo>
                  <a:pt x="312" y="264"/>
                </a:lnTo>
                <a:lnTo>
                  <a:pt x="312" y="25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0" name="Lebanon"/>
          <p:cNvSpPr>
            <a:spLocks/>
          </p:cNvSpPr>
          <p:nvPr/>
        </p:nvSpPr>
        <p:spPr bwMode="gray">
          <a:xfrm>
            <a:off x="4979258" y="3135980"/>
            <a:ext cx="42863" cy="63500"/>
          </a:xfrm>
          <a:custGeom>
            <a:avLst/>
            <a:gdLst>
              <a:gd name="T0" fmla="*/ 2147483647 w 108"/>
              <a:gd name="T1" fmla="*/ 2147483647 h 156"/>
              <a:gd name="T2" fmla="*/ 2147483647 w 108"/>
              <a:gd name="T3" fmla="*/ 2147483647 h 156"/>
              <a:gd name="T4" fmla="*/ 2147483647 w 108"/>
              <a:gd name="T5" fmla="*/ 2147483647 h 156"/>
              <a:gd name="T6" fmla="*/ 2147483647 w 108"/>
              <a:gd name="T7" fmla="*/ 2147483647 h 156"/>
              <a:gd name="T8" fmla="*/ 2147483647 w 108"/>
              <a:gd name="T9" fmla="*/ 2147483647 h 156"/>
              <a:gd name="T10" fmla="*/ 2147483647 w 108"/>
              <a:gd name="T11" fmla="*/ 2147483647 h 156"/>
              <a:gd name="T12" fmla="*/ 2147483647 w 108"/>
              <a:gd name="T13" fmla="*/ 2147483647 h 156"/>
              <a:gd name="T14" fmla="*/ 2147483647 w 108"/>
              <a:gd name="T15" fmla="*/ 2147483647 h 156"/>
              <a:gd name="T16" fmla="*/ 2147483647 w 108"/>
              <a:gd name="T17" fmla="*/ 2147483647 h 156"/>
              <a:gd name="T18" fmla="*/ 2147483647 w 108"/>
              <a:gd name="T19" fmla="*/ 2147483647 h 156"/>
              <a:gd name="T20" fmla="*/ 2147483647 w 108"/>
              <a:gd name="T21" fmla="*/ 0 h 156"/>
              <a:gd name="T22" fmla="*/ 2147483647 w 108"/>
              <a:gd name="T23" fmla="*/ 0 h 156"/>
              <a:gd name="T24" fmla="*/ 2147483647 w 108"/>
              <a:gd name="T25" fmla="*/ 0 h 156"/>
              <a:gd name="T26" fmla="*/ 2147483647 w 108"/>
              <a:gd name="T27" fmla="*/ 2147483647 h 156"/>
              <a:gd name="T28" fmla="*/ 2147483647 w 108"/>
              <a:gd name="T29" fmla="*/ 2147483647 h 156"/>
              <a:gd name="T30" fmla="*/ 2147483647 w 108"/>
              <a:gd name="T31" fmla="*/ 2147483647 h 156"/>
              <a:gd name="T32" fmla="*/ 2147483647 w 108"/>
              <a:gd name="T33" fmla="*/ 2147483647 h 156"/>
              <a:gd name="T34" fmla="*/ 2147483647 w 108"/>
              <a:gd name="T35" fmla="*/ 2147483647 h 156"/>
              <a:gd name="T36" fmla="*/ 2147483647 w 108"/>
              <a:gd name="T37" fmla="*/ 2147483647 h 156"/>
              <a:gd name="T38" fmla="*/ 2147483647 w 108"/>
              <a:gd name="T39" fmla="*/ 2147483647 h 156"/>
              <a:gd name="T40" fmla="*/ 2147483647 w 108"/>
              <a:gd name="T41" fmla="*/ 2147483647 h 156"/>
              <a:gd name="T42" fmla="*/ 0 w 108"/>
              <a:gd name="T43" fmla="*/ 2147483647 h 156"/>
              <a:gd name="T44" fmla="*/ 0 w 108"/>
              <a:gd name="T45" fmla="*/ 2147483647 h 156"/>
              <a:gd name="T46" fmla="*/ 2147483647 w 108"/>
              <a:gd name="T47" fmla="*/ 2147483647 h 156"/>
              <a:gd name="T48" fmla="*/ 2147483647 w 108"/>
              <a:gd name="T49" fmla="*/ 2147483647 h 156"/>
              <a:gd name="T50" fmla="*/ 2147483647 w 108"/>
              <a:gd name="T51" fmla="*/ 2147483647 h 156"/>
              <a:gd name="T52" fmla="*/ 2147483647 w 108"/>
              <a:gd name="T53" fmla="*/ 2147483647 h 156"/>
              <a:gd name="T54" fmla="*/ 2147483647 w 108"/>
              <a:gd name="T55" fmla="*/ 2147483647 h 156"/>
              <a:gd name="T56" fmla="*/ 2147483647 w 108"/>
              <a:gd name="T57" fmla="*/ 2147483647 h 156"/>
              <a:gd name="T58" fmla="*/ 2147483647 w 108"/>
              <a:gd name="T59" fmla="*/ 2147483647 h 156"/>
              <a:gd name="T60" fmla="*/ 2147483647 w 108"/>
              <a:gd name="T61" fmla="*/ 2147483647 h 15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08"/>
              <a:gd name="T94" fmla="*/ 0 h 156"/>
              <a:gd name="T95" fmla="*/ 108 w 108"/>
              <a:gd name="T96" fmla="*/ 156 h 15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08" h="156">
                <a:moveTo>
                  <a:pt x="72" y="96"/>
                </a:moveTo>
                <a:lnTo>
                  <a:pt x="72" y="72"/>
                </a:lnTo>
                <a:lnTo>
                  <a:pt x="78" y="66"/>
                </a:lnTo>
                <a:lnTo>
                  <a:pt x="84" y="66"/>
                </a:lnTo>
                <a:lnTo>
                  <a:pt x="96" y="60"/>
                </a:lnTo>
                <a:lnTo>
                  <a:pt x="102" y="60"/>
                </a:lnTo>
                <a:lnTo>
                  <a:pt x="108" y="48"/>
                </a:lnTo>
                <a:lnTo>
                  <a:pt x="108" y="30"/>
                </a:lnTo>
                <a:lnTo>
                  <a:pt x="102" y="18"/>
                </a:lnTo>
                <a:lnTo>
                  <a:pt x="96" y="12"/>
                </a:lnTo>
                <a:lnTo>
                  <a:pt x="102" y="0"/>
                </a:lnTo>
                <a:lnTo>
                  <a:pt x="54" y="0"/>
                </a:lnTo>
                <a:lnTo>
                  <a:pt x="60" y="0"/>
                </a:lnTo>
                <a:lnTo>
                  <a:pt x="60" y="6"/>
                </a:lnTo>
                <a:lnTo>
                  <a:pt x="54" y="6"/>
                </a:lnTo>
                <a:lnTo>
                  <a:pt x="48" y="18"/>
                </a:lnTo>
                <a:lnTo>
                  <a:pt x="36" y="24"/>
                </a:lnTo>
                <a:lnTo>
                  <a:pt x="30" y="30"/>
                </a:lnTo>
                <a:lnTo>
                  <a:pt x="18" y="66"/>
                </a:lnTo>
                <a:lnTo>
                  <a:pt x="12" y="78"/>
                </a:lnTo>
                <a:lnTo>
                  <a:pt x="12" y="90"/>
                </a:lnTo>
                <a:lnTo>
                  <a:pt x="0" y="114"/>
                </a:lnTo>
                <a:lnTo>
                  <a:pt x="0" y="156"/>
                </a:lnTo>
                <a:lnTo>
                  <a:pt x="12" y="150"/>
                </a:lnTo>
                <a:lnTo>
                  <a:pt x="24" y="126"/>
                </a:lnTo>
                <a:lnTo>
                  <a:pt x="30" y="132"/>
                </a:lnTo>
                <a:lnTo>
                  <a:pt x="36" y="132"/>
                </a:lnTo>
                <a:lnTo>
                  <a:pt x="42" y="126"/>
                </a:lnTo>
                <a:lnTo>
                  <a:pt x="48" y="114"/>
                </a:lnTo>
                <a:lnTo>
                  <a:pt x="48" y="102"/>
                </a:lnTo>
                <a:lnTo>
                  <a:pt x="72" y="9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1" name="Lesotho"/>
          <p:cNvSpPr>
            <a:spLocks/>
          </p:cNvSpPr>
          <p:nvPr/>
        </p:nvSpPr>
        <p:spPr bwMode="gray">
          <a:xfrm>
            <a:off x="4771296" y="5188618"/>
            <a:ext cx="66675" cy="65087"/>
          </a:xfrm>
          <a:custGeom>
            <a:avLst/>
            <a:gdLst>
              <a:gd name="T0" fmla="*/ 0 w 168"/>
              <a:gd name="T1" fmla="*/ 2147483647 h 162"/>
              <a:gd name="T2" fmla="*/ 2147483647 w 168"/>
              <a:gd name="T3" fmla="*/ 2147483647 h 162"/>
              <a:gd name="T4" fmla="*/ 2147483647 w 168"/>
              <a:gd name="T5" fmla="*/ 2147483647 h 162"/>
              <a:gd name="T6" fmla="*/ 2147483647 w 168"/>
              <a:gd name="T7" fmla="*/ 2147483647 h 162"/>
              <a:gd name="T8" fmla="*/ 2147483647 w 168"/>
              <a:gd name="T9" fmla="*/ 2147483647 h 162"/>
              <a:gd name="T10" fmla="*/ 2147483647 w 168"/>
              <a:gd name="T11" fmla="*/ 2147483647 h 162"/>
              <a:gd name="T12" fmla="*/ 2147483647 w 168"/>
              <a:gd name="T13" fmla="*/ 2147483647 h 162"/>
              <a:gd name="T14" fmla="*/ 2147483647 w 168"/>
              <a:gd name="T15" fmla="*/ 2147483647 h 162"/>
              <a:gd name="T16" fmla="*/ 2147483647 w 168"/>
              <a:gd name="T17" fmla="*/ 2147483647 h 162"/>
              <a:gd name="T18" fmla="*/ 2147483647 w 168"/>
              <a:gd name="T19" fmla="*/ 2147483647 h 162"/>
              <a:gd name="T20" fmla="*/ 2147483647 w 168"/>
              <a:gd name="T21" fmla="*/ 2147483647 h 162"/>
              <a:gd name="T22" fmla="*/ 2147483647 w 168"/>
              <a:gd name="T23" fmla="*/ 2147483647 h 162"/>
              <a:gd name="T24" fmla="*/ 2147483647 w 168"/>
              <a:gd name="T25" fmla="*/ 2147483647 h 162"/>
              <a:gd name="T26" fmla="*/ 2147483647 w 168"/>
              <a:gd name="T27" fmla="*/ 2147483647 h 162"/>
              <a:gd name="T28" fmla="*/ 2147483647 w 168"/>
              <a:gd name="T29" fmla="*/ 2147483647 h 162"/>
              <a:gd name="T30" fmla="*/ 2147483647 w 168"/>
              <a:gd name="T31" fmla="*/ 2147483647 h 162"/>
              <a:gd name="T32" fmla="*/ 2147483647 w 168"/>
              <a:gd name="T33" fmla="*/ 2147483647 h 162"/>
              <a:gd name="T34" fmla="*/ 2147483647 w 168"/>
              <a:gd name="T35" fmla="*/ 2147483647 h 162"/>
              <a:gd name="T36" fmla="*/ 2147483647 w 168"/>
              <a:gd name="T37" fmla="*/ 2147483647 h 162"/>
              <a:gd name="T38" fmla="*/ 2147483647 w 168"/>
              <a:gd name="T39" fmla="*/ 2147483647 h 162"/>
              <a:gd name="T40" fmla="*/ 2147483647 w 168"/>
              <a:gd name="T41" fmla="*/ 2147483647 h 162"/>
              <a:gd name="T42" fmla="*/ 2147483647 w 168"/>
              <a:gd name="T43" fmla="*/ 0 h 162"/>
              <a:gd name="T44" fmla="*/ 2147483647 w 168"/>
              <a:gd name="T45" fmla="*/ 0 h 162"/>
              <a:gd name="T46" fmla="*/ 2147483647 w 168"/>
              <a:gd name="T47" fmla="*/ 2147483647 h 162"/>
              <a:gd name="T48" fmla="*/ 2147483647 w 168"/>
              <a:gd name="T49" fmla="*/ 2147483647 h 162"/>
              <a:gd name="T50" fmla="*/ 2147483647 w 168"/>
              <a:gd name="T51" fmla="*/ 2147483647 h 162"/>
              <a:gd name="T52" fmla="*/ 2147483647 w 168"/>
              <a:gd name="T53" fmla="*/ 2147483647 h 162"/>
              <a:gd name="T54" fmla="*/ 2147483647 w 168"/>
              <a:gd name="T55" fmla="*/ 2147483647 h 162"/>
              <a:gd name="T56" fmla="*/ 2147483647 w 168"/>
              <a:gd name="T57" fmla="*/ 2147483647 h 162"/>
              <a:gd name="T58" fmla="*/ 2147483647 w 168"/>
              <a:gd name="T59" fmla="*/ 2147483647 h 162"/>
              <a:gd name="T60" fmla="*/ 0 w 168"/>
              <a:gd name="T61" fmla="*/ 2147483647 h 16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68"/>
              <a:gd name="T94" fmla="*/ 0 h 162"/>
              <a:gd name="T95" fmla="*/ 168 w 168"/>
              <a:gd name="T96" fmla="*/ 162 h 162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68" h="162">
                <a:moveTo>
                  <a:pt x="0" y="78"/>
                </a:moveTo>
                <a:lnTo>
                  <a:pt x="24" y="114"/>
                </a:lnTo>
                <a:lnTo>
                  <a:pt x="24" y="132"/>
                </a:lnTo>
                <a:lnTo>
                  <a:pt x="54" y="162"/>
                </a:lnTo>
                <a:lnTo>
                  <a:pt x="72" y="162"/>
                </a:lnTo>
                <a:lnTo>
                  <a:pt x="72" y="150"/>
                </a:lnTo>
                <a:lnTo>
                  <a:pt x="78" y="144"/>
                </a:lnTo>
                <a:lnTo>
                  <a:pt x="84" y="132"/>
                </a:lnTo>
                <a:lnTo>
                  <a:pt x="90" y="126"/>
                </a:lnTo>
                <a:lnTo>
                  <a:pt x="102" y="120"/>
                </a:lnTo>
                <a:lnTo>
                  <a:pt x="120" y="120"/>
                </a:lnTo>
                <a:lnTo>
                  <a:pt x="132" y="114"/>
                </a:lnTo>
                <a:lnTo>
                  <a:pt x="138" y="108"/>
                </a:lnTo>
                <a:lnTo>
                  <a:pt x="150" y="102"/>
                </a:lnTo>
                <a:lnTo>
                  <a:pt x="144" y="84"/>
                </a:lnTo>
                <a:lnTo>
                  <a:pt x="168" y="66"/>
                </a:lnTo>
                <a:lnTo>
                  <a:pt x="162" y="42"/>
                </a:lnTo>
                <a:lnTo>
                  <a:pt x="150" y="36"/>
                </a:lnTo>
                <a:lnTo>
                  <a:pt x="144" y="24"/>
                </a:lnTo>
                <a:lnTo>
                  <a:pt x="138" y="18"/>
                </a:lnTo>
                <a:lnTo>
                  <a:pt x="132" y="6"/>
                </a:lnTo>
                <a:lnTo>
                  <a:pt x="126" y="0"/>
                </a:lnTo>
                <a:lnTo>
                  <a:pt x="90" y="0"/>
                </a:lnTo>
                <a:lnTo>
                  <a:pt x="78" y="6"/>
                </a:lnTo>
                <a:lnTo>
                  <a:pt x="78" y="18"/>
                </a:lnTo>
                <a:lnTo>
                  <a:pt x="54" y="18"/>
                </a:lnTo>
                <a:lnTo>
                  <a:pt x="48" y="24"/>
                </a:lnTo>
                <a:lnTo>
                  <a:pt x="48" y="42"/>
                </a:lnTo>
                <a:lnTo>
                  <a:pt x="30" y="60"/>
                </a:lnTo>
                <a:lnTo>
                  <a:pt x="24" y="78"/>
                </a:lnTo>
                <a:lnTo>
                  <a:pt x="0" y="7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2" name="Latvia"/>
          <p:cNvSpPr>
            <a:spLocks/>
          </p:cNvSpPr>
          <p:nvPr/>
        </p:nvSpPr>
        <p:spPr bwMode="gray">
          <a:xfrm>
            <a:off x="4563333" y="2394618"/>
            <a:ext cx="171450" cy="73025"/>
          </a:xfrm>
          <a:custGeom>
            <a:avLst/>
            <a:gdLst>
              <a:gd name="T0" fmla="*/ 2147483647 w 426"/>
              <a:gd name="T1" fmla="*/ 2147483647 h 180"/>
              <a:gd name="T2" fmla="*/ 2147483647 w 426"/>
              <a:gd name="T3" fmla="*/ 2147483647 h 180"/>
              <a:gd name="T4" fmla="*/ 2147483647 w 426"/>
              <a:gd name="T5" fmla="*/ 2147483647 h 180"/>
              <a:gd name="T6" fmla="*/ 2147483647 w 426"/>
              <a:gd name="T7" fmla="*/ 2147483647 h 180"/>
              <a:gd name="T8" fmla="*/ 2147483647 w 426"/>
              <a:gd name="T9" fmla="*/ 2147483647 h 180"/>
              <a:gd name="T10" fmla="*/ 2147483647 w 426"/>
              <a:gd name="T11" fmla="*/ 2147483647 h 180"/>
              <a:gd name="T12" fmla="*/ 2147483647 w 426"/>
              <a:gd name="T13" fmla="*/ 2147483647 h 180"/>
              <a:gd name="T14" fmla="*/ 2147483647 w 426"/>
              <a:gd name="T15" fmla="*/ 2147483647 h 180"/>
              <a:gd name="T16" fmla="*/ 2147483647 w 426"/>
              <a:gd name="T17" fmla="*/ 2147483647 h 180"/>
              <a:gd name="T18" fmla="*/ 2147483647 w 426"/>
              <a:gd name="T19" fmla="*/ 2147483647 h 180"/>
              <a:gd name="T20" fmla="*/ 2147483647 w 426"/>
              <a:gd name="T21" fmla="*/ 2147483647 h 180"/>
              <a:gd name="T22" fmla="*/ 2147483647 w 426"/>
              <a:gd name="T23" fmla="*/ 2147483647 h 180"/>
              <a:gd name="T24" fmla="*/ 2147483647 w 426"/>
              <a:gd name="T25" fmla="*/ 2147483647 h 180"/>
              <a:gd name="T26" fmla="*/ 2147483647 w 426"/>
              <a:gd name="T27" fmla="*/ 2147483647 h 180"/>
              <a:gd name="T28" fmla="*/ 2147483647 w 426"/>
              <a:gd name="T29" fmla="*/ 2147483647 h 180"/>
              <a:gd name="T30" fmla="*/ 2147483647 w 426"/>
              <a:gd name="T31" fmla="*/ 2147483647 h 180"/>
              <a:gd name="T32" fmla="*/ 2147483647 w 426"/>
              <a:gd name="T33" fmla="*/ 2147483647 h 180"/>
              <a:gd name="T34" fmla="*/ 2147483647 w 426"/>
              <a:gd name="T35" fmla="*/ 2147483647 h 180"/>
              <a:gd name="T36" fmla="*/ 2147483647 w 426"/>
              <a:gd name="T37" fmla="*/ 2147483647 h 180"/>
              <a:gd name="T38" fmla="*/ 2147483647 w 426"/>
              <a:gd name="T39" fmla="*/ 2147483647 h 180"/>
              <a:gd name="T40" fmla="*/ 2147483647 w 426"/>
              <a:gd name="T41" fmla="*/ 2147483647 h 180"/>
              <a:gd name="T42" fmla="*/ 2147483647 w 426"/>
              <a:gd name="T43" fmla="*/ 2147483647 h 180"/>
              <a:gd name="T44" fmla="*/ 2147483647 w 426"/>
              <a:gd name="T45" fmla="*/ 2147483647 h 180"/>
              <a:gd name="T46" fmla="*/ 2147483647 w 426"/>
              <a:gd name="T47" fmla="*/ 2147483647 h 180"/>
              <a:gd name="T48" fmla="*/ 2147483647 w 426"/>
              <a:gd name="T49" fmla="*/ 2147483647 h 180"/>
              <a:gd name="T50" fmla="*/ 2147483647 w 426"/>
              <a:gd name="T51" fmla="*/ 2147483647 h 180"/>
              <a:gd name="T52" fmla="*/ 2147483647 w 426"/>
              <a:gd name="T53" fmla="*/ 2147483647 h 180"/>
              <a:gd name="T54" fmla="*/ 2147483647 w 426"/>
              <a:gd name="T55" fmla="*/ 2147483647 h 180"/>
              <a:gd name="T56" fmla="*/ 2147483647 w 426"/>
              <a:gd name="T57" fmla="*/ 2147483647 h 180"/>
              <a:gd name="T58" fmla="*/ 2147483647 w 426"/>
              <a:gd name="T59" fmla="*/ 2147483647 h 180"/>
              <a:gd name="T60" fmla="*/ 2147483647 w 426"/>
              <a:gd name="T61" fmla="*/ 0 h 180"/>
              <a:gd name="T62" fmla="*/ 2147483647 w 426"/>
              <a:gd name="T63" fmla="*/ 2147483647 h 180"/>
              <a:gd name="T64" fmla="*/ 2147483647 w 426"/>
              <a:gd name="T65" fmla="*/ 2147483647 h 180"/>
              <a:gd name="T66" fmla="*/ 2147483647 w 426"/>
              <a:gd name="T67" fmla="*/ 2147483647 h 180"/>
              <a:gd name="T68" fmla="*/ 2147483647 w 426"/>
              <a:gd name="T69" fmla="*/ 2147483647 h 180"/>
              <a:gd name="T70" fmla="*/ 2147483647 w 426"/>
              <a:gd name="T71" fmla="*/ 2147483647 h 180"/>
              <a:gd name="T72" fmla="*/ 2147483647 w 426"/>
              <a:gd name="T73" fmla="*/ 2147483647 h 180"/>
              <a:gd name="T74" fmla="*/ 2147483647 w 426"/>
              <a:gd name="T75" fmla="*/ 2147483647 h 180"/>
              <a:gd name="T76" fmla="*/ 2147483647 w 426"/>
              <a:gd name="T77" fmla="*/ 2147483647 h 180"/>
              <a:gd name="T78" fmla="*/ 2147483647 w 426"/>
              <a:gd name="T79" fmla="*/ 2147483647 h 180"/>
              <a:gd name="T80" fmla="*/ 2147483647 w 426"/>
              <a:gd name="T81" fmla="*/ 2147483647 h 180"/>
              <a:gd name="T82" fmla="*/ 2147483647 w 426"/>
              <a:gd name="T83" fmla="*/ 2147483647 h 180"/>
              <a:gd name="T84" fmla="*/ 0 w 426"/>
              <a:gd name="T85" fmla="*/ 2147483647 h 180"/>
              <a:gd name="T86" fmla="*/ 2147483647 w 426"/>
              <a:gd name="T87" fmla="*/ 2147483647 h 18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26"/>
              <a:gd name="T133" fmla="*/ 0 h 180"/>
              <a:gd name="T134" fmla="*/ 426 w 426"/>
              <a:gd name="T135" fmla="*/ 180 h 18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26" h="180">
                <a:moveTo>
                  <a:pt x="6" y="144"/>
                </a:moveTo>
                <a:lnTo>
                  <a:pt x="6" y="138"/>
                </a:lnTo>
                <a:lnTo>
                  <a:pt x="12" y="138"/>
                </a:lnTo>
                <a:lnTo>
                  <a:pt x="24" y="132"/>
                </a:lnTo>
                <a:lnTo>
                  <a:pt x="66" y="132"/>
                </a:lnTo>
                <a:lnTo>
                  <a:pt x="78" y="120"/>
                </a:lnTo>
                <a:lnTo>
                  <a:pt x="96" y="120"/>
                </a:lnTo>
                <a:lnTo>
                  <a:pt x="102" y="126"/>
                </a:lnTo>
                <a:lnTo>
                  <a:pt x="108" y="126"/>
                </a:lnTo>
                <a:lnTo>
                  <a:pt x="114" y="132"/>
                </a:lnTo>
                <a:lnTo>
                  <a:pt x="120" y="132"/>
                </a:lnTo>
                <a:lnTo>
                  <a:pt x="126" y="126"/>
                </a:lnTo>
                <a:lnTo>
                  <a:pt x="132" y="126"/>
                </a:lnTo>
                <a:lnTo>
                  <a:pt x="144" y="132"/>
                </a:lnTo>
                <a:lnTo>
                  <a:pt x="150" y="132"/>
                </a:lnTo>
                <a:lnTo>
                  <a:pt x="156" y="138"/>
                </a:lnTo>
                <a:lnTo>
                  <a:pt x="162" y="138"/>
                </a:lnTo>
                <a:lnTo>
                  <a:pt x="168" y="132"/>
                </a:lnTo>
                <a:lnTo>
                  <a:pt x="180" y="132"/>
                </a:lnTo>
                <a:lnTo>
                  <a:pt x="186" y="138"/>
                </a:lnTo>
                <a:lnTo>
                  <a:pt x="204" y="138"/>
                </a:lnTo>
                <a:lnTo>
                  <a:pt x="216" y="126"/>
                </a:lnTo>
                <a:lnTo>
                  <a:pt x="228" y="126"/>
                </a:lnTo>
                <a:lnTo>
                  <a:pt x="234" y="132"/>
                </a:lnTo>
                <a:lnTo>
                  <a:pt x="240" y="144"/>
                </a:lnTo>
                <a:lnTo>
                  <a:pt x="270" y="144"/>
                </a:lnTo>
                <a:lnTo>
                  <a:pt x="282" y="150"/>
                </a:lnTo>
                <a:lnTo>
                  <a:pt x="288" y="150"/>
                </a:lnTo>
                <a:lnTo>
                  <a:pt x="300" y="162"/>
                </a:lnTo>
                <a:lnTo>
                  <a:pt x="318" y="174"/>
                </a:lnTo>
                <a:lnTo>
                  <a:pt x="336" y="180"/>
                </a:lnTo>
                <a:lnTo>
                  <a:pt x="360" y="168"/>
                </a:lnTo>
                <a:lnTo>
                  <a:pt x="378" y="168"/>
                </a:lnTo>
                <a:lnTo>
                  <a:pt x="384" y="174"/>
                </a:lnTo>
                <a:lnTo>
                  <a:pt x="390" y="168"/>
                </a:lnTo>
                <a:lnTo>
                  <a:pt x="396" y="168"/>
                </a:lnTo>
                <a:lnTo>
                  <a:pt x="402" y="162"/>
                </a:lnTo>
                <a:lnTo>
                  <a:pt x="408" y="150"/>
                </a:lnTo>
                <a:lnTo>
                  <a:pt x="414" y="144"/>
                </a:lnTo>
                <a:lnTo>
                  <a:pt x="420" y="150"/>
                </a:lnTo>
                <a:lnTo>
                  <a:pt x="426" y="150"/>
                </a:lnTo>
                <a:lnTo>
                  <a:pt x="426" y="126"/>
                </a:lnTo>
                <a:lnTo>
                  <a:pt x="414" y="114"/>
                </a:lnTo>
                <a:lnTo>
                  <a:pt x="408" y="102"/>
                </a:lnTo>
                <a:lnTo>
                  <a:pt x="402" y="96"/>
                </a:lnTo>
                <a:lnTo>
                  <a:pt x="378" y="90"/>
                </a:lnTo>
                <a:lnTo>
                  <a:pt x="384" y="72"/>
                </a:lnTo>
                <a:lnTo>
                  <a:pt x="402" y="72"/>
                </a:lnTo>
                <a:lnTo>
                  <a:pt x="402" y="66"/>
                </a:lnTo>
                <a:lnTo>
                  <a:pt x="396" y="60"/>
                </a:lnTo>
                <a:lnTo>
                  <a:pt x="384" y="54"/>
                </a:lnTo>
                <a:lnTo>
                  <a:pt x="372" y="42"/>
                </a:lnTo>
                <a:lnTo>
                  <a:pt x="354" y="42"/>
                </a:lnTo>
                <a:lnTo>
                  <a:pt x="348" y="36"/>
                </a:lnTo>
                <a:lnTo>
                  <a:pt x="330" y="36"/>
                </a:lnTo>
                <a:lnTo>
                  <a:pt x="324" y="42"/>
                </a:lnTo>
                <a:lnTo>
                  <a:pt x="306" y="42"/>
                </a:lnTo>
                <a:lnTo>
                  <a:pt x="288" y="24"/>
                </a:lnTo>
                <a:lnTo>
                  <a:pt x="276" y="18"/>
                </a:lnTo>
                <a:lnTo>
                  <a:pt x="270" y="12"/>
                </a:lnTo>
                <a:lnTo>
                  <a:pt x="246" y="0"/>
                </a:lnTo>
                <a:lnTo>
                  <a:pt x="216" y="0"/>
                </a:lnTo>
                <a:lnTo>
                  <a:pt x="186" y="12"/>
                </a:lnTo>
                <a:lnTo>
                  <a:pt x="174" y="12"/>
                </a:lnTo>
                <a:lnTo>
                  <a:pt x="180" y="24"/>
                </a:lnTo>
                <a:lnTo>
                  <a:pt x="180" y="30"/>
                </a:lnTo>
                <a:lnTo>
                  <a:pt x="186" y="42"/>
                </a:lnTo>
                <a:lnTo>
                  <a:pt x="186" y="60"/>
                </a:lnTo>
                <a:lnTo>
                  <a:pt x="192" y="66"/>
                </a:lnTo>
                <a:lnTo>
                  <a:pt x="186" y="78"/>
                </a:lnTo>
                <a:lnTo>
                  <a:pt x="156" y="78"/>
                </a:lnTo>
                <a:lnTo>
                  <a:pt x="138" y="72"/>
                </a:lnTo>
                <a:lnTo>
                  <a:pt x="126" y="72"/>
                </a:lnTo>
                <a:lnTo>
                  <a:pt x="114" y="54"/>
                </a:lnTo>
                <a:lnTo>
                  <a:pt x="84" y="24"/>
                </a:lnTo>
                <a:lnTo>
                  <a:pt x="72" y="24"/>
                </a:lnTo>
                <a:lnTo>
                  <a:pt x="60" y="30"/>
                </a:lnTo>
                <a:lnTo>
                  <a:pt x="48" y="30"/>
                </a:lnTo>
                <a:lnTo>
                  <a:pt x="36" y="36"/>
                </a:lnTo>
                <a:lnTo>
                  <a:pt x="30" y="42"/>
                </a:lnTo>
                <a:lnTo>
                  <a:pt x="24" y="54"/>
                </a:lnTo>
                <a:lnTo>
                  <a:pt x="24" y="66"/>
                </a:lnTo>
                <a:lnTo>
                  <a:pt x="18" y="78"/>
                </a:lnTo>
                <a:lnTo>
                  <a:pt x="6" y="84"/>
                </a:lnTo>
                <a:lnTo>
                  <a:pt x="0" y="96"/>
                </a:lnTo>
                <a:lnTo>
                  <a:pt x="0" y="120"/>
                </a:lnTo>
                <a:lnTo>
                  <a:pt x="6" y="132"/>
                </a:lnTo>
                <a:lnTo>
                  <a:pt x="6" y="150"/>
                </a:lnTo>
                <a:lnTo>
                  <a:pt x="6" y="14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3" name="Laos"/>
          <p:cNvSpPr>
            <a:spLocks/>
          </p:cNvSpPr>
          <p:nvPr/>
        </p:nvSpPr>
        <p:spPr bwMode="gray">
          <a:xfrm>
            <a:off x="6836633" y="3529680"/>
            <a:ext cx="241300" cy="279400"/>
          </a:xfrm>
          <a:custGeom>
            <a:avLst/>
            <a:gdLst>
              <a:gd name="T0" fmla="*/ 2147483647 w 600"/>
              <a:gd name="T1" fmla="*/ 2147483647 h 696"/>
              <a:gd name="T2" fmla="*/ 2147483647 w 600"/>
              <a:gd name="T3" fmla="*/ 2147483647 h 696"/>
              <a:gd name="T4" fmla="*/ 2147483647 w 600"/>
              <a:gd name="T5" fmla="*/ 2147483647 h 696"/>
              <a:gd name="T6" fmla="*/ 2147483647 w 600"/>
              <a:gd name="T7" fmla="*/ 2147483647 h 696"/>
              <a:gd name="T8" fmla="*/ 2147483647 w 600"/>
              <a:gd name="T9" fmla="*/ 2147483647 h 696"/>
              <a:gd name="T10" fmla="*/ 2147483647 w 600"/>
              <a:gd name="T11" fmla="*/ 2147483647 h 696"/>
              <a:gd name="T12" fmla="*/ 2147483647 w 600"/>
              <a:gd name="T13" fmla="*/ 2147483647 h 696"/>
              <a:gd name="T14" fmla="*/ 2147483647 w 600"/>
              <a:gd name="T15" fmla="*/ 2147483647 h 696"/>
              <a:gd name="T16" fmla="*/ 2147483647 w 600"/>
              <a:gd name="T17" fmla="*/ 2147483647 h 696"/>
              <a:gd name="T18" fmla="*/ 2147483647 w 600"/>
              <a:gd name="T19" fmla="*/ 2147483647 h 696"/>
              <a:gd name="T20" fmla="*/ 2147483647 w 600"/>
              <a:gd name="T21" fmla="*/ 2147483647 h 696"/>
              <a:gd name="T22" fmla="*/ 2147483647 w 600"/>
              <a:gd name="T23" fmla="*/ 2147483647 h 696"/>
              <a:gd name="T24" fmla="*/ 2147483647 w 600"/>
              <a:gd name="T25" fmla="*/ 2147483647 h 696"/>
              <a:gd name="T26" fmla="*/ 2147483647 w 600"/>
              <a:gd name="T27" fmla="*/ 2147483647 h 696"/>
              <a:gd name="T28" fmla="*/ 2147483647 w 600"/>
              <a:gd name="T29" fmla="*/ 2147483647 h 696"/>
              <a:gd name="T30" fmla="*/ 2147483647 w 600"/>
              <a:gd name="T31" fmla="*/ 2147483647 h 696"/>
              <a:gd name="T32" fmla="*/ 2147483647 w 600"/>
              <a:gd name="T33" fmla="*/ 2147483647 h 696"/>
              <a:gd name="T34" fmla="*/ 2147483647 w 600"/>
              <a:gd name="T35" fmla="*/ 2147483647 h 696"/>
              <a:gd name="T36" fmla="*/ 2147483647 w 600"/>
              <a:gd name="T37" fmla="*/ 2147483647 h 696"/>
              <a:gd name="T38" fmla="*/ 2147483647 w 600"/>
              <a:gd name="T39" fmla="*/ 2147483647 h 696"/>
              <a:gd name="T40" fmla="*/ 2147483647 w 600"/>
              <a:gd name="T41" fmla="*/ 2147483647 h 696"/>
              <a:gd name="T42" fmla="*/ 2147483647 w 600"/>
              <a:gd name="T43" fmla="*/ 2147483647 h 696"/>
              <a:gd name="T44" fmla="*/ 2147483647 w 600"/>
              <a:gd name="T45" fmla="*/ 2147483647 h 696"/>
              <a:gd name="T46" fmla="*/ 2147483647 w 600"/>
              <a:gd name="T47" fmla="*/ 2147483647 h 696"/>
              <a:gd name="T48" fmla="*/ 2147483647 w 600"/>
              <a:gd name="T49" fmla="*/ 2147483647 h 696"/>
              <a:gd name="T50" fmla="*/ 2147483647 w 600"/>
              <a:gd name="T51" fmla="*/ 2147483647 h 696"/>
              <a:gd name="T52" fmla="*/ 2147483647 w 600"/>
              <a:gd name="T53" fmla="*/ 2147483647 h 696"/>
              <a:gd name="T54" fmla="*/ 2147483647 w 600"/>
              <a:gd name="T55" fmla="*/ 2147483647 h 696"/>
              <a:gd name="T56" fmla="*/ 2147483647 w 600"/>
              <a:gd name="T57" fmla="*/ 2147483647 h 696"/>
              <a:gd name="T58" fmla="*/ 2147483647 w 600"/>
              <a:gd name="T59" fmla="*/ 2147483647 h 696"/>
              <a:gd name="T60" fmla="*/ 2147483647 w 600"/>
              <a:gd name="T61" fmla="*/ 2147483647 h 696"/>
              <a:gd name="T62" fmla="*/ 2147483647 w 600"/>
              <a:gd name="T63" fmla="*/ 2147483647 h 696"/>
              <a:gd name="T64" fmla="*/ 2147483647 w 600"/>
              <a:gd name="T65" fmla="*/ 2147483647 h 696"/>
              <a:gd name="T66" fmla="*/ 2147483647 w 600"/>
              <a:gd name="T67" fmla="*/ 2147483647 h 696"/>
              <a:gd name="T68" fmla="*/ 2147483647 w 600"/>
              <a:gd name="T69" fmla="*/ 2147483647 h 696"/>
              <a:gd name="T70" fmla="*/ 2147483647 w 600"/>
              <a:gd name="T71" fmla="*/ 2147483647 h 696"/>
              <a:gd name="T72" fmla="*/ 2147483647 w 600"/>
              <a:gd name="T73" fmla="*/ 2147483647 h 696"/>
              <a:gd name="T74" fmla="*/ 2147483647 w 600"/>
              <a:gd name="T75" fmla="*/ 2147483647 h 696"/>
              <a:gd name="T76" fmla="*/ 2147483647 w 600"/>
              <a:gd name="T77" fmla="*/ 2147483647 h 696"/>
              <a:gd name="T78" fmla="*/ 2147483647 w 600"/>
              <a:gd name="T79" fmla="*/ 2147483647 h 696"/>
              <a:gd name="T80" fmla="*/ 2147483647 w 600"/>
              <a:gd name="T81" fmla="*/ 2147483647 h 696"/>
              <a:gd name="T82" fmla="*/ 2147483647 w 600"/>
              <a:gd name="T83" fmla="*/ 2147483647 h 696"/>
              <a:gd name="T84" fmla="*/ 2147483647 w 600"/>
              <a:gd name="T85" fmla="*/ 2147483647 h 696"/>
              <a:gd name="T86" fmla="*/ 2147483647 w 600"/>
              <a:gd name="T87" fmla="*/ 2147483647 h 696"/>
              <a:gd name="T88" fmla="*/ 2147483647 w 600"/>
              <a:gd name="T89" fmla="*/ 2147483647 h 696"/>
              <a:gd name="T90" fmla="*/ 2147483647 w 600"/>
              <a:gd name="T91" fmla="*/ 2147483647 h 696"/>
              <a:gd name="T92" fmla="*/ 2147483647 w 600"/>
              <a:gd name="T93" fmla="*/ 2147483647 h 696"/>
              <a:gd name="T94" fmla="*/ 2147483647 w 600"/>
              <a:gd name="T95" fmla="*/ 2147483647 h 696"/>
              <a:gd name="T96" fmla="*/ 2147483647 w 600"/>
              <a:gd name="T97" fmla="*/ 2147483647 h 696"/>
              <a:gd name="T98" fmla="*/ 2147483647 w 600"/>
              <a:gd name="T99" fmla="*/ 2147483647 h 696"/>
              <a:gd name="T100" fmla="*/ 2147483647 w 600"/>
              <a:gd name="T101" fmla="*/ 2147483647 h 696"/>
              <a:gd name="T102" fmla="*/ 2147483647 w 600"/>
              <a:gd name="T103" fmla="*/ 2147483647 h 696"/>
              <a:gd name="T104" fmla="*/ 2147483647 w 600"/>
              <a:gd name="T105" fmla="*/ 2147483647 h 696"/>
              <a:gd name="T106" fmla="*/ 2147483647 w 600"/>
              <a:gd name="T107" fmla="*/ 2147483647 h 696"/>
              <a:gd name="T108" fmla="*/ 2147483647 w 600"/>
              <a:gd name="T109" fmla="*/ 2147483647 h 696"/>
              <a:gd name="T110" fmla="*/ 2147483647 w 600"/>
              <a:gd name="T111" fmla="*/ 2147483647 h 696"/>
              <a:gd name="T112" fmla="*/ 2147483647 w 600"/>
              <a:gd name="T113" fmla="*/ 2147483647 h 696"/>
              <a:gd name="T114" fmla="*/ 2147483647 w 600"/>
              <a:gd name="T115" fmla="*/ 2147483647 h 696"/>
              <a:gd name="T116" fmla="*/ 2147483647 w 600"/>
              <a:gd name="T117" fmla="*/ 2147483647 h 696"/>
              <a:gd name="T118" fmla="*/ 0 w 600"/>
              <a:gd name="T119" fmla="*/ 2147483647 h 696"/>
              <a:gd name="T120" fmla="*/ 2147483647 w 600"/>
              <a:gd name="T121" fmla="*/ 2147483647 h 69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00"/>
              <a:gd name="T184" fmla="*/ 0 h 696"/>
              <a:gd name="T185" fmla="*/ 600 w 600"/>
              <a:gd name="T186" fmla="*/ 696 h 69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00" h="696">
                <a:moveTo>
                  <a:pt x="24" y="180"/>
                </a:moveTo>
                <a:lnTo>
                  <a:pt x="36" y="180"/>
                </a:lnTo>
                <a:lnTo>
                  <a:pt x="42" y="186"/>
                </a:lnTo>
                <a:lnTo>
                  <a:pt x="42" y="198"/>
                </a:lnTo>
                <a:lnTo>
                  <a:pt x="36" y="204"/>
                </a:lnTo>
                <a:lnTo>
                  <a:pt x="36" y="228"/>
                </a:lnTo>
                <a:lnTo>
                  <a:pt x="42" y="240"/>
                </a:lnTo>
                <a:lnTo>
                  <a:pt x="48" y="246"/>
                </a:lnTo>
                <a:lnTo>
                  <a:pt x="66" y="246"/>
                </a:lnTo>
                <a:lnTo>
                  <a:pt x="66" y="234"/>
                </a:lnTo>
                <a:lnTo>
                  <a:pt x="78" y="234"/>
                </a:lnTo>
                <a:lnTo>
                  <a:pt x="84" y="228"/>
                </a:lnTo>
                <a:lnTo>
                  <a:pt x="90" y="228"/>
                </a:lnTo>
                <a:lnTo>
                  <a:pt x="102" y="234"/>
                </a:lnTo>
                <a:lnTo>
                  <a:pt x="102" y="264"/>
                </a:lnTo>
                <a:lnTo>
                  <a:pt x="96" y="270"/>
                </a:lnTo>
                <a:lnTo>
                  <a:pt x="102" y="276"/>
                </a:lnTo>
                <a:lnTo>
                  <a:pt x="108" y="288"/>
                </a:lnTo>
                <a:lnTo>
                  <a:pt x="108" y="300"/>
                </a:lnTo>
                <a:lnTo>
                  <a:pt x="102" y="312"/>
                </a:lnTo>
                <a:lnTo>
                  <a:pt x="90" y="324"/>
                </a:lnTo>
                <a:lnTo>
                  <a:pt x="102" y="324"/>
                </a:lnTo>
                <a:lnTo>
                  <a:pt x="108" y="330"/>
                </a:lnTo>
                <a:lnTo>
                  <a:pt x="108" y="342"/>
                </a:lnTo>
                <a:lnTo>
                  <a:pt x="84" y="390"/>
                </a:lnTo>
                <a:lnTo>
                  <a:pt x="84" y="402"/>
                </a:lnTo>
                <a:lnTo>
                  <a:pt x="102" y="402"/>
                </a:lnTo>
                <a:lnTo>
                  <a:pt x="126" y="390"/>
                </a:lnTo>
                <a:lnTo>
                  <a:pt x="132" y="384"/>
                </a:lnTo>
                <a:lnTo>
                  <a:pt x="132" y="378"/>
                </a:lnTo>
                <a:lnTo>
                  <a:pt x="144" y="366"/>
                </a:lnTo>
                <a:lnTo>
                  <a:pt x="150" y="354"/>
                </a:lnTo>
                <a:lnTo>
                  <a:pt x="156" y="348"/>
                </a:lnTo>
                <a:lnTo>
                  <a:pt x="168" y="348"/>
                </a:lnTo>
                <a:lnTo>
                  <a:pt x="174" y="354"/>
                </a:lnTo>
                <a:lnTo>
                  <a:pt x="198" y="366"/>
                </a:lnTo>
                <a:lnTo>
                  <a:pt x="216" y="366"/>
                </a:lnTo>
                <a:lnTo>
                  <a:pt x="234" y="348"/>
                </a:lnTo>
                <a:lnTo>
                  <a:pt x="234" y="336"/>
                </a:lnTo>
                <a:lnTo>
                  <a:pt x="240" y="330"/>
                </a:lnTo>
                <a:lnTo>
                  <a:pt x="258" y="330"/>
                </a:lnTo>
                <a:lnTo>
                  <a:pt x="264" y="336"/>
                </a:lnTo>
                <a:lnTo>
                  <a:pt x="276" y="342"/>
                </a:lnTo>
                <a:lnTo>
                  <a:pt x="300" y="342"/>
                </a:lnTo>
                <a:lnTo>
                  <a:pt x="306" y="348"/>
                </a:lnTo>
                <a:lnTo>
                  <a:pt x="306" y="360"/>
                </a:lnTo>
                <a:lnTo>
                  <a:pt x="318" y="372"/>
                </a:lnTo>
                <a:lnTo>
                  <a:pt x="336" y="384"/>
                </a:lnTo>
                <a:lnTo>
                  <a:pt x="348" y="390"/>
                </a:lnTo>
                <a:lnTo>
                  <a:pt x="366" y="408"/>
                </a:lnTo>
                <a:lnTo>
                  <a:pt x="372" y="450"/>
                </a:lnTo>
                <a:lnTo>
                  <a:pt x="372" y="462"/>
                </a:lnTo>
                <a:lnTo>
                  <a:pt x="384" y="486"/>
                </a:lnTo>
                <a:lnTo>
                  <a:pt x="420" y="522"/>
                </a:lnTo>
                <a:lnTo>
                  <a:pt x="420" y="528"/>
                </a:lnTo>
                <a:lnTo>
                  <a:pt x="426" y="534"/>
                </a:lnTo>
                <a:lnTo>
                  <a:pt x="426" y="546"/>
                </a:lnTo>
                <a:lnTo>
                  <a:pt x="432" y="540"/>
                </a:lnTo>
                <a:lnTo>
                  <a:pt x="432" y="546"/>
                </a:lnTo>
                <a:lnTo>
                  <a:pt x="444" y="558"/>
                </a:lnTo>
                <a:lnTo>
                  <a:pt x="432" y="582"/>
                </a:lnTo>
                <a:lnTo>
                  <a:pt x="426" y="588"/>
                </a:lnTo>
                <a:lnTo>
                  <a:pt x="426" y="594"/>
                </a:lnTo>
                <a:lnTo>
                  <a:pt x="438" y="606"/>
                </a:lnTo>
                <a:lnTo>
                  <a:pt x="450" y="612"/>
                </a:lnTo>
                <a:lnTo>
                  <a:pt x="456" y="618"/>
                </a:lnTo>
                <a:lnTo>
                  <a:pt x="456" y="630"/>
                </a:lnTo>
                <a:lnTo>
                  <a:pt x="450" y="636"/>
                </a:lnTo>
                <a:lnTo>
                  <a:pt x="444" y="648"/>
                </a:lnTo>
                <a:lnTo>
                  <a:pt x="432" y="654"/>
                </a:lnTo>
                <a:lnTo>
                  <a:pt x="426" y="660"/>
                </a:lnTo>
                <a:lnTo>
                  <a:pt x="426" y="672"/>
                </a:lnTo>
                <a:lnTo>
                  <a:pt x="450" y="672"/>
                </a:lnTo>
                <a:lnTo>
                  <a:pt x="456" y="678"/>
                </a:lnTo>
                <a:lnTo>
                  <a:pt x="462" y="678"/>
                </a:lnTo>
                <a:lnTo>
                  <a:pt x="462" y="684"/>
                </a:lnTo>
                <a:lnTo>
                  <a:pt x="474" y="696"/>
                </a:lnTo>
                <a:lnTo>
                  <a:pt x="486" y="696"/>
                </a:lnTo>
                <a:lnTo>
                  <a:pt x="492" y="690"/>
                </a:lnTo>
                <a:lnTo>
                  <a:pt x="492" y="678"/>
                </a:lnTo>
                <a:lnTo>
                  <a:pt x="480" y="666"/>
                </a:lnTo>
                <a:lnTo>
                  <a:pt x="498" y="654"/>
                </a:lnTo>
                <a:lnTo>
                  <a:pt x="510" y="642"/>
                </a:lnTo>
                <a:lnTo>
                  <a:pt x="546" y="654"/>
                </a:lnTo>
                <a:lnTo>
                  <a:pt x="558" y="642"/>
                </a:lnTo>
                <a:lnTo>
                  <a:pt x="582" y="648"/>
                </a:lnTo>
                <a:lnTo>
                  <a:pt x="588" y="648"/>
                </a:lnTo>
                <a:lnTo>
                  <a:pt x="600" y="636"/>
                </a:lnTo>
                <a:lnTo>
                  <a:pt x="600" y="630"/>
                </a:lnTo>
                <a:lnTo>
                  <a:pt x="588" y="618"/>
                </a:lnTo>
                <a:lnTo>
                  <a:pt x="582" y="618"/>
                </a:lnTo>
                <a:lnTo>
                  <a:pt x="600" y="582"/>
                </a:lnTo>
                <a:lnTo>
                  <a:pt x="594" y="582"/>
                </a:lnTo>
                <a:lnTo>
                  <a:pt x="588" y="576"/>
                </a:lnTo>
                <a:lnTo>
                  <a:pt x="564" y="564"/>
                </a:lnTo>
                <a:lnTo>
                  <a:pt x="540" y="540"/>
                </a:lnTo>
                <a:lnTo>
                  <a:pt x="546" y="540"/>
                </a:lnTo>
                <a:lnTo>
                  <a:pt x="552" y="534"/>
                </a:lnTo>
                <a:lnTo>
                  <a:pt x="558" y="534"/>
                </a:lnTo>
                <a:lnTo>
                  <a:pt x="564" y="528"/>
                </a:lnTo>
                <a:lnTo>
                  <a:pt x="564" y="516"/>
                </a:lnTo>
                <a:lnTo>
                  <a:pt x="558" y="510"/>
                </a:lnTo>
                <a:lnTo>
                  <a:pt x="546" y="504"/>
                </a:lnTo>
                <a:lnTo>
                  <a:pt x="540" y="498"/>
                </a:lnTo>
                <a:lnTo>
                  <a:pt x="528" y="498"/>
                </a:lnTo>
                <a:lnTo>
                  <a:pt x="516" y="486"/>
                </a:lnTo>
                <a:lnTo>
                  <a:pt x="504" y="462"/>
                </a:lnTo>
                <a:lnTo>
                  <a:pt x="498" y="456"/>
                </a:lnTo>
                <a:lnTo>
                  <a:pt x="498" y="450"/>
                </a:lnTo>
                <a:lnTo>
                  <a:pt x="480" y="450"/>
                </a:lnTo>
                <a:lnTo>
                  <a:pt x="474" y="432"/>
                </a:lnTo>
                <a:lnTo>
                  <a:pt x="456" y="414"/>
                </a:lnTo>
                <a:lnTo>
                  <a:pt x="438" y="402"/>
                </a:lnTo>
                <a:lnTo>
                  <a:pt x="426" y="378"/>
                </a:lnTo>
                <a:lnTo>
                  <a:pt x="426" y="354"/>
                </a:lnTo>
                <a:lnTo>
                  <a:pt x="420" y="354"/>
                </a:lnTo>
                <a:lnTo>
                  <a:pt x="414" y="348"/>
                </a:lnTo>
                <a:lnTo>
                  <a:pt x="402" y="342"/>
                </a:lnTo>
                <a:lnTo>
                  <a:pt x="390" y="342"/>
                </a:lnTo>
                <a:lnTo>
                  <a:pt x="384" y="336"/>
                </a:lnTo>
                <a:lnTo>
                  <a:pt x="384" y="306"/>
                </a:lnTo>
                <a:lnTo>
                  <a:pt x="372" y="306"/>
                </a:lnTo>
                <a:lnTo>
                  <a:pt x="366" y="300"/>
                </a:lnTo>
                <a:lnTo>
                  <a:pt x="354" y="294"/>
                </a:lnTo>
                <a:lnTo>
                  <a:pt x="342" y="282"/>
                </a:lnTo>
                <a:lnTo>
                  <a:pt x="306" y="264"/>
                </a:lnTo>
                <a:lnTo>
                  <a:pt x="300" y="258"/>
                </a:lnTo>
                <a:lnTo>
                  <a:pt x="288" y="252"/>
                </a:lnTo>
                <a:lnTo>
                  <a:pt x="288" y="234"/>
                </a:lnTo>
                <a:lnTo>
                  <a:pt x="282" y="228"/>
                </a:lnTo>
                <a:lnTo>
                  <a:pt x="306" y="228"/>
                </a:lnTo>
                <a:lnTo>
                  <a:pt x="312" y="234"/>
                </a:lnTo>
                <a:lnTo>
                  <a:pt x="330" y="234"/>
                </a:lnTo>
                <a:lnTo>
                  <a:pt x="336" y="228"/>
                </a:lnTo>
                <a:lnTo>
                  <a:pt x="342" y="216"/>
                </a:lnTo>
                <a:lnTo>
                  <a:pt x="354" y="210"/>
                </a:lnTo>
                <a:lnTo>
                  <a:pt x="360" y="198"/>
                </a:lnTo>
                <a:lnTo>
                  <a:pt x="360" y="186"/>
                </a:lnTo>
                <a:lnTo>
                  <a:pt x="348" y="180"/>
                </a:lnTo>
                <a:lnTo>
                  <a:pt x="330" y="174"/>
                </a:lnTo>
                <a:lnTo>
                  <a:pt x="306" y="162"/>
                </a:lnTo>
                <a:lnTo>
                  <a:pt x="306" y="156"/>
                </a:lnTo>
                <a:lnTo>
                  <a:pt x="312" y="150"/>
                </a:lnTo>
                <a:lnTo>
                  <a:pt x="318" y="150"/>
                </a:lnTo>
                <a:lnTo>
                  <a:pt x="294" y="126"/>
                </a:lnTo>
                <a:lnTo>
                  <a:pt x="282" y="120"/>
                </a:lnTo>
                <a:lnTo>
                  <a:pt x="270" y="120"/>
                </a:lnTo>
                <a:lnTo>
                  <a:pt x="264" y="132"/>
                </a:lnTo>
                <a:lnTo>
                  <a:pt x="264" y="138"/>
                </a:lnTo>
                <a:lnTo>
                  <a:pt x="258" y="150"/>
                </a:lnTo>
                <a:lnTo>
                  <a:pt x="252" y="156"/>
                </a:lnTo>
                <a:lnTo>
                  <a:pt x="240" y="144"/>
                </a:lnTo>
                <a:lnTo>
                  <a:pt x="240" y="138"/>
                </a:lnTo>
                <a:lnTo>
                  <a:pt x="222" y="138"/>
                </a:lnTo>
                <a:lnTo>
                  <a:pt x="216" y="126"/>
                </a:lnTo>
                <a:lnTo>
                  <a:pt x="198" y="108"/>
                </a:lnTo>
                <a:lnTo>
                  <a:pt x="186" y="84"/>
                </a:lnTo>
                <a:lnTo>
                  <a:pt x="186" y="54"/>
                </a:lnTo>
                <a:lnTo>
                  <a:pt x="180" y="54"/>
                </a:lnTo>
                <a:lnTo>
                  <a:pt x="174" y="60"/>
                </a:lnTo>
                <a:lnTo>
                  <a:pt x="168" y="48"/>
                </a:lnTo>
                <a:lnTo>
                  <a:pt x="156" y="42"/>
                </a:lnTo>
                <a:lnTo>
                  <a:pt x="150" y="30"/>
                </a:lnTo>
                <a:lnTo>
                  <a:pt x="144" y="24"/>
                </a:lnTo>
                <a:lnTo>
                  <a:pt x="138" y="12"/>
                </a:lnTo>
                <a:lnTo>
                  <a:pt x="132" y="6"/>
                </a:lnTo>
                <a:lnTo>
                  <a:pt x="96" y="0"/>
                </a:lnTo>
                <a:lnTo>
                  <a:pt x="90" y="6"/>
                </a:lnTo>
                <a:lnTo>
                  <a:pt x="90" y="48"/>
                </a:lnTo>
                <a:lnTo>
                  <a:pt x="114" y="72"/>
                </a:lnTo>
                <a:lnTo>
                  <a:pt x="114" y="108"/>
                </a:lnTo>
                <a:lnTo>
                  <a:pt x="72" y="108"/>
                </a:lnTo>
                <a:lnTo>
                  <a:pt x="72" y="84"/>
                </a:lnTo>
                <a:lnTo>
                  <a:pt x="36" y="102"/>
                </a:lnTo>
                <a:lnTo>
                  <a:pt x="36" y="114"/>
                </a:lnTo>
                <a:lnTo>
                  <a:pt x="30" y="126"/>
                </a:lnTo>
                <a:lnTo>
                  <a:pt x="36" y="132"/>
                </a:lnTo>
                <a:lnTo>
                  <a:pt x="30" y="138"/>
                </a:lnTo>
                <a:lnTo>
                  <a:pt x="18" y="138"/>
                </a:lnTo>
                <a:lnTo>
                  <a:pt x="0" y="156"/>
                </a:lnTo>
                <a:lnTo>
                  <a:pt x="0" y="168"/>
                </a:lnTo>
                <a:lnTo>
                  <a:pt x="6" y="168"/>
                </a:lnTo>
                <a:lnTo>
                  <a:pt x="12" y="174"/>
                </a:lnTo>
                <a:lnTo>
                  <a:pt x="24" y="18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4" name="Kyrgyzstan"/>
          <p:cNvSpPr>
            <a:spLocks/>
          </p:cNvSpPr>
          <p:nvPr/>
        </p:nvSpPr>
        <p:spPr bwMode="gray">
          <a:xfrm>
            <a:off x="5869846" y="2861343"/>
            <a:ext cx="269875" cy="125412"/>
          </a:xfrm>
          <a:custGeom>
            <a:avLst/>
            <a:gdLst>
              <a:gd name="T0" fmla="*/ 2147483647 w 672"/>
              <a:gd name="T1" fmla="*/ 2147483647 h 312"/>
              <a:gd name="T2" fmla="*/ 2147483647 w 672"/>
              <a:gd name="T3" fmla="*/ 2147483647 h 312"/>
              <a:gd name="T4" fmla="*/ 2147483647 w 672"/>
              <a:gd name="T5" fmla="*/ 2147483647 h 312"/>
              <a:gd name="T6" fmla="*/ 2147483647 w 672"/>
              <a:gd name="T7" fmla="*/ 2147483647 h 312"/>
              <a:gd name="T8" fmla="*/ 2147483647 w 672"/>
              <a:gd name="T9" fmla="*/ 2147483647 h 312"/>
              <a:gd name="T10" fmla="*/ 2147483647 w 672"/>
              <a:gd name="T11" fmla="*/ 2147483647 h 312"/>
              <a:gd name="T12" fmla="*/ 2147483647 w 672"/>
              <a:gd name="T13" fmla="*/ 2147483647 h 312"/>
              <a:gd name="T14" fmla="*/ 2147483647 w 672"/>
              <a:gd name="T15" fmla="*/ 2147483647 h 312"/>
              <a:gd name="T16" fmla="*/ 2147483647 w 672"/>
              <a:gd name="T17" fmla="*/ 2147483647 h 312"/>
              <a:gd name="T18" fmla="*/ 2147483647 w 672"/>
              <a:gd name="T19" fmla="*/ 2147483647 h 312"/>
              <a:gd name="T20" fmla="*/ 2147483647 w 672"/>
              <a:gd name="T21" fmla="*/ 2147483647 h 312"/>
              <a:gd name="T22" fmla="*/ 2147483647 w 672"/>
              <a:gd name="T23" fmla="*/ 2147483647 h 312"/>
              <a:gd name="T24" fmla="*/ 0 w 672"/>
              <a:gd name="T25" fmla="*/ 2147483647 h 312"/>
              <a:gd name="T26" fmla="*/ 2147483647 w 672"/>
              <a:gd name="T27" fmla="*/ 2147483647 h 312"/>
              <a:gd name="T28" fmla="*/ 2147483647 w 672"/>
              <a:gd name="T29" fmla="*/ 2147483647 h 312"/>
              <a:gd name="T30" fmla="*/ 2147483647 w 672"/>
              <a:gd name="T31" fmla="*/ 2147483647 h 312"/>
              <a:gd name="T32" fmla="*/ 2147483647 w 672"/>
              <a:gd name="T33" fmla="*/ 2147483647 h 312"/>
              <a:gd name="T34" fmla="*/ 2147483647 w 672"/>
              <a:gd name="T35" fmla="*/ 2147483647 h 312"/>
              <a:gd name="T36" fmla="*/ 2147483647 w 672"/>
              <a:gd name="T37" fmla="*/ 2147483647 h 312"/>
              <a:gd name="T38" fmla="*/ 2147483647 w 672"/>
              <a:gd name="T39" fmla="*/ 2147483647 h 312"/>
              <a:gd name="T40" fmla="*/ 2147483647 w 672"/>
              <a:gd name="T41" fmla="*/ 2147483647 h 312"/>
              <a:gd name="T42" fmla="*/ 2147483647 w 672"/>
              <a:gd name="T43" fmla="*/ 2147483647 h 312"/>
              <a:gd name="T44" fmla="*/ 2147483647 w 672"/>
              <a:gd name="T45" fmla="*/ 2147483647 h 312"/>
              <a:gd name="T46" fmla="*/ 2147483647 w 672"/>
              <a:gd name="T47" fmla="*/ 2147483647 h 312"/>
              <a:gd name="T48" fmla="*/ 2147483647 w 672"/>
              <a:gd name="T49" fmla="*/ 2147483647 h 312"/>
              <a:gd name="T50" fmla="*/ 2147483647 w 672"/>
              <a:gd name="T51" fmla="*/ 2147483647 h 312"/>
              <a:gd name="T52" fmla="*/ 2147483647 w 672"/>
              <a:gd name="T53" fmla="*/ 2147483647 h 312"/>
              <a:gd name="T54" fmla="*/ 2147483647 w 672"/>
              <a:gd name="T55" fmla="*/ 2147483647 h 312"/>
              <a:gd name="T56" fmla="*/ 2147483647 w 672"/>
              <a:gd name="T57" fmla="*/ 2147483647 h 312"/>
              <a:gd name="T58" fmla="*/ 2147483647 w 672"/>
              <a:gd name="T59" fmla="*/ 2147483647 h 312"/>
              <a:gd name="T60" fmla="*/ 2147483647 w 672"/>
              <a:gd name="T61" fmla="*/ 2147483647 h 312"/>
              <a:gd name="T62" fmla="*/ 2147483647 w 672"/>
              <a:gd name="T63" fmla="*/ 2147483647 h 312"/>
              <a:gd name="T64" fmla="*/ 2147483647 w 672"/>
              <a:gd name="T65" fmla="*/ 2147483647 h 312"/>
              <a:gd name="T66" fmla="*/ 2147483647 w 672"/>
              <a:gd name="T67" fmla="*/ 2147483647 h 312"/>
              <a:gd name="T68" fmla="*/ 2147483647 w 672"/>
              <a:gd name="T69" fmla="*/ 2147483647 h 312"/>
              <a:gd name="T70" fmla="*/ 2147483647 w 672"/>
              <a:gd name="T71" fmla="*/ 2147483647 h 312"/>
              <a:gd name="T72" fmla="*/ 2147483647 w 672"/>
              <a:gd name="T73" fmla="*/ 2147483647 h 312"/>
              <a:gd name="T74" fmla="*/ 2147483647 w 672"/>
              <a:gd name="T75" fmla="*/ 2147483647 h 312"/>
              <a:gd name="T76" fmla="*/ 2147483647 w 672"/>
              <a:gd name="T77" fmla="*/ 0 h 312"/>
              <a:gd name="T78" fmla="*/ 2147483647 w 672"/>
              <a:gd name="T79" fmla="*/ 2147483647 h 312"/>
              <a:gd name="T80" fmla="*/ 2147483647 w 672"/>
              <a:gd name="T81" fmla="*/ 2147483647 h 312"/>
              <a:gd name="T82" fmla="*/ 2147483647 w 672"/>
              <a:gd name="T83" fmla="*/ 2147483647 h 312"/>
              <a:gd name="T84" fmla="*/ 2147483647 w 672"/>
              <a:gd name="T85" fmla="*/ 2147483647 h 312"/>
              <a:gd name="T86" fmla="*/ 2147483647 w 672"/>
              <a:gd name="T87" fmla="*/ 2147483647 h 312"/>
              <a:gd name="T88" fmla="*/ 2147483647 w 672"/>
              <a:gd name="T89" fmla="*/ 2147483647 h 31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672"/>
              <a:gd name="T136" fmla="*/ 0 h 312"/>
              <a:gd name="T137" fmla="*/ 672 w 672"/>
              <a:gd name="T138" fmla="*/ 312 h 31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672" h="312">
                <a:moveTo>
                  <a:pt x="36" y="132"/>
                </a:moveTo>
                <a:lnTo>
                  <a:pt x="66" y="144"/>
                </a:lnTo>
                <a:lnTo>
                  <a:pt x="78" y="156"/>
                </a:lnTo>
                <a:lnTo>
                  <a:pt x="114" y="156"/>
                </a:lnTo>
                <a:lnTo>
                  <a:pt x="114" y="144"/>
                </a:lnTo>
                <a:lnTo>
                  <a:pt x="126" y="144"/>
                </a:lnTo>
                <a:lnTo>
                  <a:pt x="126" y="132"/>
                </a:lnTo>
                <a:lnTo>
                  <a:pt x="144" y="156"/>
                </a:lnTo>
                <a:lnTo>
                  <a:pt x="162" y="156"/>
                </a:lnTo>
                <a:lnTo>
                  <a:pt x="168" y="174"/>
                </a:lnTo>
                <a:lnTo>
                  <a:pt x="192" y="174"/>
                </a:lnTo>
                <a:lnTo>
                  <a:pt x="198" y="186"/>
                </a:lnTo>
                <a:lnTo>
                  <a:pt x="204" y="186"/>
                </a:lnTo>
                <a:lnTo>
                  <a:pt x="216" y="180"/>
                </a:lnTo>
                <a:lnTo>
                  <a:pt x="228" y="180"/>
                </a:lnTo>
                <a:lnTo>
                  <a:pt x="228" y="192"/>
                </a:lnTo>
                <a:lnTo>
                  <a:pt x="216" y="204"/>
                </a:lnTo>
                <a:lnTo>
                  <a:pt x="204" y="210"/>
                </a:lnTo>
                <a:lnTo>
                  <a:pt x="192" y="210"/>
                </a:lnTo>
                <a:lnTo>
                  <a:pt x="192" y="216"/>
                </a:lnTo>
                <a:lnTo>
                  <a:pt x="174" y="222"/>
                </a:lnTo>
                <a:lnTo>
                  <a:pt x="156" y="240"/>
                </a:lnTo>
                <a:lnTo>
                  <a:pt x="150" y="240"/>
                </a:lnTo>
                <a:lnTo>
                  <a:pt x="144" y="234"/>
                </a:lnTo>
                <a:lnTo>
                  <a:pt x="138" y="234"/>
                </a:lnTo>
                <a:lnTo>
                  <a:pt x="132" y="228"/>
                </a:lnTo>
                <a:lnTo>
                  <a:pt x="114" y="228"/>
                </a:lnTo>
                <a:lnTo>
                  <a:pt x="102" y="234"/>
                </a:lnTo>
                <a:lnTo>
                  <a:pt x="96" y="234"/>
                </a:lnTo>
                <a:lnTo>
                  <a:pt x="96" y="246"/>
                </a:lnTo>
                <a:lnTo>
                  <a:pt x="90" y="252"/>
                </a:lnTo>
                <a:lnTo>
                  <a:pt x="84" y="252"/>
                </a:lnTo>
                <a:lnTo>
                  <a:pt x="72" y="246"/>
                </a:lnTo>
                <a:lnTo>
                  <a:pt x="36" y="234"/>
                </a:lnTo>
                <a:lnTo>
                  <a:pt x="24" y="234"/>
                </a:lnTo>
                <a:lnTo>
                  <a:pt x="18" y="240"/>
                </a:lnTo>
                <a:lnTo>
                  <a:pt x="18" y="252"/>
                </a:lnTo>
                <a:lnTo>
                  <a:pt x="12" y="258"/>
                </a:lnTo>
                <a:lnTo>
                  <a:pt x="0" y="264"/>
                </a:lnTo>
                <a:lnTo>
                  <a:pt x="0" y="276"/>
                </a:lnTo>
                <a:lnTo>
                  <a:pt x="6" y="282"/>
                </a:lnTo>
                <a:lnTo>
                  <a:pt x="6" y="288"/>
                </a:lnTo>
                <a:lnTo>
                  <a:pt x="12" y="294"/>
                </a:lnTo>
                <a:lnTo>
                  <a:pt x="24" y="288"/>
                </a:lnTo>
                <a:lnTo>
                  <a:pt x="36" y="288"/>
                </a:lnTo>
                <a:lnTo>
                  <a:pt x="42" y="282"/>
                </a:lnTo>
                <a:lnTo>
                  <a:pt x="60" y="282"/>
                </a:lnTo>
                <a:lnTo>
                  <a:pt x="72" y="288"/>
                </a:lnTo>
                <a:lnTo>
                  <a:pt x="96" y="288"/>
                </a:lnTo>
                <a:lnTo>
                  <a:pt x="108" y="300"/>
                </a:lnTo>
                <a:lnTo>
                  <a:pt x="126" y="300"/>
                </a:lnTo>
                <a:lnTo>
                  <a:pt x="132" y="294"/>
                </a:lnTo>
                <a:lnTo>
                  <a:pt x="144" y="288"/>
                </a:lnTo>
                <a:lnTo>
                  <a:pt x="150" y="282"/>
                </a:lnTo>
                <a:lnTo>
                  <a:pt x="180" y="312"/>
                </a:lnTo>
                <a:lnTo>
                  <a:pt x="192" y="306"/>
                </a:lnTo>
                <a:lnTo>
                  <a:pt x="198" y="306"/>
                </a:lnTo>
                <a:lnTo>
                  <a:pt x="198" y="312"/>
                </a:lnTo>
                <a:lnTo>
                  <a:pt x="210" y="312"/>
                </a:lnTo>
                <a:lnTo>
                  <a:pt x="222" y="306"/>
                </a:lnTo>
                <a:lnTo>
                  <a:pt x="228" y="300"/>
                </a:lnTo>
                <a:lnTo>
                  <a:pt x="270" y="300"/>
                </a:lnTo>
                <a:lnTo>
                  <a:pt x="282" y="288"/>
                </a:lnTo>
                <a:lnTo>
                  <a:pt x="300" y="294"/>
                </a:lnTo>
                <a:lnTo>
                  <a:pt x="318" y="294"/>
                </a:lnTo>
                <a:lnTo>
                  <a:pt x="318" y="282"/>
                </a:lnTo>
                <a:lnTo>
                  <a:pt x="312" y="270"/>
                </a:lnTo>
                <a:lnTo>
                  <a:pt x="300" y="264"/>
                </a:lnTo>
                <a:lnTo>
                  <a:pt x="300" y="258"/>
                </a:lnTo>
                <a:lnTo>
                  <a:pt x="306" y="252"/>
                </a:lnTo>
                <a:lnTo>
                  <a:pt x="318" y="246"/>
                </a:lnTo>
                <a:lnTo>
                  <a:pt x="330" y="246"/>
                </a:lnTo>
                <a:lnTo>
                  <a:pt x="336" y="240"/>
                </a:lnTo>
                <a:lnTo>
                  <a:pt x="348" y="234"/>
                </a:lnTo>
                <a:lnTo>
                  <a:pt x="348" y="216"/>
                </a:lnTo>
                <a:lnTo>
                  <a:pt x="372" y="216"/>
                </a:lnTo>
                <a:lnTo>
                  <a:pt x="384" y="204"/>
                </a:lnTo>
                <a:lnTo>
                  <a:pt x="396" y="204"/>
                </a:lnTo>
                <a:lnTo>
                  <a:pt x="402" y="210"/>
                </a:lnTo>
                <a:lnTo>
                  <a:pt x="408" y="222"/>
                </a:lnTo>
                <a:lnTo>
                  <a:pt x="414" y="228"/>
                </a:lnTo>
                <a:lnTo>
                  <a:pt x="426" y="222"/>
                </a:lnTo>
                <a:lnTo>
                  <a:pt x="456" y="228"/>
                </a:lnTo>
                <a:lnTo>
                  <a:pt x="462" y="222"/>
                </a:lnTo>
                <a:lnTo>
                  <a:pt x="462" y="198"/>
                </a:lnTo>
                <a:lnTo>
                  <a:pt x="468" y="186"/>
                </a:lnTo>
                <a:lnTo>
                  <a:pt x="486" y="168"/>
                </a:lnTo>
                <a:lnTo>
                  <a:pt x="516" y="168"/>
                </a:lnTo>
                <a:lnTo>
                  <a:pt x="534" y="174"/>
                </a:lnTo>
                <a:lnTo>
                  <a:pt x="552" y="174"/>
                </a:lnTo>
                <a:lnTo>
                  <a:pt x="558" y="168"/>
                </a:lnTo>
                <a:lnTo>
                  <a:pt x="564" y="156"/>
                </a:lnTo>
                <a:lnTo>
                  <a:pt x="564" y="138"/>
                </a:lnTo>
                <a:lnTo>
                  <a:pt x="570" y="132"/>
                </a:lnTo>
                <a:lnTo>
                  <a:pt x="582" y="126"/>
                </a:lnTo>
                <a:lnTo>
                  <a:pt x="594" y="114"/>
                </a:lnTo>
                <a:lnTo>
                  <a:pt x="642" y="96"/>
                </a:lnTo>
                <a:lnTo>
                  <a:pt x="666" y="96"/>
                </a:lnTo>
                <a:lnTo>
                  <a:pt x="672" y="90"/>
                </a:lnTo>
                <a:lnTo>
                  <a:pt x="672" y="78"/>
                </a:lnTo>
                <a:lnTo>
                  <a:pt x="660" y="66"/>
                </a:lnTo>
                <a:lnTo>
                  <a:pt x="642" y="60"/>
                </a:lnTo>
                <a:lnTo>
                  <a:pt x="600" y="60"/>
                </a:lnTo>
                <a:lnTo>
                  <a:pt x="576" y="30"/>
                </a:lnTo>
                <a:lnTo>
                  <a:pt x="558" y="30"/>
                </a:lnTo>
                <a:lnTo>
                  <a:pt x="546" y="18"/>
                </a:lnTo>
                <a:lnTo>
                  <a:pt x="498" y="24"/>
                </a:lnTo>
                <a:lnTo>
                  <a:pt x="486" y="24"/>
                </a:lnTo>
                <a:lnTo>
                  <a:pt x="474" y="18"/>
                </a:lnTo>
                <a:lnTo>
                  <a:pt x="354" y="18"/>
                </a:lnTo>
                <a:lnTo>
                  <a:pt x="336" y="24"/>
                </a:lnTo>
                <a:lnTo>
                  <a:pt x="318" y="24"/>
                </a:lnTo>
                <a:lnTo>
                  <a:pt x="306" y="18"/>
                </a:lnTo>
                <a:lnTo>
                  <a:pt x="282" y="18"/>
                </a:lnTo>
                <a:lnTo>
                  <a:pt x="276" y="6"/>
                </a:lnTo>
                <a:lnTo>
                  <a:pt x="264" y="0"/>
                </a:lnTo>
                <a:lnTo>
                  <a:pt x="222" y="0"/>
                </a:lnTo>
                <a:lnTo>
                  <a:pt x="216" y="6"/>
                </a:lnTo>
                <a:lnTo>
                  <a:pt x="216" y="36"/>
                </a:lnTo>
                <a:lnTo>
                  <a:pt x="222" y="48"/>
                </a:lnTo>
                <a:lnTo>
                  <a:pt x="222" y="60"/>
                </a:lnTo>
                <a:lnTo>
                  <a:pt x="204" y="54"/>
                </a:lnTo>
                <a:lnTo>
                  <a:pt x="174" y="54"/>
                </a:lnTo>
                <a:lnTo>
                  <a:pt x="138" y="36"/>
                </a:lnTo>
                <a:lnTo>
                  <a:pt x="120" y="30"/>
                </a:lnTo>
                <a:lnTo>
                  <a:pt x="108" y="24"/>
                </a:lnTo>
                <a:lnTo>
                  <a:pt x="78" y="24"/>
                </a:lnTo>
                <a:lnTo>
                  <a:pt x="60" y="42"/>
                </a:lnTo>
                <a:lnTo>
                  <a:pt x="54" y="54"/>
                </a:lnTo>
                <a:lnTo>
                  <a:pt x="54" y="72"/>
                </a:lnTo>
                <a:lnTo>
                  <a:pt x="72" y="72"/>
                </a:lnTo>
                <a:lnTo>
                  <a:pt x="78" y="78"/>
                </a:lnTo>
                <a:lnTo>
                  <a:pt x="84" y="78"/>
                </a:lnTo>
                <a:lnTo>
                  <a:pt x="84" y="84"/>
                </a:lnTo>
                <a:lnTo>
                  <a:pt x="36" y="13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5" name="Kuwait"/>
          <p:cNvSpPr>
            <a:spLocks/>
          </p:cNvSpPr>
          <p:nvPr/>
        </p:nvSpPr>
        <p:spPr bwMode="gray">
          <a:xfrm>
            <a:off x="5312633" y="3285205"/>
            <a:ext cx="55563" cy="49213"/>
          </a:xfrm>
          <a:custGeom>
            <a:avLst/>
            <a:gdLst>
              <a:gd name="T0" fmla="*/ 2147483647 w 138"/>
              <a:gd name="T1" fmla="*/ 0 h 120"/>
              <a:gd name="T2" fmla="*/ 2147483647 w 138"/>
              <a:gd name="T3" fmla="*/ 0 h 120"/>
              <a:gd name="T4" fmla="*/ 2147483647 w 138"/>
              <a:gd name="T5" fmla="*/ 2147483647 h 120"/>
              <a:gd name="T6" fmla="*/ 2147483647 w 138"/>
              <a:gd name="T7" fmla="*/ 2147483647 h 120"/>
              <a:gd name="T8" fmla="*/ 2147483647 w 138"/>
              <a:gd name="T9" fmla="*/ 2147483647 h 120"/>
              <a:gd name="T10" fmla="*/ 2147483647 w 138"/>
              <a:gd name="T11" fmla="*/ 2147483647 h 120"/>
              <a:gd name="T12" fmla="*/ 0 w 138"/>
              <a:gd name="T13" fmla="*/ 2147483647 h 120"/>
              <a:gd name="T14" fmla="*/ 2147483647 w 138"/>
              <a:gd name="T15" fmla="*/ 2147483647 h 120"/>
              <a:gd name="T16" fmla="*/ 2147483647 w 138"/>
              <a:gd name="T17" fmla="*/ 2147483647 h 120"/>
              <a:gd name="T18" fmla="*/ 2147483647 w 138"/>
              <a:gd name="T19" fmla="*/ 2147483647 h 120"/>
              <a:gd name="T20" fmla="*/ 2147483647 w 138"/>
              <a:gd name="T21" fmla="*/ 2147483647 h 120"/>
              <a:gd name="T22" fmla="*/ 2147483647 w 138"/>
              <a:gd name="T23" fmla="*/ 2147483647 h 120"/>
              <a:gd name="T24" fmla="*/ 2147483647 w 138"/>
              <a:gd name="T25" fmla="*/ 2147483647 h 120"/>
              <a:gd name="T26" fmla="*/ 2147483647 w 138"/>
              <a:gd name="T27" fmla="*/ 2147483647 h 120"/>
              <a:gd name="T28" fmla="*/ 2147483647 w 138"/>
              <a:gd name="T29" fmla="*/ 2147483647 h 120"/>
              <a:gd name="T30" fmla="*/ 2147483647 w 138"/>
              <a:gd name="T31" fmla="*/ 2147483647 h 120"/>
              <a:gd name="T32" fmla="*/ 2147483647 w 138"/>
              <a:gd name="T33" fmla="*/ 2147483647 h 120"/>
              <a:gd name="T34" fmla="*/ 2147483647 w 138"/>
              <a:gd name="T35" fmla="*/ 2147483647 h 120"/>
              <a:gd name="T36" fmla="*/ 2147483647 w 138"/>
              <a:gd name="T37" fmla="*/ 2147483647 h 120"/>
              <a:gd name="T38" fmla="*/ 2147483647 w 138"/>
              <a:gd name="T39" fmla="*/ 2147483647 h 120"/>
              <a:gd name="T40" fmla="*/ 2147483647 w 138"/>
              <a:gd name="T41" fmla="*/ 2147483647 h 120"/>
              <a:gd name="T42" fmla="*/ 2147483647 w 138"/>
              <a:gd name="T43" fmla="*/ 2147483647 h 120"/>
              <a:gd name="T44" fmla="*/ 2147483647 w 138"/>
              <a:gd name="T45" fmla="*/ 2147483647 h 120"/>
              <a:gd name="T46" fmla="*/ 2147483647 w 138"/>
              <a:gd name="T47" fmla="*/ 2147483647 h 120"/>
              <a:gd name="T48" fmla="*/ 2147483647 w 138"/>
              <a:gd name="T49" fmla="*/ 0 h 120"/>
              <a:gd name="T50" fmla="*/ 2147483647 w 138"/>
              <a:gd name="T51" fmla="*/ 0 h 12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38"/>
              <a:gd name="T79" fmla="*/ 0 h 120"/>
              <a:gd name="T80" fmla="*/ 138 w 138"/>
              <a:gd name="T81" fmla="*/ 120 h 12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38" h="120">
                <a:moveTo>
                  <a:pt x="54" y="0"/>
                </a:moveTo>
                <a:lnTo>
                  <a:pt x="36" y="0"/>
                </a:lnTo>
                <a:lnTo>
                  <a:pt x="30" y="12"/>
                </a:lnTo>
                <a:lnTo>
                  <a:pt x="24" y="18"/>
                </a:lnTo>
                <a:lnTo>
                  <a:pt x="24" y="30"/>
                </a:lnTo>
                <a:lnTo>
                  <a:pt x="6" y="66"/>
                </a:lnTo>
                <a:lnTo>
                  <a:pt x="0" y="72"/>
                </a:lnTo>
                <a:lnTo>
                  <a:pt x="42" y="72"/>
                </a:lnTo>
                <a:lnTo>
                  <a:pt x="60" y="78"/>
                </a:lnTo>
                <a:lnTo>
                  <a:pt x="66" y="78"/>
                </a:lnTo>
                <a:lnTo>
                  <a:pt x="66" y="114"/>
                </a:lnTo>
                <a:lnTo>
                  <a:pt x="72" y="120"/>
                </a:lnTo>
                <a:lnTo>
                  <a:pt x="138" y="120"/>
                </a:lnTo>
                <a:lnTo>
                  <a:pt x="126" y="114"/>
                </a:lnTo>
                <a:lnTo>
                  <a:pt x="114" y="102"/>
                </a:lnTo>
                <a:lnTo>
                  <a:pt x="102" y="78"/>
                </a:lnTo>
                <a:lnTo>
                  <a:pt x="102" y="66"/>
                </a:lnTo>
                <a:lnTo>
                  <a:pt x="90" y="60"/>
                </a:lnTo>
                <a:lnTo>
                  <a:pt x="84" y="36"/>
                </a:lnTo>
                <a:lnTo>
                  <a:pt x="120" y="36"/>
                </a:lnTo>
                <a:lnTo>
                  <a:pt x="120" y="18"/>
                </a:lnTo>
                <a:lnTo>
                  <a:pt x="114" y="12"/>
                </a:lnTo>
                <a:lnTo>
                  <a:pt x="90" y="12"/>
                </a:lnTo>
                <a:lnTo>
                  <a:pt x="90" y="18"/>
                </a:lnTo>
                <a:lnTo>
                  <a:pt x="84" y="0"/>
                </a:lnTo>
                <a:lnTo>
                  <a:pt x="54" y="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6" name="Cuba"/>
          <p:cNvSpPr>
            <a:spLocks noEditPoints="1"/>
          </p:cNvSpPr>
          <p:nvPr/>
        </p:nvSpPr>
        <p:spPr bwMode="gray">
          <a:xfrm>
            <a:off x="1639158" y="3505868"/>
            <a:ext cx="296863" cy="109537"/>
          </a:xfrm>
          <a:custGeom>
            <a:avLst/>
            <a:gdLst>
              <a:gd name="T0" fmla="*/ 2147483647 w 738"/>
              <a:gd name="T1" fmla="*/ 2147483647 h 270"/>
              <a:gd name="T2" fmla="*/ 2147483647 w 738"/>
              <a:gd name="T3" fmla="*/ 2147483647 h 270"/>
              <a:gd name="T4" fmla="*/ 2147483647 w 738"/>
              <a:gd name="T5" fmla="*/ 2147483647 h 270"/>
              <a:gd name="T6" fmla="*/ 2147483647 w 738"/>
              <a:gd name="T7" fmla="*/ 2147483647 h 270"/>
              <a:gd name="T8" fmla="*/ 2147483647 w 738"/>
              <a:gd name="T9" fmla="*/ 2147483647 h 270"/>
              <a:gd name="T10" fmla="*/ 2147483647 w 738"/>
              <a:gd name="T11" fmla="*/ 2147483647 h 270"/>
              <a:gd name="T12" fmla="*/ 2147483647 w 738"/>
              <a:gd name="T13" fmla="*/ 2147483647 h 270"/>
              <a:gd name="T14" fmla="*/ 2147483647 w 738"/>
              <a:gd name="T15" fmla="*/ 2147483647 h 270"/>
              <a:gd name="T16" fmla="*/ 2147483647 w 738"/>
              <a:gd name="T17" fmla="*/ 2147483647 h 270"/>
              <a:gd name="T18" fmla="*/ 2147483647 w 738"/>
              <a:gd name="T19" fmla="*/ 2147483647 h 270"/>
              <a:gd name="T20" fmla="*/ 2147483647 w 738"/>
              <a:gd name="T21" fmla="*/ 2147483647 h 270"/>
              <a:gd name="T22" fmla="*/ 2147483647 w 738"/>
              <a:gd name="T23" fmla="*/ 2147483647 h 270"/>
              <a:gd name="T24" fmla="*/ 2147483647 w 738"/>
              <a:gd name="T25" fmla="*/ 2147483647 h 270"/>
              <a:gd name="T26" fmla="*/ 2147483647 w 738"/>
              <a:gd name="T27" fmla="*/ 2147483647 h 270"/>
              <a:gd name="T28" fmla="*/ 2147483647 w 738"/>
              <a:gd name="T29" fmla="*/ 2147483647 h 270"/>
              <a:gd name="T30" fmla="*/ 2147483647 w 738"/>
              <a:gd name="T31" fmla="*/ 2147483647 h 270"/>
              <a:gd name="T32" fmla="*/ 2147483647 w 738"/>
              <a:gd name="T33" fmla="*/ 2147483647 h 270"/>
              <a:gd name="T34" fmla="*/ 2147483647 w 738"/>
              <a:gd name="T35" fmla="*/ 2147483647 h 270"/>
              <a:gd name="T36" fmla="*/ 2147483647 w 738"/>
              <a:gd name="T37" fmla="*/ 0 h 270"/>
              <a:gd name="T38" fmla="*/ 2147483647 w 738"/>
              <a:gd name="T39" fmla="*/ 2147483647 h 270"/>
              <a:gd name="T40" fmla="*/ 2147483647 w 738"/>
              <a:gd name="T41" fmla="*/ 2147483647 h 270"/>
              <a:gd name="T42" fmla="*/ 2147483647 w 738"/>
              <a:gd name="T43" fmla="*/ 2147483647 h 270"/>
              <a:gd name="T44" fmla="*/ 2147483647 w 738"/>
              <a:gd name="T45" fmla="*/ 2147483647 h 270"/>
              <a:gd name="T46" fmla="*/ 2147483647 w 738"/>
              <a:gd name="T47" fmla="*/ 2147483647 h 270"/>
              <a:gd name="T48" fmla="*/ 2147483647 w 738"/>
              <a:gd name="T49" fmla="*/ 2147483647 h 270"/>
              <a:gd name="T50" fmla="*/ 2147483647 w 738"/>
              <a:gd name="T51" fmla="*/ 2147483647 h 270"/>
              <a:gd name="T52" fmla="*/ 2147483647 w 738"/>
              <a:gd name="T53" fmla="*/ 2147483647 h 270"/>
              <a:gd name="T54" fmla="*/ 2147483647 w 738"/>
              <a:gd name="T55" fmla="*/ 2147483647 h 270"/>
              <a:gd name="T56" fmla="*/ 2147483647 w 738"/>
              <a:gd name="T57" fmla="*/ 2147483647 h 270"/>
              <a:gd name="T58" fmla="*/ 2147483647 w 738"/>
              <a:gd name="T59" fmla="*/ 2147483647 h 270"/>
              <a:gd name="T60" fmla="*/ 2147483647 w 738"/>
              <a:gd name="T61" fmla="*/ 2147483647 h 270"/>
              <a:gd name="T62" fmla="*/ 2147483647 w 738"/>
              <a:gd name="T63" fmla="*/ 2147483647 h 270"/>
              <a:gd name="T64" fmla="*/ 2147483647 w 738"/>
              <a:gd name="T65" fmla="*/ 2147483647 h 270"/>
              <a:gd name="T66" fmla="*/ 2147483647 w 738"/>
              <a:gd name="T67" fmla="*/ 2147483647 h 270"/>
              <a:gd name="T68" fmla="*/ 2147483647 w 738"/>
              <a:gd name="T69" fmla="*/ 2147483647 h 270"/>
              <a:gd name="T70" fmla="*/ 2147483647 w 738"/>
              <a:gd name="T71" fmla="*/ 2147483647 h 270"/>
              <a:gd name="T72" fmla="*/ 2147483647 w 738"/>
              <a:gd name="T73" fmla="*/ 2147483647 h 270"/>
              <a:gd name="T74" fmla="*/ 2147483647 w 738"/>
              <a:gd name="T75" fmla="*/ 2147483647 h 270"/>
              <a:gd name="T76" fmla="*/ 2147483647 w 738"/>
              <a:gd name="T77" fmla="*/ 2147483647 h 270"/>
              <a:gd name="T78" fmla="*/ 2147483647 w 738"/>
              <a:gd name="T79" fmla="*/ 2147483647 h 270"/>
              <a:gd name="T80" fmla="*/ 2147483647 w 738"/>
              <a:gd name="T81" fmla="*/ 2147483647 h 270"/>
              <a:gd name="T82" fmla="*/ 2147483647 w 738"/>
              <a:gd name="T83" fmla="*/ 2147483647 h 270"/>
              <a:gd name="T84" fmla="*/ 2147483647 w 738"/>
              <a:gd name="T85" fmla="*/ 2147483647 h 270"/>
              <a:gd name="T86" fmla="*/ 2147483647 w 738"/>
              <a:gd name="T87" fmla="*/ 2147483647 h 270"/>
              <a:gd name="T88" fmla="*/ 2147483647 w 738"/>
              <a:gd name="T89" fmla="*/ 2147483647 h 270"/>
              <a:gd name="T90" fmla="*/ 2147483647 w 738"/>
              <a:gd name="T91" fmla="*/ 2147483647 h 270"/>
              <a:gd name="T92" fmla="*/ 2147483647 w 738"/>
              <a:gd name="T93" fmla="*/ 2147483647 h 270"/>
              <a:gd name="T94" fmla="*/ 2147483647 w 738"/>
              <a:gd name="T95" fmla="*/ 2147483647 h 270"/>
              <a:gd name="T96" fmla="*/ 2147483647 w 738"/>
              <a:gd name="T97" fmla="*/ 2147483647 h 270"/>
              <a:gd name="T98" fmla="*/ 2147483647 w 738"/>
              <a:gd name="T99" fmla="*/ 2147483647 h 270"/>
              <a:gd name="T100" fmla="*/ 2147483647 w 738"/>
              <a:gd name="T101" fmla="*/ 2147483647 h 270"/>
              <a:gd name="T102" fmla="*/ 2147483647 w 738"/>
              <a:gd name="T103" fmla="*/ 2147483647 h 270"/>
              <a:gd name="T104" fmla="*/ 2147483647 w 738"/>
              <a:gd name="T105" fmla="*/ 2147483647 h 270"/>
              <a:gd name="T106" fmla="*/ 2147483647 w 738"/>
              <a:gd name="T107" fmla="*/ 2147483647 h 270"/>
              <a:gd name="T108" fmla="*/ 2147483647 w 738"/>
              <a:gd name="T109" fmla="*/ 2147483647 h 270"/>
              <a:gd name="T110" fmla="*/ 2147483647 w 738"/>
              <a:gd name="T111" fmla="*/ 2147483647 h 270"/>
              <a:gd name="T112" fmla="*/ 2147483647 w 738"/>
              <a:gd name="T113" fmla="*/ 2147483647 h 270"/>
              <a:gd name="T114" fmla="*/ 2147483647 w 738"/>
              <a:gd name="T115" fmla="*/ 2147483647 h 27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738"/>
              <a:gd name="T175" fmla="*/ 0 h 270"/>
              <a:gd name="T176" fmla="*/ 738 w 738"/>
              <a:gd name="T177" fmla="*/ 270 h 27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738" h="270">
                <a:moveTo>
                  <a:pt x="708" y="228"/>
                </a:moveTo>
                <a:lnTo>
                  <a:pt x="690" y="222"/>
                </a:lnTo>
                <a:lnTo>
                  <a:pt x="666" y="222"/>
                </a:lnTo>
                <a:lnTo>
                  <a:pt x="666" y="204"/>
                </a:lnTo>
                <a:lnTo>
                  <a:pt x="660" y="198"/>
                </a:lnTo>
                <a:lnTo>
                  <a:pt x="648" y="192"/>
                </a:lnTo>
                <a:lnTo>
                  <a:pt x="600" y="192"/>
                </a:lnTo>
                <a:lnTo>
                  <a:pt x="624" y="168"/>
                </a:lnTo>
                <a:lnTo>
                  <a:pt x="612" y="168"/>
                </a:lnTo>
                <a:lnTo>
                  <a:pt x="600" y="162"/>
                </a:lnTo>
                <a:lnTo>
                  <a:pt x="558" y="162"/>
                </a:lnTo>
                <a:lnTo>
                  <a:pt x="534" y="150"/>
                </a:lnTo>
                <a:lnTo>
                  <a:pt x="528" y="144"/>
                </a:lnTo>
                <a:lnTo>
                  <a:pt x="522" y="144"/>
                </a:lnTo>
                <a:lnTo>
                  <a:pt x="528" y="138"/>
                </a:lnTo>
                <a:lnTo>
                  <a:pt x="528" y="132"/>
                </a:lnTo>
                <a:lnTo>
                  <a:pt x="534" y="126"/>
                </a:lnTo>
                <a:lnTo>
                  <a:pt x="534" y="120"/>
                </a:lnTo>
                <a:lnTo>
                  <a:pt x="522" y="120"/>
                </a:lnTo>
                <a:lnTo>
                  <a:pt x="510" y="114"/>
                </a:lnTo>
                <a:lnTo>
                  <a:pt x="504" y="114"/>
                </a:lnTo>
                <a:lnTo>
                  <a:pt x="474" y="84"/>
                </a:lnTo>
                <a:lnTo>
                  <a:pt x="462" y="78"/>
                </a:lnTo>
                <a:lnTo>
                  <a:pt x="450" y="66"/>
                </a:lnTo>
                <a:lnTo>
                  <a:pt x="432" y="66"/>
                </a:lnTo>
                <a:lnTo>
                  <a:pt x="432" y="84"/>
                </a:lnTo>
                <a:lnTo>
                  <a:pt x="444" y="96"/>
                </a:lnTo>
                <a:lnTo>
                  <a:pt x="450" y="96"/>
                </a:lnTo>
                <a:lnTo>
                  <a:pt x="378" y="60"/>
                </a:lnTo>
                <a:lnTo>
                  <a:pt x="372" y="54"/>
                </a:lnTo>
                <a:lnTo>
                  <a:pt x="360" y="48"/>
                </a:lnTo>
                <a:lnTo>
                  <a:pt x="354" y="36"/>
                </a:lnTo>
                <a:lnTo>
                  <a:pt x="342" y="30"/>
                </a:lnTo>
                <a:lnTo>
                  <a:pt x="330" y="18"/>
                </a:lnTo>
                <a:lnTo>
                  <a:pt x="270" y="18"/>
                </a:lnTo>
                <a:lnTo>
                  <a:pt x="258" y="12"/>
                </a:lnTo>
                <a:lnTo>
                  <a:pt x="228" y="6"/>
                </a:lnTo>
                <a:lnTo>
                  <a:pt x="174" y="0"/>
                </a:lnTo>
                <a:lnTo>
                  <a:pt x="126" y="6"/>
                </a:lnTo>
                <a:lnTo>
                  <a:pt x="96" y="18"/>
                </a:lnTo>
                <a:lnTo>
                  <a:pt x="72" y="42"/>
                </a:lnTo>
                <a:lnTo>
                  <a:pt x="60" y="48"/>
                </a:lnTo>
                <a:lnTo>
                  <a:pt x="42" y="60"/>
                </a:lnTo>
                <a:lnTo>
                  <a:pt x="24" y="66"/>
                </a:lnTo>
                <a:lnTo>
                  <a:pt x="12" y="72"/>
                </a:lnTo>
                <a:lnTo>
                  <a:pt x="6" y="78"/>
                </a:lnTo>
                <a:lnTo>
                  <a:pt x="0" y="78"/>
                </a:lnTo>
                <a:lnTo>
                  <a:pt x="72" y="72"/>
                </a:lnTo>
                <a:lnTo>
                  <a:pt x="72" y="60"/>
                </a:lnTo>
                <a:lnTo>
                  <a:pt x="150" y="54"/>
                </a:lnTo>
                <a:lnTo>
                  <a:pt x="174" y="42"/>
                </a:lnTo>
                <a:lnTo>
                  <a:pt x="198" y="42"/>
                </a:lnTo>
                <a:lnTo>
                  <a:pt x="222" y="54"/>
                </a:lnTo>
                <a:lnTo>
                  <a:pt x="222" y="60"/>
                </a:lnTo>
                <a:lnTo>
                  <a:pt x="216" y="60"/>
                </a:lnTo>
                <a:lnTo>
                  <a:pt x="210" y="66"/>
                </a:lnTo>
                <a:lnTo>
                  <a:pt x="198" y="66"/>
                </a:lnTo>
                <a:lnTo>
                  <a:pt x="192" y="72"/>
                </a:lnTo>
                <a:lnTo>
                  <a:pt x="186" y="72"/>
                </a:lnTo>
                <a:lnTo>
                  <a:pt x="204" y="78"/>
                </a:lnTo>
                <a:lnTo>
                  <a:pt x="210" y="78"/>
                </a:lnTo>
                <a:lnTo>
                  <a:pt x="216" y="84"/>
                </a:lnTo>
                <a:lnTo>
                  <a:pt x="228" y="90"/>
                </a:lnTo>
                <a:lnTo>
                  <a:pt x="246" y="96"/>
                </a:lnTo>
                <a:lnTo>
                  <a:pt x="258" y="102"/>
                </a:lnTo>
                <a:lnTo>
                  <a:pt x="276" y="102"/>
                </a:lnTo>
                <a:lnTo>
                  <a:pt x="282" y="96"/>
                </a:lnTo>
                <a:lnTo>
                  <a:pt x="282" y="90"/>
                </a:lnTo>
                <a:lnTo>
                  <a:pt x="294" y="96"/>
                </a:lnTo>
                <a:lnTo>
                  <a:pt x="300" y="102"/>
                </a:lnTo>
                <a:lnTo>
                  <a:pt x="318" y="114"/>
                </a:lnTo>
                <a:lnTo>
                  <a:pt x="342" y="126"/>
                </a:lnTo>
                <a:lnTo>
                  <a:pt x="372" y="126"/>
                </a:lnTo>
                <a:lnTo>
                  <a:pt x="390" y="120"/>
                </a:lnTo>
                <a:lnTo>
                  <a:pt x="402" y="120"/>
                </a:lnTo>
                <a:lnTo>
                  <a:pt x="390" y="144"/>
                </a:lnTo>
                <a:lnTo>
                  <a:pt x="450" y="168"/>
                </a:lnTo>
                <a:lnTo>
                  <a:pt x="474" y="204"/>
                </a:lnTo>
                <a:lnTo>
                  <a:pt x="480" y="210"/>
                </a:lnTo>
                <a:lnTo>
                  <a:pt x="492" y="216"/>
                </a:lnTo>
                <a:lnTo>
                  <a:pt x="498" y="222"/>
                </a:lnTo>
                <a:lnTo>
                  <a:pt x="498" y="228"/>
                </a:lnTo>
                <a:lnTo>
                  <a:pt x="474" y="252"/>
                </a:lnTo>
                <a:lnTo>
                  <a:pt x="474" y="258"/>
                </a:lnTo>
                <a:lnTo>
                  <a:pt x="480" y="264"/>
                </a:lnTo>
                <a:lnTo>
                  <a:pt x="492" y="258"/>
                </a:lnTo>
                <a:lnTo>
                  <a:pt x="504" y="258"/>
                </a:lnTo>
                <a:lnTo>
                  <a:pt x="528" y="246"/>
                </a:lnTo>
                <a:lnTo>
                  <a:pt x="558" y="246"/>
                </a:lnTo>
                <a:lnTo>
                  <a:pt x="558" y="252"/>
                </a:lnTo>
                <a:lnTo>
                  <a:pt x="552" y="252"/>
                </a:lnTo>
                <a:lnTo>
                  <a:pt x="546" y="258"/>
                </a:lnTo>
                <a:lnTo>
                  <a:pt x="546" y="264"/>
                </a:lnTo>
                <a:lnTo>
                  <a:pt x="558" y="264"/>
                </a:lnTo>
                <a:lnTo>
                  <a:pt x="564" y="270"/>
                </a:lnTo>
                <a:lnTo>
                  <a:pt x="612" y="270"/>
                </a:lnTo>
                <a:lnTo>
                  <a:pt x="636" y="264"/>
                </a:lnTo>
                <a:lnTo>
                  <a:pt x="684" y="258"/>
                </a:lnTo>
                <a:lnTo>
                  <a:pt x="720" y="252"/>
                </a:lnTo>
                <a:lnTo>
                  <a:pt x="738" y="246"/>
                </a:lnTo>
                <a:lnTo>
                  <a:pt x="738" y="240"/>
                </a:lnTo>
                <a:lnTo>
                  <a:pt x="732" y="234"/>
                </a:lnTo>
                <a:lnTo>
                  <a:pt x="720" y="228"/>
                </a:lnTo>
                <a:lnTo>
                  <a:pt x="708" y="228"/>
                </a:lnTo>
                <a:close/>
                <a:moveTo>
                  <a:pt x="114" y="126"/>
                </a:moveTo>
                <a:lnTo>
                  <a:pt x="114" y="132"/>
                </a:lnTo>
                <a:lnTo>
                  <a:pt x="120" y="138"/>
                </a:lnTo>
                <a:lnTo>
                  <a:pt x="132" y="144"/>
                </a:lnTo>
                <a:lnTo>
                  <a:pt x="144" y="138"/>
                </a:lnTo>
                <a:lnTo>
                  <a:pt x="150" y="138"/>
                </a:lnTo>
                <a:lnTo>
                  <a:pt x="156" y="126"/>
                </a:lnTo>
                <a:lnTo>
                  <a:pt x="156" y="120"/>
                </a:lnTo>
                <a:lnTo>
                  <a:pt x="150" y="114"/>
                </a:lnTo>
                <a:lnTo>
                  <a:pt x="138" y="114"/>
                </a:lnTo>
                <a:lnTo>
                  <a:pt x="126" y="120"/>
                </a:lnTo>
                <a:lnTo>
                  <a:pt x="120" y="120"/>
                </a:lnTo>
                <a:lnTo>
                  <a:pt x="114" y="12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7" name="Croatien"/>
          <p:cNvSpPr>
            <a:spLocks/>
          </p:cNvSpPr>
          <p:nvPr/>
        </p:nvSpPr>
        <p:spPr bwMode="gray">
          <a:xfrm>
            <a:off x="4396646" y="2754980"/>
            <a:ext cx="147637" cy="111125"/>
          </a:xfrm>
          <a:custGeom>
            <a:avLst/>
            <a:gdLst>
              <a:gd name="T0" fmla="*/ 2147483647 w 366"/>
              <a:gd name="T1" fmla="*/ 2147483647 h 276"/>
              <a:gd name="T2" fmla="*/ 2147483647 w 366"/>
              <a:gd name="T3" fmla="*/ 2147483647 h 276"/>
              <a:gd name="T4" fmla="*/ 2147483647 w 366"/>
              <a:gd name="T5" fmla="*/ 2147483647 h 276"/>
              <a:gd name="T6" fmla="*/ 2147483647 w 366"/>
              <a:gd name="T7" fmla="*/ 2147483647 h 276"/>
              <a:gd name="T8" fmla="*/ 2147483647 w 366"/>
              <a:gd name="T9" fmla="*/ 2147483647 h 276"/>
              <a:gd name="T10" fmla="*/ 2147483647 w 366"/>
              <a:gd name="T11" fmla="*/ 2147483647 h 276"/>
              <a:gd name="T12" fmla="*/ 2147483647 w 366"/>
              <a:gd name="T13" fmla="*/ 2147483647 h 276"/>
              <a:gd name="T14" fmla="*/ 2147483647 w 366"/>
              <a:gd name="T15" fmla="*/ 2147483647 h 276"/>
              <a:gd name="T16" fmla="*/ 2147483647 w 366"/>
              <a:gd name="T17" fmla="*/ 2147483647 h 276"/>
              <a:gd name="T18" fmla="*/ 2147483647 w 366"/>
              <a:gd name="T19" fmla="*/ 2147483647 h 276"/>
              <a:gd name="T20" fmla="*/ 2147483647 w 366"/>
              <a:gd name="T21" fmla="*/ 2147483647 h 276"/>
              <a:gd name="T22" fmla="*/ 2147483647 w 366"/>
              <a:gd name="T23" fmla="*/ 0 h 276"/>
              <a:gd name="T24" fmla="*/ 2147483647 w 366"/>
              <a:gd name="T25" fmla="*/ 2147483647 h 276"/>
              <a:gd name="T26" fmla="*/ 2147483647 w 366"/>
              <a:gd name="T27" fmla="*/ 2147483647 h 276"/>
              <a:gd name="T28" fmla="*/ 2147483647 w 366"/>
              <a:gd name="T29" fmla="*/ 2147483647 h 276"/>
              <a:gd name="T30" fmla="*/ 2147483647 w 366"/>
              <a:gd name="T31" fmla="*/ 2147483647 h 276"/>
              <a:gd name="T32" fmla="*/ 2147483647 w 366"/>
              <a:gd name="T33" fmla="*/ 2147483647 h 276"/>
              <a:gd name="T34" fmla="*/ 2147483647 w 366"/>
              <a:gd name="T35" fmla="*/ 2147483647 h 276"/>
              <a:gd name="T36" fmla="*/ 2147483647 w 366"/>
              <a:gd name="T37" fmla="*/ 2147483647 h 276"/>
              <a:gd name="T38" fmla="*/ 2147483647 w 366"/>
              <a:gd name="T39" fmla="*/ 2147483647 h 276"/>
              <a:gd name="T40" fmla="*/ 0 w 366"/>
              <a:gd name="T41" fmla="*/ 2147483647 h 276"/>
              <a:gd name="T42" fmla="*/ 2147483647 w 366"/>
              <a:gd name="T43" fmla="*/ 2147483647 h 276"/>
              <a:gd name="T44" fmla="*/ 2147483647 w 366"/>
              <a:gd name="T45" fmla="*/ 2147483647 h 276"/>
              <a:gd name="T46" fmla="*/ 2147483647 w 366"/>
              <a:gd name="T47" fmla="*/ 2147483647 h 276"/>
              <a:gd name="T48" fmla="*/ 2147483647 w 366"/>
              <a:gd name="T49" fmla="*/ 2147483647 h 276"/>
              <a:gd name="T50" fmla="*/ 2147483647 w 366"/>
              <a:gd name="T51" fmla="*/ 2147483647 h 276"/>
              <a:gd name="T52" fmla="*/ 2147483647 w 366"/>
              <a:gd name="T53" fmla="*/ 2147483647 h 276"/>
              <a:gd name="T54" fmla="*/ 2147483647 w 366"/>
              <a:gd name="T55" fmla="*/ 2147483647 h 276"/>
              <a:gd name="T56" fmla="*/ 2147483647 w 366"/>
              <a:gd name="T57" fmla="*/ 2147483647 h 276"/>
              <a:gd name="T58" fmla="*/ 2147483647 w 366"/>
              <a:gd name="T59" fmla="*/ 2147483647 h 276"/>
              <a:gd name="T60" fmla="*/ 2147483647 w 366"/>
              <a:gd name="T61" fmla="*/ 2147483647 h 276"/>
              <a:gd name="T62" fmla="*/ 2147483647 w 366"/>
              <a:gd name="T63" fmla="*/ 2147483647 h 276"/>
              <a:gd name="T64" fmla="*/ 2147483647 w 366"/>
              <a:gd name="T65" fmla="*/ 2147483647 h 276"/>
              <a:gd name="T66" fmla="*/ 2147483647 w 366"/>
              <a:gd name="T67" fmla="*/ 2147483647 h 276"/>
              <a:gd name="T68" fmla="*/ 2147483647 w 366"/>
              <a:gd name="T69" fmla="*/ 2147483647 h 276"/>
              <a:gd name="T70" fmla="*/ 2147483647 w 366"/>
              <a:gd name="T71" fmla="*/ 2147483647 h 276"/>
              <a:gd name="T72" fmla="*/ 2147483647 w 366"/>
              <a:gd name="T73" fmla="*/ 2147483647 h 276"/>
              <a:gd name="T74" fmla="*/ 2147483647 w 366"/>
              <a:gd name="T75" fmla="*/ 2147483647 h 276"/>
              <a:gd name="T76" fmla="*/ 2147483647 w 366"/>
              <a:gd name="T77" fmla="*/ 2147483647 h 276"/>
              <a:gd name="T78" fmla="*/ 2147483647 w 366"/>
              <a:gd name="T79" fmla="*/ 2147483647 h 276"/>
              <a:gd name="T80" fmla="*/ 2147483647 w 366"/>
              <a:gd name="T81" fmla="*/ 2147483647 h 276"/>
              <a:gd name="T82" fmla="*/ 2147483647 w 366"/>
              <a:gd name="T83" fmla="*/ 2147483647 h 276"/>
              <a:gd name="T84" fmla="*/ 2147483647 w 366"/>
              <a:gd name="T85" fmla="*/ 2147483647 h 276"/>
              <a:gd name="T86" fmla="*/ 2147483647 w 366"/>
              <a:gd name="T87" fmla="*/ 2147483647 h 276"/>
              <a:gd name="T88" fmla="*/ 2147483647 w 366"/>
              <a:gd name="T89" fmla="*/ 2147483647 h 276"/>
              <a:gd name="T90" fmla="*/ 2147483647 w 366"/>
              <a:gd name="T91" fmla="*/ 2147483647 h 27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66"/>
              <a:gd name="T139" fmla="*/ 0 h 276"/>
              <a:gd name="T140" fmla="*/ 366 w 366"/>
              <a:gd name="T141" fmla="*/ 276 h 27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66" h="276">
                <a:moveTo>
                  <a:pt x="342" y="126"/>
                </a:moveTo>
                <a:lnTo>
                  <a:pt x="342" y="114"/>
                </a:lnTo>
                <a:lnTo>
                  <a:pt x="348" y="114"/>
                </a:lnTo>
                <a:lnTo>
                  <a:pt x="354" y="108"/>
                </a:lnTo>
                <a:lnTo>
                  <a:pt x="360" y="108"/>
                </a:lnTo>
                <a:lnTo>
                  <a:pt x="366" y="102"/>
                </a:lnTo>
                <a:lnTo>
                  <a:pt x="360" y="102"/>
                </a:lnTo>
                <a:lnTo>
                  <a:pt x="348" y="96"/>
                </a:lnTo>
                <a:lnTo>
                  <a:pt x="336" y="96"/>
                </a:lnTo>
                <a:lnTo>
                  <a:pt x="342" y="78"/>
                </a:lnTo>
                <a:lnTo>
                  <a:pt x="336" y="78"/>
                </a:lnTo>
                <a:lnTo>
                  <a:pt x="330" y="48"/>
                </a:lnTo>
                <a:lnTo>
                  <a:pt x="324" y="48"/>
                </a:lnTo>
                <a:lnTo>
                  <a:pt x="312" y="54"/>
                </a:lnTo>
                <a:lnTo>
                  <a:pt x="270" y="60"/>
                </a:lnTo>
                <a:lnTo>
                  <a:pt x="264" y="48"/>
                </a:lnTo>
                <a:lnTo>
                  <a:pt x="246" y="48"/>
                </a:lnTo>
                <a:lnTo>
                  <a:pt x="234" y="42"/>
                </a:lnTo>
                <a:lnTo>
                  <a:pt x="228" y="36"/>
                </a:lnTo>
                <a:lnTo>
                  <a:pt x="216" y="30"/>
                </a:lnTo>
                <a:lnTo>
                  <a:pt x="204" y="18"/>
                </a:lnTo>
                <a:lnTo>
                  <a:pt x="204" y="12"/>
                </a:lnTo>
                <a:lnTo>
                  <a:pt x="198" y="6"/>
                </a:lnTo>
                <a:lnTo>
                  <a:pt x="186" y="0"/>
                </a:lnTo>
                <a:lnTo>
                  <a:pt x="162" y="0"/>
                </a:lnTo>
                <a:lnTo>
                  <a:pt x="162" y="12"/>
                </a:lnTo>
                <a:lnTo>
                  <a:pt x="150" y="18"/>
                </a:lnTo>
                <a:lnTo>
                  <a:pt x="120" y="18"/>
                </a:lnTo>
                <a:lnTo>
                  <a:pt x="120" y="30"/>
                </a:lnTo>
                <a:lnTo>
                  <a:pt x="126" y="36"/>
                </a:lnTo>
                <a:lnTo>
                  <a:pt x="126" y="42"/>
                </a:lnTo>
                <a:lnTo>
                  <a:pt x="114" y="54"/>
                </a:lnTo>
                <a:lnTo>
                  <a:pt x="102" y="60"/>
                </a:lnTo>
                <a:lnTo>
                  <a:pt x="102" y="78"/>
                </a:lnTo>
                <a:lnTo>
                  <a:pt x="60" y="78"/>
                </a:lnTo>
                <a:lnTo>
                  <a:pt x="54" y="72"/>
                </a:lnTo>
                <a:lnTo>
                  <a:pt x="54" y="66"/>
                </a:lnTo>
                <a:lnTo>
                  <a:pt x="48" y="78"/>
                </a:lnTo>
                <a:lnTo>
                  <a:pt x="30" y="78"/>
                </a:lnTo>
                <a:lnTo>
                  <a:pt x="18" y="72"/>
                </a:lnTo>
                <a:lnTo>
                  <a:pt x="18" y="84"/>
                </a:lnTo>
                <a:lnTo>
                  <a:pt x="0" y="84"/>
                </a:lnTo>
                <a:lnTo>
                  <a:pt x="0" y="132"/>
                </a:lnTo>
                <a:lnTo>
                  <a:pt x="6" y="132"/>
                </a:lnTo>
                <a:lnTo>
                  <a:pt x="12" y="120"/>
                </a:lnTo>
                <a:lnTo>
                  <a:pt x="24" y="114"/>
                </a:lnTo>
                <a:lnTo>
                  <a:pt x="30" y="102"/>
                </a:lnTo>
                <a:lnTo>
                  <a:pt x="42" y="102"/>
                </a:lnTo>
                <a:lnTo>
                  <a:pt x="48" y="114"/>
                </a:lnTo>
                <a:lnTo>
                  <a:pt x="48" y="132"/>
                </a:lnTo>
                <a:lnTo>
                  <a:pt x="78" y="126"/>
                </a:lnTo>
                <a:lnTo>
                  <a:pt x="78" y="132"/>
                </a:lnTo>
                <a:lnTo>
                  <a:pt x="72" y="144"/>
                </a:lnTo>
                <a:lnTo>
                  <a:pt x="72" y="150"/>
                </a:lnTo>
                <a:lnTo>
                  <a:pt x="84" y="162"/>
                </a:lnTo>
                <a:lnTo>
                  <a:pt x="96" y="168"/>
                </a:lnTo>
                <a:lnTo>
                  <a:pt x="96" y="180"/>
                </a:lnTo>
                <a:lnTo>
                  <a:pt x="144" y="216"/>
                </a:lnTo>
                <a:lnTo>
                  <a:pt x="144" y="240"/>
                </a:lnTo>
                <a:lnTo>
                  <a:pt x="198" y="240"/>
                </a:lnTo>
                <a:lnTo>
                  <a:pt x="210" y="246"/>
                </a:lnTo>
                <a:lnTo>
                  <a:pt x="216" y="252"/>
                </a:lnTo>
                <a:lnTo>
                  <a:pt x="216" y="276"/>
                </a:lnTo>
                <a:lnTo>
                  <a:pt x="246" y="276"/>
                </a:lnTo>
                <a:lnTo>
                  <a:pt x="252" y="270"/>
                </a:lnTo>
                <a:lnTo>
                  <a:pt x="252" y="264"/>
                </a:lnTo>
                <a:lnTo>
                  <a:pt x="246" y="252"/>
                </a:lnTo>
                <a:lnTo>
                  <a:pt x="234" y="246"/>
                </a:lnTo>
                <a:lnTo>
                  <a:pt x="216" y="234"/>
                </a:lnTo>
                <a:lnTo>
                  <a:pt x="204" y="228"/>
                </a:lnTo>
                <a:lnTo>
                  <a:pt x="192" y="216"/>
                </a:lnTo>
                <a:lnTo>
                  <a:pt x="180" y="186"/>
                </a:lnTo>
                <a:lnTo>
                  <a:pt x="162" y="180"/>
                </a:lnTo>
                <a:lnTo>
                  <a:pt x="162" y="162"/>
                </a:lnTo>
                <a:lnTo>
                  <a:pt x="156" y="156"/>
                </a:lnTo>
                <a:lnTo>
                  <a:pt x="150" y="156"/>
                </a:lnTo>
                <a:lnTo>
                  <a:pt x="150" y="144"/>
                </a:lnTo>
                <a:lnTo>
                  <a:pt x="132" y="138"/>
                </a:lnTo>
                <a:lnTo>
                  <a:pt x="120" y="126"/>
                </a:lnTo>
                <a:lnTo>
                  <a:pt x="138" y="120"/>
                </a:lnTo>
                <a:lnTo>
                  <a:pt x="138" y="96"/>
                </a:lnTo>
                <a:lnTo>
                  <a:pt x="144" y="96"/>
                </a:lnTo>
                <a:lnTo>
                  <a:pt x="150" y="102"/>
                </a:lnTo>
                <a:lnTo>
                  <a:pt x="162" y="108"/>
                </a:lnTo>
                <a:lnTo>
                  <a:pt x="186" y="102"/>
                </a:lnTo>
                <a:lnTo>
                  <a:pt x="210" y="102"/>
                </a:lnTo>
                <a:lnTo>
                  <a:pt x="228" y="108"/>
                </a:lnTo>
                <a:lnTo>
                  <a:pt x="240" y="102"/>
                </a:lnTo>
                <a:lnTo>
                  <a:pt x="252" y="102"/>
                </a:lnTo>
                <a:lnTo>
                  <a:pt x="258" y="108"/>
                </a:lnTo>
                <a:lnTo>
                  <a:pt x="312" y="108"/>
                </a:lnTo>
                <a:lnTo>
                  <a:pt x="324" y="126"/>
                </a:lnTo>
                <a:lnTo>
                  <a:pt x="342" y="12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08" name="Kosovo"/>
          <p:cNvSpPr>
            <a:spLocks noEditPoints="1"/>
          </p:cNvSpPr>
          <p:nvPr/>
        </p:nvSpPr>
        <p:spPr bwMode="gray">
          <a:xfrm>
            <a:off x="4563333" y="2850230"/>
            <a:ext cx="52388" cy="52388"/>
          </a:xfrm>
          <a:custGeom>
            <a:avLst/>
            <a:gdLst>
              <a:gd name="T0" fmla="*/ 2147483647 w 232"/>
              <a:gd name="T1" fmla="*/ 2147483647 h 237"/>
              <a:gd name="T2" fmla="*/ 0 w 232"/>
              <a:gd name="T3" fmla="*/ 2147483647 h 237"/>
              <a:gd name="T4" fmla="*/ 2147483647 w 232"/>
              <a:gd name="T5" fmla="*/ 2147483647 h 237"/>
              <a:gd name="T6" fmla="*/ 2147483647 w 232"/>
              <a:gd name="T7" fmla="*/ 2147483647 h 237"/>
              <a:gd name="T8" fmla="*/ 2147483647 w 232"/>
              <a:gd name="T9" fmla="*/ 2147483647 h 237"/>
              <a:gd name="T10" fmla="*/ 2147483647 w 232"/>
              <a:gd name="T11" fmla="*/ 2147483647 h 237"/>
              <a:gd name="T12" fmla="*/ 2147483647 w 232"/>
              <a:gd name="T13" fmla="*/ 2147483647 h 237"/>
              <a:gd name="T14" fmla="*/ 2147483647 w 232"/>
              <a:gd name="T15" fmla="*/ 2147483647 h 237"/>
              <a:gd name="T16" fmla="*/ 2147483647 w 232"/>
              <a:gd name="T17" fmla="*/ 2147483647 h 237"/>
              <a:gd name="T18" fmla="*/ 2147483647 w 232"/>
              <a:gd name="T19" fmla="*/ 2147483647 h 237"/>
              <a:gd name="T20" fmla="*/ 2147483647 w 232"/>
              <a:gd name="T21" fmla="*/ 2147483647 h 237"/>
              <a:gd name="T22" fmla="*/ 2147483647 w 232"/>
              <a:gd name="T23" fmla="*/ 2147483647 h 237"/>
              <a:gd name="T24" fmla="*/ 2147483647 w 232"/>
              <a:gd name="T25" fmla="*/ 2147483647 h 237"/>
              <a:gd name="T26" fmla="*/ 2147483647 w 232"/>
              <a:gd name="T27" fmla="*/ 2147483647 h 237"/>
              <a:gd name="T28" fmla="*/ 2147483647 w 232"/>
              <a:gd name="T29" fmla="*/ 2147483647 h 237"/>
              <a:gd name="T30" fmla="*/ 2147483647 w 232"/>
              <a:gd name="T31" fmla="*/ 2147483647 h 237"/>
              <a:gd name="T32" fmla="*/ 2147483647 w 232"/>
              <a:gd name="T33" fmla="*/ 2147483647 h 237"/>
              <a:gd name="T34" fmla="*/ 2147483647 w 232"/>
              <a:gd name="T35" fmla="*/ 2147483647 h 237"/>
              <a:gd name="T36" fmla="*/ 2147483647 w 232"/>
              <a:gd name="T37" fmla="*/ 2147483647 h 237"/>
              <a:gd name="T38" fmla="*/ 2147483647 w 232"/>
              <a:gd name="T39" fmla="*/ 2147483647 h 237"/>
              <a:gd name="T40" fmla="*/ 2147483647 w 232"/>
              <a:gd name="T41" fmla="*/ 2147483647 h 237"/>
              <a:gd name="T42" fmla="*/ 2147483647 w 232"/>
              <a:gd name="T43" fmla="*/ 2147483647 h 237"/>
              <a:gd name="T44" fmla="*/ 2147483647 w 232"/>
              <a:gd name="T45" fmla="*/ 2147483647 h 237"/>
              <a:gd name="T46" fmla="*/ 2147483647 w 232"/>
              <a:gd name="T47" fmla="*/ 2147483647 h 237"/>
              <a:gd name="T48" fmla="*/ 2147483647 w 232"/>
              <a:gd name="T49" fmla="*/ 2147483647 h 237"/>
              <a:gd name="T50" fmla="*/ 2147483647 w 232"/>
              <a:gd name="T51" fmla="*/ 0 h 237"/>
              <a:gd name="T52" fmla="*/ 2147483647 w 232"/>
              <a:gd name="T53" fmla="*/ 2147483647 h 237"/>
              <a:gd name="T54" fmla="*/ 2147483647 w 232"/>
              <a:gd name="T55" fmla="*/ 2147483647 h 237"/>
              <a:gd name="T56" fmla="*/ 2147483647 w 232"/>
              <a:gd name="T57" fmla="*/ 2147483647 h 237"/>
              <a:gd name="T58" fmla="*/ 2147483647 w 232"/>
              <a:gd name="T59" fmla="*/ 2147483647 h 237"/>
              <a:gd name="T60" fmla="*/ 2147483647 w 232"/>
              <a:gd name="T61" fmla="*/ 2147483647 h 237"/>
              <a:gd name="T62" fmla="*/ 2147483647 w 232"/>
              <a:gd name="T63" fmla="*/ 2147483647 h 237"/>
              <a:gd name="T64" fmla="*/ 2147483647 w 232"/>
              <a:gd name="T65" fmla="*/ 2147483647 h 237"/>
              <a:gd name="T66" fmla="*/ 2147483647 w 232"/>
              <a:gd name="T67" fmla="*/ 2147483647 h 237"/>
              <a:gd name="T68" fmla="*/ 2147483647 w 232"/>
              <a:gd name="T69" fmla="*/ 2147483647 h 237"/>
              <a:gd name="T70" fmla="*/ 2147483647 w 232"/>
              <a:gd name="T71" fmla="*/ 2147483647 h 237"/>
              <a:gd name="T72" fmla="*/ 2147483647 w 232"/>
              <a:gd name="T73" fmla="*/ 2147483647 h 237"/>
              <a:gd name="T74" fmla="*/ 2147483647 w 232"/>
              <a:gd name="T75" fmla="*/ 2147483647 h 237"/>
              <a:gd name="T76" fmla="*/ 2147483647 w 232"/>
              <a:gd name="T77" fmla="*/ 2147483647 h 237"/>
              <a:gd name="T78" fmla="*/ 2147483647 w 232"/>
              <a:gd name="T79" fmla="*/ 2147483647 h 237"/>
              <a:gd name="T80" fmla="*/ 2147483647 w 232"/>
              <a:gd name="T81" fmla="*/ 2147483647 h 237"/>
              <a:gd name="T82" fmla="*/ 2147483647 w 232"/>
              <a:gd name="T83" fmla="*/ 2147483647 h 237"/>
              <a:gd name="T84" fmla="*/ 2147483647 w 232"/>
              <a:gd name="T85" fmla="*/ 2147483647 h 237"/>
              <a:gd name="T86" fmla="*/ 2147483647 w 232"/>
              <a:gd name="T87" fmla="*/ 2147483647 h 237"/>
              <a:gd name="T88" fmla="*/ 2147483647 w 232"/>
              <a:gd name="T89" fmla="*/ 2147483647 h 237"/>
              <a:gd name="T90" fmla="*/ 2147483647 w 232"/>
              <a:gd name="T91" fmla="*/ 2147483647 h 237"/>
              <a:gd name="T92" fmla="*/ 2147483647 w 232"/>
              <a:gd name="T93" fmla="*/ 2147483647 h 237"/>
              <a:gd name="T94" fmla="*/ 2147483647 w 232"/>
              <a:gd name="T95" fmla="*/ 2147483647 h 237"/>
              <a:gd name="T96" fmla="*/ 2147483647 w 232"/>
              <a:gd name="T97" fmla="*/ 2147483647 h 237"/>
              <a:gd name="T98" fmla="*/ 2147483647 w 232"/>
              <a:gd name="T99" fmla="*/ 2147483647 h 237"/>
              <a:gd name="T100" fmla="*/ 2147483647 w 232"/>
              <a:gd name="T101" fmla="*/ 2147483647 h 237"/>
              <a:gd name="T102" fmla="*/ 2147483647 w 232"/>
              <a:gd name="T103" fmla="*/ 2147483647 h 237"/>
              <a:gd name="T104" fmla="*/ 2147483647 w 232"/>
              <a:gd name="T105" fmla="*/ 2147483647 h 237"/>
              <a:gd name="T106" fmla="*/ 2147483647 w 232"/>
              <a:gd name="T107" fmla="*/ 2147483647 h 237"/>
              <a:gd name="T108" fmla="*/ 2147483647 w 232"/>
              <a:gd name="T109" fmla="*/ 2147483647 h 237"/>
              <a:gd name="T110" fmla="*/ 2147483647 w 232"/>
              <a:gd name="T111" fmla="*/ 2147483647 h 237"/>
              <a:gd name="T112" fmla="*/ 2147483647 w 232"/>
              <a:gd name="T113" fmla="*/ 2147483647 h 23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32"/>
              <a:gd name="T172" fmla="*/ 0 h 237"/>
              <a:gd name="T173" fmla="*/ 232 w 232"/>
              <a:gd name="T174" fmla="*/ 237 h 23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32" h="237">
                <a:moveTo>
                  <a:pt x="0" y="72"/>
                </a:moveTo>
                <a:cubicBezTo>
                  <a:pt x="1" y="72"/>
                  <a:pt x="2" y="73"/>
                  <a:pt x="6" y="75"/>
                </a:cubicBezTo>
                <a:cubicBezTo>
                  <a:pt x="6" y="66"/>
                  <a:pt x="6" y="66"/>
                  <a:pt x="6" y="66"/>
                </a:cubicBezTo>
                <a:lnTo>
                  <a:pt x="0" y="72"/>
                </a:lnTo>
                <a:close/>
                <a:moveTo>
                  <a:pt x="231" y="124"/>
                </a:moveTo>
                <a:cubicBezTo>
                  <a:pt x="227" y="122"/>
                  <a:pt x="227" y="122"/>
                  <a:pt x="227" y="122"/>
                </a:cubicBezTo>
                <a:cubicBezTo>
                  <a:pt x="223" y="124"/>
                  <a:pt x="223" y="124"/>
                  <a:pt x="223" y="124"/>
                </a:cubicBezTo>
                <a:cubicBezTo>
                  <a:pt x="218" y="127"/>
                  <a:pt x="218" y="127"/>
                  <a:pt x="218" y="127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214" y="120"/>
                  <a:pt x="214" y="120"/>
                  <a:pt x="214" y="120"/>
                </a:cubicBezTo>
                <a:cubicBezTo>
                  <a:pt x="210" y="117"/>
                  <a:pt x="210" y="117"/>
                  <a:pt x="210" y="117"/>
                </a:cubicBezTo>
                <a:cubicBezTo>
                  <a:pt x="206" y="113"/>
                  <a:pt x="206" y="113"/>
                  <a:pt x="206" y="113"/>
                </a:cubicBezTo>
                <a:cubicBezTo>
                  <a:pt x="202" y="113"/>
                  <a:pt x="202" y="113"/>
                  <a:pt x="202" y="113"/>
                </a:cubicBezTo>
                <a:cubicBezTo>
                  <a:pt x="197" y="111"/>
                  <a:pt x="197" y="111"/>
                  <a:pt x="197" y="111"/>
                </a:cubicBezTo>
                <a:cubicBezTo>
                  <a:pt x="195" y="113"/>
                  <a:pt x="195" y="113"/>
                  <a:pt x="195" y="113"/>
                </a:cubicBezTo>
                <a:cubicBezTo>
                  <a:pt x="190" y="110"/>
                  <a:pt x="190" y="110"/>
                  <a:pt x="190" y="110"/>
                </a:cubicBezTo>
                <a:cubicBezTo>
                  <a:pt x="186" y="111"/>
                  <a:pt x="186" y="111"/>
                  <a:pt x="186" y="111"/>
                </a:cubicBezTo>
                <a:cubicBezTo>
                  <a:pt x="185" y="110"/>
                  <a:pt x="185" y="110"/>
                  <a:pt x="185" y="110"/>
                </a:cubicBezTo>
                <a:cubicBezTo>
                  <a:pt x="187" y="106"/>
                  <a:pt x="187" y="106"/>
                  <a:pt x="187" y="106"/>
                </a:cubicBezTo>
                <a:cubicBezTo>
                  <a:pt x="185" y="101"/>
                  <a:pt x="185" y="101"/>
                  <a:pt x="185" y="101"/>
                </a:cubicBezTo>
                <a:cubicBezTo>
                  <a:pt x="189" y="100"/>
                  <a:pt x="189" y="100"/>
                  <a:pt x="189" y="100"/>
                </a:cubicBezTo>
                <a:cubicBezTo>
                  <a:pt x="189" y="95"/>
                  <a:pt x="189" y="95"/>
                  <a:pt x="189" y="95"/>
                </a:cubicBezTo>
                <a:cubicBezTo>
                  <a:pt x="191" y="85"/>
                  <a:pt x="191" y="85"/>
                  <a:pt x="191" y="85"/>
                </a:cubicBezTo>
                <a:cubicBezTo>
                  <a:pt x="187" y="84"/>
                  <a:pt x="187" y="84"/>
                  <a:pt x="187" y="84"/>
                </a:cubicBezTo>
                <a:cubicBezTo>
                  <a:pt x="182" y="80"/>
                  <a:pt x="182" y="80"/>
                  <a:pt x="182" y="80"/>
                </a:cubicBezTo>
                <a:cubicBezTo>
                  <a:pt x="177" y="78"/>
                  <a:pt x="177" y="78"/>
                  <a:pt x="177" y="78"/>
                </a:cubicBezTo>
                <a:cubicBezTo>
                  <a:pt x="172" y="78"/>
                  <a:pt x="172" y="78"/>
                  <a:pt x="172" y="78"/>
                </a:cubicBezTo>
                <a:cubicBezTo>
                  <a:pt x="169" y="76"/>
                  <a:pt x="169" y="76"/>
                  <a:pt x="169" y="76"/>
                </a:cubicBezTo>
                <a:cubicBezTo>
                  <a:pt x="169" y="71"/>
                  <a:pt x="169" y="71"/>
                  <a:pt x="169" y="71"/>
                </a:cubicBezTo>
                <a:cubicBezTo>
                  <a:pt x="170" y="61"/>
                  <a:pt x="170" y="61"/>
                  <a:pt x="170" y="61"/>
                </a:cubicBezTo>
                <a:cubicBezTo>
                  <a:pt x="167" y="57"/>
                  <a:pt x="167" y="57"/>
                  <a:pt x="167" y="57"/>
                </a:cubicBezTo>
                <a:cubicBezTo>
                  <a:pt x="165" y="56"/>
                  <a:pt x="165" y="56"/>
                  <a:pt x="165" y="56"/>
                </a:cubicBezTo>
                <a:cubicBezTo>
                  <a:pt x="163" y="59"/>
                  <a:pt x="163" y="59"/>
                  <a:pt x="163" y="59"/>
                </a:cubicBezTo>
                <a:cubicBezTo>
                  <a:pt x="161" y="61"/>
                  <a:pt x="161" y="61"/>
                  <a:pt x="161" y="61"/>
                </a:cubicBezTo>
                <a:cubicBezTo>
                  <a:pt x="158" y="60"/>
                  <a:pt x="158" y="60"/>
                  <a:pt x="158" y="60"/>
                </a:cubicBezTo>
                <a:cubicBezTo>
                  <a:pt x="157" y="53"/>
                  <a:pt x="157" y="53"/>
                  <a:pt x="157" y="53"/>
                </a:cubicBezTo>
                <a:cubicBezTo>
                  <a:pt x="159" y="36"/>
                  <a:pt x="159" y="36"/>
                  <a:pt x="159" y="36"/>
                </a:cubicBezTo>
                <a:cubicBezTo>
                  <a:pt x="158" y="35"/>
                  <a:pt x="158" y="35"/>
                  <a:pt x="158" y="35"/>
                </a:cubicBezTo>
                <a:cubicBezTo>
                  <a:pt x="151" y="36"/>
                  <a:pt x="151" y="36"/>
                  <a:pt x="151" y="36"/>
                </a:cubicBezTo>
                <a:cubicBezTo>
                  <a:pt x="154" y="32"/>
                  <a:pt x="154" y="32"/>
                  <a:pt x="154" y="32"/>
                </a:cubicBezTo>
                <a:cubicBezTo>
                  <a:pt x="152" y="29"/>
                  <a:pt x="152" y="29"/>
                  <a:pt x="152" y="29"/>
                </a:cubicBezTo>
                <a:cubicBezTo>
                  <a:pt x="147" y="32"/>
                  <a:pt x="147" y="32"/>
                  <a:pt x="147" y="32"/>
                </a:cubicBezTo>
                <a:cubicBezTo>
                  <a:pt x="142" y="30"/>
                  <a:pt x="142" y="30"/>
                  <a:pt x="142" y="30"/>
                </a:cubicBezTo>
                <a:cubicBezTo>
                  <a:pt x="137" y="32"/>
                  <a:pt x="137" y="32"/>
                  <a:pt x="137" y="32"/>
                </a:cubicBezTo>
                <a:cubicBezTo>
                  <a:pt x="132" y="28"/>
                  <a:pt x="132" y="28"/>
                  <a:pt x="132" y="28"/>
                </a:cubicBezTo>
                <a:cubicBezTo>
                  <a:pt x="126" y="27"/>
                  <a:pt x="126" y="27"/>
                  <a:pt x="126" y="27"/>
                </a:cubicBezTo>
                <a:cubicBezTo>
                  <a:pt x="125" y="24"/>
                  <a:pt x="125" y="24"/>
                  <a:pt x="125" y="24"/>
                </a:cubicBezTo>
                <a:cubicBezTo>
                  <a:pt x="131" y="20"/>
                  <a:pt x="131" y="20"/>
                  <a:pt x="131" y="20"/>
                </a:cubicBezTo>
                <a:cubicBezTo>
                  <a:pt x="131" y="17"/>
                  <a:pt x="131" y="17"/>
                  <a:pt x="131" y="17"/>
                </a:cubicBezTo>
                <a:cubicBezTo>
                  <a:pt x="130" y="12"/>
                  <a:pt x="130" y="12"/>
                  <a:pt x="130" y="12"/>
                </a:cubicBezTo>
                <a:cubicBezTo>
                  <a:pt x="126" y="5"/>
                  <a:pt x="126" y="5"/>
                  <a:pt x="126" y="5"/>
                </a:cubicBezTo>
                <a:cubicBezTo>
                  <a:pt x="122" y="0"/>
                  <a:pt x="122" y="0"/>
                  <a:pt x="122" y="0"/>
                </a:cubicBezTo>
                <a:cubicBezTo>
                  <a:pt x="116" y="2"/>
                  <a:pt x="116" y="2"/>
                  <a:pt x="116" y="2"/>
                </a:cubicBezTo>
                <a:cubicBezTo>
                  <a:pt x="115" y="6"/>
                  <a:pt x="115" y="6"/>
                  <a:pt x="115" y="6"/>
                </a:cubicBezTo>
                <a:cubicBezTo>
                  <a:pt x="112" y="8"/>
                  <a:pt x="112" y="8"/>
                  <a:pt x="112" y="8"/>
                </a:cubicBezTo>
                <a:cubicBezTo>
                  <a:pt x="104" y="13"/>
                  <a:pt x="104" y="13"/>
                  <a:pt x="104" y="13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96" y="15"/>
                  <a:pt x="96" y="15"/>
                  <a:pt x="96" y="15"/>
                </a:cubicBezTo>
                <a:cubicBezTo>
                  <a:pt x="92" y="17"/>
                  <a:pt x="92" y="17"/>
                  <a:pt x="92" y="17"/>
                </a:cubicBezTo>
                <a:cubicBezTo>
                  <a:pt x="89" y="13"/>
                  <a:pt x="89" y="13"/>
                  <a:pt x="89" y="13"/>
                </a:cubicBezTo>
                <a:cubicBezTo>
                  <a:pt x="88" y="16"/>
                  <a:pt x="88" y="16"/>
                  <a:pt x="88" y="16"/>
                </a:cubicBezTo>
                <a:cubicBezTo>
                  <a:pt x="91" y="22"/>
                  <a:pt x="91" y="22"/>
                  <a:pt x="91" y="22"/>
                </a:cubicBezTo>
                <a:cubicBezTo>
                  <a:pt x="99" y="24"/>
                  <a:pt x="99" y="24"/>
                  <a:pt x="99" y="24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97" y="30"/>
                  <a:pt x="97" y="30"/>
                  <a:pt x="97" y="30"/>
                </a:cubicBezTo>
                <a:cubicBezTo>
                  <a:pt x="97" y="33"/>
                  <a:pt x="97" y="33"/>
                  <a:pt x="97" y="33"/>
                </a:cubicBezTo>
                <a:cubicBezTo>
                  <a:pt x="101" y="35"/>
                  <a:pt x="101" y="35"/>
                  <a:pt x="101" y="35"/>
                </a:cubicBezTo>
                <a:cubicBezTo>
                  <a:pt x="100" y="40"/>
                  <a:pt x="100" y="40"/>
                  <a:pt x="100" y="40"/>
                </a:cubicBezTo>
                <a:cubicBezTo>
                  <a:pt x="97" y="42"/>
                  <a:pt x="97" y="42"/>
                  <a:pt x="97" y="42"/>
                </a:cubicBezTo>
                <a:cubicBezTo>
                  <a:pt x="99" y="46"/>
                  <a:pt x="99" y="46"/>
                  <a:pt x="99" y="46"/>
                </a:cubicBezTo>
                <a:cubicBezTo>
                  <a:pt x="96" y="47"/>
                  <a:pt x="96" y="47"/>
                  <a:pt x="96" y="47"/>
                </a:cubicBezTo>
                <a:cubicBezTo>
                  <a:pt x="92" y="49"/>
                  <a:pt x="92" y="49"/>
                  <a:pt x="92" y="49"/>
                </a:cubicBezTo>
                <a:cubicBezTo>
                  <a:pt x="91" y="44"/>
                  <a:pt x="91" y="44"/>
                  <a:pt x="91" y="44"/>
                </a:cubicBezTo>
                <a:cubicBezTo>
                  <a:pt x="88" y="45"/>
                  <a:pt x="88" y="45"/>
                  <a:pt x="88" y="45"/>
                </a:cubicBezTo>
                <a:cubicBezTo>
                  <a:pt x="78" y="53"/>
                  <a:pt x="78" y="53"/>
                  <a:pt x="78" y="53"/>
                </a:cubicBezTo>
                <a:cubicBezTo>
                  <a:pt x="70" y="59"/>
                  <a:pt x="70" y="59"/>
                  <a:pt x="70" y="59"/>
                </a:cubicBezTo>
                <a:cubicBezTo>
                  <a:pt x="72" y="65"/>
                  <a:pt x="72" y="65"/>
                  <a:pt x="72" y="65"/>
                </a:cubicBezTo>
                <a:cubicBezTo>
                  <a:pt x="73" y="71"/>
                  <a:pt x="73" y="71"/>
                  <a:pt x="73" y="71"/>
                </a:cubicBezTo>
                <a:cubicBezTo>
                  <a:pt x="63" y="74"/>
                  <a:pt x="63" y="74"/>
                  <a:pt x="63" y="74"/>
                </a:cubicBezTo>
                <a:cubicBezTo>
                  <a:pt x="45" y="74"/>
                  <a:pt x="45" y="74"/>
                  <a:pt x="45" y="74"/>
                </a:cubicBezTo>
                <a:cubicBezTo>
                  <a:pt x="32" y="75"/>
                  <a:pt x="32" y="75"/>
                  <a:pt x="32" y="75"/>
                </a:cubicBezTo>
                <a:cubicBezTo>
                  <a:pt x="14" y="72"/>
                  <a:pt x="14" y="72"/>
                  <a:pt x="14" y="72"/>
                </a:cubicBezTo>
                <a:cubicBezTo>
                  <a:pt x="9" y="77"/>
                  <a:pt x="9" y="77"/>
                  <a:pt x="9" y="77"/>
                </a:cubicBezTo>
                <a:cubicBezTo>
                  <a:pt x="8" y="76"/>
                  <a:pt x="7" y="76"/>
                  <a:pt x="6" y="75"/>
                </a:cubicBezTo>
                <a:cubicBezTo>
                  <a:pt x="6" y="116"/>
                  <a:pt x="6" y="116"/>
                  <a:pt x="6" y="116"/>
                </a:cubicBezTo>
                <a:cubicBezTo>
                  <a:pt x="6" y="141"/>
                  <a:pt x="6" y="141"/>
                  <a:pt x="6" y="141"/>
                </a:cubicBezTo>
                <a:cubicBezTo>
                  <a:pt x="14" y="153"/>
                  <a:pt x="14" y="153"/>
                  <a:pt x="14" y="153"/>
                </a:cubicBezTo>
                <a:cubicBezTo>
                  <a:pt x="14" y="154"/>
                  <a:pt x="14" y="155"/>
                  <a:pt x="14" y="155"/>
                </a:cubicBezTo>
                <a:cubicBezTo>
                  <a:pt x="14" y="155"/>
                  <a:pt x="15" y="155"/>
                  <a:pt x="16" y="156"/>
                </a:cubicBezTo>
                <a:cubicBezTo>
                  <a:pt x="27" y="173"/>
                  <a:pt x="27" y="173"/>
                  <a:pt x="27" y="173"/>
                </a:cubicBezTo>
                <a:cubicBezTo>
                  <a:pt x="48" y="173"/>
                  <a:pt x="48" y="173"/>
                  <a:pt x="48" y="173"/>
                </a:cubicBezTo>
                <a:cubicBezTo>
                  <a:pt x="48" y="173"/>
                  <a:pt x="49" y="174"/>
                  <a:pt x="50" y="175"/>
                </a:cubicBezTo>
                <a:cubicBezTo>
                  <a:pt x="59" y="201"/>
                  <a:pt x="59" y="201"/>
                  <a:pt x="59" y="201"/>
                </a:cubicBezTo>
                <a:cubicBezTo>
                  <a:pt x="59" y="205"/>
                  <a:pt x="60" y="208"/>
                  <a:pt x="60" y="211"/>
                </a:cubicBezTo>
                <a:cubicBezTo>
                  <a:pt x="60" y="229"/>
                  <a:pt x="60" y="229"/>
                  <a:pt x="60" y="229"/>
                </a:cubicBezTo>
                <a:cubicBezTo>
                  <a:pt x="60" y="237"/>
                  <a:pt x="60" y="237"/>
                  <a:pt x="60" y="237"/>
                </a:cubicBezTo>
                <a:cubicBezTo>
                  <a:pt x="76" y="232"/>
                  <a:pt x="76" y="232"/>
                  <a:pt x="76" y="232"/>
                </a:cubicBezTo>
                <a:cubicBezTo>
                  <a:pt x="92" y="226"/>
                  <a:pt x="92" y="226"/>
                  <a:pt x="92" y="226"/>
                </a:cubicBezTo>
                <a:cubicBezTo>
                  <a:pt x="103" y="205"/>
                  <a:pt x="103" y="205"/>
                  <a:pt x="103" y="205"/>
                </a:cubicBezTo>
                <a:cubicBezTo>
                  <a:pt x="138" y="205"/>
                  <a:pt x="138" y="205"/>
                  <a:pt x="138" y="205"/>
                </a:cubicBezTo>
                <a:cubicBezTo>
                  <a:pt x="146" y="205"/>
                  <a:pt x="146" y="205"/>
                  <a:pt x="146" y="205"/>
                </a:cubicBezTo>
                <a:cubicBezTo>
                  <a:pt x="146" y="184"/>
                  <a:pt x="146" y="184"/>
                  <a:pt x="146" y="184"/>
                </a:cubicBezTo>
                <a:cubicBezTo>
                  <a:pt x="178" y="184"/>
                  <a:pt x="178" y="184"/>
                  <a:pt x="178" y="184"/>
                </a:cubicBezTo>
                <a:cubicBezTo>
                  <a:pt x="189" y="173"/>
                  <a:pt x="189" y="173"/>
                  <a:pt x="189" y="173"/>
                </a:cubicBezTo>
                <a:cubicBezTo>
                  <a:pt x="210" y="170"/>
                  <a:pt x="210" y="170"/>
                  <a:pt x="210" y="170"/>
                </a:cubicBezTo>
                <a:cubicBezTo>
                  <a:pt x="209" y="163"/>
                  <a:pt x="209" y="163"/>
                  <a:pt x="209" y="163"/>
                </a:cubicBezTo>
                <a:cubicBezTo>
                  <a:pt x="213" y="159"/>
                  <a:pt x="213" y="159"/>
                  <a:pt x="213" y="159"/>
                </a:cubicBezTo>
                <a:cubicBezTo>
                  <a:pt x="217" y="156"/>
                  <a:pt x="217" y="156"/>
                  <a:pt x="217" y="156"/>
                </a:cubicBezTo>
                <a:cubicBezTo>
                  <a:pt x="219" y="147"/>
                  <a:pt x="219" y="147"/>
                  <a:pt x="219" y="147"/>
                </a:cubicBezTo>
                <a:cubicBezTo>
                  <a:pt x="225" y="144"/>
                  <a:pt x="225" y="144"/>
                  <a:pt x="225" y="144"/>
                </a:cubicBezTo>
                <a:cubicBezTo>
                  <a:pt x="225" y="141"/>
                  <a:pt x="225" y="141"/>
                  <a:pt x="225" y="141"/>
                </a:cubicBezTo>
                <a:cubicBezTo>
                  <a:pt x="228" y="137"/>
                  <a:pt x="228" y="137"/>
                  <a:pt x="228" y="137"/>
                </a:cubicBezTo>
                <a:cubicBezTo>
                  <a:pt x="229" y="133"/>
                  <a:pt x="229" y="133"/>
                  <a:pt x="229" y="133"/>
                </a:cubicBezTo>
                <a:cubicBezTo>
                  <a:pt x="232" y="129"/>
                  <a:pt x="232" y="129"/>
                  <a:pt x="232" y="129"/>
                </a:cubicBezTo>
                <a:cubicBezTo>
                  <a:pt x="231" y="124"/>
                  <a:pt x="231" y="124"/>
                  <a:pt x="231" y="124"/>
                </a:cubicBez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9" name="Korea, South"/>
          <p:cNvSpPr>
            <a:spLocks noEditPoints="1"/>
          </p:cNvSpPr>
          <p:nvPr/>
        </p:nvSpPr>
        <p:spPr bwMode="gray">
          <a:xfrm>
            <a:off x="7414483" y="3010568"/>
            <a:ext cx="109538" cy="171450"/>
          </a:xfrm>
          <a:custGeom>
            <a:avLst/>
            <a:gdLst>
              <a:gd name="T0" fmla="*/ 2147483647 w 276"/>
              <a:gd name="T1" fmla="*/ 2147483647 h 426"/>
              <a:gd name="T2" fmla="*/ 2147483647 w 276"/>
              <a:gd name="T3" fmla="*/ 2147483647 h 426"/>
              <a:gd name="T4" fmla="*/ 2147483647 w 276"/>
              <a:gd name="T5" fmla="*/ 2147483647 h 426"/>
              <a:gd name="T6" fmla="*/ 2147483647 w 276"/>
              <a:gd name="T7" fmla="*/ 2147483647 h 426"/>
              <a:gd name="T8" fmla="*/ 2147483647 w 276"/>
              <a:gd name="T9" fmla="*/ 2147483647 h 426"/>
              <a:gd name="T10" fmla="*/ 2147483647 w 276"/>
              <a:gd name="T11" fmla="*/ 2147483647 h 426"/>
              <a:gd name="T12" fmla="*/ 2147483647 w 276"/>
              <a:gd name="T13" fmla="*/ 2147483647 h 426"/>
              <a:gd name="T14" fmla="*/ 2147483647 w 276"/>
              <a:gd name="T15" fmla="*/ 2147483647 h 426"/>
              <a:gd name="T16" fmla="*/ 2147483647 w 276"/>
              <a:gd name="T17" fmla="*/ 2147483647 h 426"/>
              <a:gd name="T18" fmla="*/ 2147483647 w 276"/>
              <a:gd name="T19" fmla="*/ 2147483647 h 426"/>
              <a:gd name="T20" fmla="*/ 2147483647 w 276"/>
              <a:gd name="T21" fmla="*/ 2147483647 h 426"/>
              <a:gd name="T22" fmla="*/ 2147483647 w 276"/>
              <a:gd name="T23" fmla="*/ 2147483647 h 426"/>
              <a:gd name="T24" fmla="*/ 2147483647 w 276"/>
              <a:gd name="T25" fmla="*/ 0 h 426"/>
              <a:gd name="T26" fmla="*/ 2147483647 w 276"/>
              <a:gd name="T27" fmla="*/ 2147483647 h 426"/>
              <a:gd name="T28" fmla="*/ 2147483647 w 276"/>
              <a:gd name="T29" fmla="*/ 2147483647 h 426"/>
              <a:gd name="T30" fmla="*/ 2147483647 w 276"/>
              <a:gd name="T31" fmla="*/ 2147483647 h 426"/>
              <a:gd name="T32" fmla="*/ 2147483647 w 276"/>
              <a:gd name="T33" fmla="*/ 2147483647 h 426"/>
              <a:gd name="T34" fmla="*/ 0 w 276"/>
              <a:gd name="T35" fmla="*/ 2147483647 h 426"/>
              <a:gd name="T36" fmla="*/ 2147483647 w 276"/>
              <a:gd name="T37" fmla="*/ 2147483647 h 426"/>
              <a:gd name="T38" fmla="*/ 2147483647 w 276"/>
              <a:gd name="T39" fmla="*/ 2147483647 h 426"/>
              <a:gd name="T40" fmla="*/ 2147483647 w 276"/>
              <a:gd name="T41" fmla="*/ 2147483647 h 426"/>
              <a:gd name="T42" fmla="*/ 2147483647 w 276"/>
              <a:gd name="T43" fmla="*/ 2147483647 h 426"/>
              <a:gd name="T44" fmla="*/ 2147483647 w 276"/>
              <a:gd name="T45" fmla="*/ 2147483647 h 426"/>
              <a:gd name="T46" fmla="*/ 2147483647 w 276"/>
              <a:gd name="T47" fmla="*/ 2147483647 h 426"/>
              <a:gd name="T48" fmla="*/ 2147483647 w 276"/>
              <a:gd name="T49" fmla="*/ 2147483647 h 426"/>
              <a:gd name="T50" fmla="*/ 2147483647 w 276"/>
              <a:gd name="T51" fmla="*/ 2147483647 h 426"/>
              <a:gd name="T52" fmla="*/ 2147483647 w 276"/>
              <a:gd name="T53" fmla="*/ 2147483647 h 426"/>
              <a:gd name="T54" fmla="*/ 2147483647 w 276"/>
              <a:gd name="T55" fmla="*/ 2147483647 h 426"/>
              <a:gd name="T56" fmla="*/ 2147483647 w 276"/>
              <a:gd name="T57" fmla="*/ 2147483647 h 426"/>
              <a:gd name="T58" fmla="*/ 2147483647 w 276"/>
              <a:gd name="T59" fmla="*/ 2147483647 h 426"/>
              <a:gd name="T60" fmla="*/ 2147483647 w 276"/>
              <a:gd name="T61" fmla="*/ 2147483647 h 426"/>
              <a:gd name="T62" fmla="*/ 2147483647 w 276"/>
              <a:gd name="T63" fmla="*/ 2147483647 h 426"/>
              <a:gd name="T64" fmla="*/ 2147483647 w 276"/>
              <a:gd name="T65" fmla="*/ 2147483647 h 426"/>
              <a:gd name="T66" fmla="*/ 2147483647 w 276"/>
              <a:gd name="T67" fmla="*/ 2147483647 h 426"/>
              <a:gd name="T68" fmla="*/ 2147483647 w 276"/>
              <a:gd name="T69" fmla="*/ 2147483647 h 426"/>
              <a:gd name="T70" fmla="*/ 2147483647 w 276"/>
              <a:gd name="T71" fmla="*/ 2147483647 h 426"/>
              <a:gd name="T72" fmla="*/ 2147483647 w 276"/>
              <a:gd name="T73" fmla="*/ 2147483647 h 426"/>
              <a:gd name="T74" fmla="*/ 2147483647 w 276"/>
              <a:gd name="T75" fmla="*/ 2147483647 h 4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76"/>
              <a:gd name="T115" fmla="*/ 0 h 426"/>
              <a:gd name="T116" fmla="*/ 276 w 276"/>
              <a:gd name="T117" fmla="*/ 426 h 42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76" h="426">
                <a:moveTo>
                  <a:pt x="150" y="402"/>
                </a:moveTo>
                <a:lnTo>
                  <a:pt x="132" y="408"/>
                </a:lnTo>
                <a:lnTo>
                  <a:pt x="126" y="414"/>
                </a:lnTo>
                <a:lnTo>
                  <a:pt x="138" y="426"/>
                </a:lnTo>
                <a:lnTo>
                  <a:pt x="162" y="426"/>
                </a:lnTo>
                <a:lnTo>
                  <a:pt x="174" y="414"/>
                </a:lnTo>
                <a:lnTo>
                  <a:pt x="174" y="408"/>
                </a:lnTo>
                <a:lnTo>
                  <a:pt x="168" y="402"/>
                </a:lnTo>
                <a:lnTo>
                  <a:pt x="150" y="402"/>
                </a:lnTo>
                <a:close/>
                <a:moveTo>
                  <a:pt x="276" y="246"/>
                </a:moveTo>
                <a:lnTo>
                  <a:pt x="270" y="228"/>
                </a:lnTo>
                <a:lnTo>
                  <a:pt x="264" y="216"/>
                </a:lnTo>
                <a:lnTo>
                  <a:pt x="246" y="198"/>
                </a:lnTo>
                <a:lnTo>
                  <a:pt x="252" y="186"/>
                </a:lnTo>
                <a:lnTo>
                  <a:pt x="252" y="180"/>
                </a:lnTo>
                <a:lnTo>
                  <a:pt x="246" y="162"/>
                </a:lnTo>
                <a:lnTo>
                  <a:pt x="240" y="150"/>
                </a:lnTo>
                <a:lnTo>
                  <a:pt x="210" y="120"/>
                </a:lnTo>
                <a:lnTo>
                  <a:pt x="198" y="102"/>
                </a:lnTo>
                <a:lnTo>
                  <a:pt x="168" y="72"/>
                </a:lnTo>
                <a:lnTo>
                  <a:pt x="144" y="66"/>
                </a:lnTo>
                <a:lnTo>
                  <a:pt x="144" y="60"/>
                </a:lnTo>
                <a:lnTo>
                  <a:pt x="138" y="54"/>
                </a:lnTo>
                <a:lnTo>
                  <a:pt x="132" y="42"/>
                </a:lnTo>
                <a:lnTo>
                  <a:pt x="102" y="12"/>
                </a:lnTo>
                <a:lnTo>
                  <a:pt x="96" y="0"/>
                </a:lnTo>
                <a:lnTo>
                  <a:pt x="78" y="12"/>
                </a:lnTo>
                <a:lnTo>
                  <a:pt x="48" y="12"/>
                </a:lnTo>
                <a:lnTo>
                  <a:pt x="24" y="24"/>
                </a:lnTo>
                <a:lnTo>
                  <a:pt x="18" y="30"/>
                </a:lnTo>
                <a:lnTo>
                  <a:pt x="12" y="30"/>
                </a:lnTo>
                <a:lnTo>
                  <a:pt x="12" y="36"/>
                </a:lnTo>
                <a:lnTo>
                  <a:pt x="18" y="42"/>
                </a:lnTo>
                <a:lnTo>
                  <a:pt x="18" y="48"/>
                </a:lnTo>
                <a:lnTo>
                  <a:pt x="12" y="54"/>
                </a:lnTo>
                <a:lnTo>
                  <a:pt x="0" y="60"/>
                </a:lnTo>
                <a:lnTo>
                  <a:pt x="0" y="66"/>
                </a:lnTo>
                <a:lnTo>
                  <a:pt x="6" y="72"/>
                </a:lnTo>
                <a:lnTo>
                  <a:pt x="12" y="84"/>
                </a:lnTo>
                <a:lnTo>
                  <a:pt x="24" y="90"/>
                </a:lnTo>
                <a:lnTo>
                  <a:pt x="30" y="90"/>
                </a:lnTo>
                <a:lnTo>
                  <a:pt x="42" y="96"/>
                </a:lnTo>
                <a:lnTo>
                  <a:pt x="60" y="132"/>
                </a:lnTo>
                <a:lnTo>
                  <a:pt x="54" y="132"/>
                </a:lnTo>
                <a:lnTo>
                  <a:pt x="48" y="126"/>
                </a:lnTo>
                <a:lnTo>
                  <a:pt x="36" y="126"/>
                </a:lnTo>
                <a:lnTo>
                  <a:pt x="24" y="120"/>
                </a:lnTo>
                <a:lnTo>
                  <a:pt x="6" y="120"/>
                </a:lnTo>
                <a:lnTo>
                  <a:pt x="6" y="126"/>
                </a:lnTo>
                <a:lnTo>
                  <a:pt x="18" y="132"/>
                </a:lnTo>
                <a:lnTo>
                  <a:pt x="30" y="144"/>
                </a:lnTo>
                <a:lnTo>
                  <a:pt x="42" y="150"/>
                </a:lnTo>
                <a:lnTo>
                  <a:pt x="54" y="192"/>
                </a:lnTo>
                <a:lnTo>
                  <a:pt x="90" y="198"/>
                </a:lnTo>
                <a:lnTo>
                  <a:pt x="90" y="228"/>
                </a:lnTo>
                <a:lnTo>
                  <a:pt x="78" y="240"/>
                </a:lnTo>
                <a:lnTo>
                  <a:pt x="78" y="270"/>
                </a:lnTo>
                <a:lnTo>
                  <a:pt x="84" y="282"/>
                </a:lnTo>
                <a:lnTo>
                  <a:pt x="102" y="300"/>
                </a:lnTo>
                <a:lnTo>
                  <a:pt x="108" y="300"/>
                </a:lnTo>
                <a:lnTo>
                  <a:pt x="108" y="306"/>
                </a:lnTo>
                <a:lnTo>
                  <a:pt x="102" y="312"/>
                </a:lnTo>
                <a:lnTo>
                  <a:pt x="102" y="324"/>
                </a:lnTo>
                <a:lnTo>
                  <a:pt x="108" y="330"/>
                </a:lnTo>
                <a:lnTo>
                  <a:pt x="132" y="330"/>
                </a:lnTo>
                <a:lnTo>
                  <a:pt x="144" y="324"/>
                </a:lnTo>
                <a:lnTo>
                  <a:pt x="144" y="318"/>
                </a:lnTo>
                <a:lnTo>
                  <a:pt x="150" y="312"/>
                </a:lnTo>
                <a:lnTo>
                  <a:pt x="150" y="306"/>
                </a:lnTo>
                <a:lnTo>
                  <a:pt x="198" y="282"/>
                </a:lnTo>
                <a:lnTo>
                  <a:pt x="222" y="288"/>
                </a:lnTo>
                <a:lnTo>
                  <a:pt x="234" y="270"/>
                </a:lnTo>
                <a:lnTo>
                  <a:pt x="258" y="270"/>
                </a:lnTo>
                <a:lnTo>
                  <a:pt x="270" y="264"/>
                </a:lnTo>
                <a:lnTo>
                  <a:pt x="276" y="264"/>
                </a:lnTo>
                <a:lnTo>
                  <a:pt x="276" y="24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0" name="Korea, North"/>
          <p:cNvSpPr>
            <a:spLocks/>
          </p:cNvSpPr>
          <p:nvPr/>
        </p:nvSpPr>
        <p:spPr bwMode="gray">
          <a:xfrm>
            <a:off x="7322408" y="2869280"/>
            <a:ext cx="131763" cy="168275"/>
          </a:xfrm>
          <a:custGeom>
            <a:avLst/>
            <a:gdLst>
              <a:gd name="T0" fmla="*/ 2147483647 w 330"/>
              <a:gd name="T1" fmla="*/ 0 h 420"/>
              <a:gd name="T2" fmla="*/ 2147483647 w 330"/>
              <a:gd name="T3" fmla="*/ 2147483647 h 420"/>
              <a:gd name="T4" fmla="*/ 2147483647 w 330"/>
              <a:gd name="T5" fmla="*/ 2147483647 h 420"/>
              <a:gd name="T6" fmla="*/ 2147483647 w 330"/>
              <a:gd name="T7" fmla="*/ 2147483647 h 420"/>
              <a:gd name="T8" fmla="*/ 2147483647 w 330"/>
              <a:gd name="T9" fmla="*/ 2147483647 h 420"/>
              <a:gd name="T10" fmla="*/ 2147483647 w 330"/>
              <a:gd name="T11" fmla="*/ 2147483647 h 420"/>
              <a:gd name="T12" fmla="*/ 2147483647 w 330"/>
              <a:gd name="T13" fmla="*/ 2147483647 h 420"/>
              <a:gd name="T14" fmla="*/ 2147483647 w 330"/>
              <a:gd name="T15" fmla="*/ 2147483647 h 420"/>
              <a:gd name="T16" fmla="*/ 2147483647 w 330"/>
              <a:gd name="T17" fmla="*/ 2147483647 h 420"/>
              <a:gd name="T18" fmla="*/ 2147483647 w 330"/>
              <a:gd name="T19" fmla="*/ 2147483647 h 420"/>
              <a:gd name="T20" fmla="*/ 2147483647 w 330"/>
              <a:gd name="T21" fmla="*/ 2147483647 h 420"/>
              <a:gd name="T22" fmla="*/ 2147483647 w 330"/>
              <a:gd name="T23" fmla="*/ 2147483647 h 420"/>
              <a:gd name="T24" fmla="*/ 2147483647 w 330"/>
              <a:gd name="T25" fmla="*/ 2147483647 h 420"/>
              <a:gd name="T26" fmla="*/ 2147483647 w 330"/>
              <a:gd name="T27" fmla="*/ 2147483647 h 420"/>
              <a:gd name="T28" fmla="*/ 2147483647 w 330"/>
              <a:gd name="T29" fmla="*/ 2147483647 h 420"/>
              <a:gd name="T30" fmla="*/ 2147483647 w 330"/>
              <a:gd name="T31" fmla="*/ 2147483647 h 420"/>
              <a:gd name="T32" fmla="*/ 2147483647 w 330"/>
              <a:gd name="T33" fmla="*/ 2147483647 h 420"/>
              <a:gd name="T34" fmla="*/ 2147483647 w 330"/>
              <a:gd name="T35" fmla="*/ 2147483647 h 420"/>
              <a:gd name="T36" fmla="*/ 2147483647 w 330"/>
              <a:gd name="T37" fmla="*/ 2147483647 h 420"/>
              <a:gd name="T38" fmla="*/ 2147483647 w 330"/>
              <a:gd name="T39" fmla="*/ 2147483647 h 420"/>
              <a:gd name="T40" fmla="*/ 2147483647 w 330"/>
              <a:gd name="T41" fmla="*/ 2147483647 h 420"/>
              <a:gd name="T42" fmla="*/ 2147483647 w 330"/>
              <a:gd name="T43" fmla="*/ 2147483647 h 420"/>
              <a:gd name="T44" fmla="*/ 2147483647 w 330"/>
              <a:gd name="T45" fmla="*/ 2147483647 h 420"/>
              <a:gd name="T46" fmla="*/ 2147483647 w 330"/>
              <a:gd name="T47" fmla="*/ 2147483647 h 420"/>
              <a:gd name="T48" fmla="*/ 2147483647 w 330"/>
              <a:gd name="T49" fmla="*/ 2147483647 h 420"/>
              <a:gd name="T50" fmla="*/ 2147483647 w 330"/>
              <a:gd name="T51" fmla="*/ 2147483647 h 420"/>
              <a:gd name="T52" fmla="*/ 2147483647 w 330"/>
              <a:gd name="T53" fmla="*/ 2147483647 h 420"/>
              <a:gd name="T54" fmla="*/ 2147483647 w 330"/>
              <a:gd name="T55" fmla="*/ 2147483647 h 420"/>
              <a:gd name="T56" fmla="*/ 2147483647 w 330"/>
              <a:gd name="T57" fmla="*/ 2147483647 h 420"/>
              <a:gd name="T58" fmla="*/ 2147483647 w 330"/>
              <a:gd name="T59" fmla="*/ 2147483647 h 420"/>
              <a:gd name="T60" fmla="*/ 2147483647 w 330"/>
              <a:gd name="T61" fmla="*/ 2147483647 h 420"/>
              <a:gd name="T62" fmla="*/ 2147483647 w 330"/>
              <a:gd name="T63" fmla="*/ 2147483647 h 420"/>
              <a:gd name="T64" fmla="*/ 2147483647 w 330"/>
              <a:gd name="T65" fmla="*/ 2147483647 h 420"/>
              <a:gd name="T66" fmla="*/ 2147483647 w 330"/>
              <a:gd name="T67" fmla="*/ 2147483647 h 420"/>
              <a:gd name="T68" fmla="*/ 2147483647 w 330"/>
              <a:gd name="T69" fmla="*/ 2147483647 h 420"/>
              <a:gd name="T70" fmla="*/ 2147483647 w 330"/>
              <a:gd name="T71" fmla="*/ 2147483647 h 420"/>
              <a:gd name="T72" fmla="*/ 2147483647 w 330"/>
              <a:gd name="T73" fmla="*/ 2147483647 h 420"/>
              <a:gd name="T74" fmla="*/ 2147483647 w 330"/>
              <a:gd name="T75" fmla="*/ 2147483647 h 420"/>
              <a:gd name="T76" fmla="*/ 2147483647 w 330"/>
              <a:gd name="T77" fmla="*/ 2147483647 h 420"/>
              <a:gd name="T78" fmla="*/ 2147483647 w 330"/>
              <a:gd name="T79" fmla="*/ 2147483647 h 420"/>
              <a:gd name="T80" fmla="*/ 2147483647 w 330"/>
              <a:gd name="T81" fmla="*/ 2147483647 h 420"/>
              <a:gd name="T82" fmla="*/ 2147483647 w 330"/>
              <a:gd name="T83" fmla="*/ 2147483647 h 420"/>
              <a:gd name="T84" fmla="*/ 2147483647 w 330"/>
              <a:gd name="T85" fmla="*/ 2147483647 h 420"/>
              <a:gd name="T86" fmla="*/ 2147483647 w 330"/>
              <a:gd name="T87" fmla="*/ 2147483647 h 420"/>
              <a:gd name="T88" fmla="*/ 2147483647 w 330"/>
              <a:gd name="T89" fmla="*/ 2147483647 h 420"/>
              <a:gd name="T90" fmla="*/ 2147483647 w 330"/>
              <a:gd name="T91" fmla="*/ 2147483647 h 420"/>
              <a:gd name="T92" fmla="*/ 2147483647 w 330"/>
              <a:gd name="T93" fmla="*/ 2147483647 h 420"/>
              <a:gd name="T94" fmla="*/ 2147483647 w 330"/>
              <a:gd name="T95" fmla="*/ 2147483647 h 420"/>
              <a:gd name="T96" fmla="*/ 2147483647 w 330"/>
              <a:gd name="T97" fmla="*/ 2147483647 h 420"/>
              <a:gd name="T98" fmla="*/ 2147483647 w 330"/>
              <a:gd name="T99" fmla="*/ 2147483647 h 420"/>
              <a:gd name="T100" fmla="*/ 2147483647 w 330"/>
              <a:gd name="T101" fmla="*/ 2147483647 h 420"/>
              <a:gd name="T102" fmla="*/ 2147483647 w 330"/>
              <a:gd name="T103" fmla="*/ 0 h 42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30"/>
              <a:gd name="T157" fmla="*/ 0 h 420"/>
              <a:gd name="T158" fmla="*/ 330 w 330"/>
              <a:gd name="T159" fmla="*/ 420 h 42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30" h="420">
                <a:moveTo>
                  <a:pt x="270" y="0"/>
                </a:moveTo>
                <a:lnTo>
                  <a:pt x="240" y="0"/>
                </a:lnTo>
                <a:lnTo>
                  <a:pt x="240" y="6"/>
                </a:lnTo>
                <a:lnTo>
                  <a:pt x="246" y="12"/>
                </a:lnTo>
                <a:lnTo>
                  <a:pt x="252" y="24"/>
                </a:lnTo>
                <a:lnTo>
                  <a:pt x="252" y="42"/>
                </a:lnTo>
                <a:lnTo>
                  <a:pt x="228" y="42"/>
                </a:lnTo>
                <a:lnTo>
                  <a:pt x="234" y="54"/>
                </a:lnTo>
                <a:lnTo>
                  <a:pt x="234" y="60"/>
                </a:lnTo>
                <a:lnTo>
                  <a:pt x="228" y="72"/>
                </a:lnTo>
                <a:lnTo>
                  <a:pt x="216" y="78"/>
                </a:lnTo>
                <a:lnTo>
                  <a:pt x="204" y="72"/>
                </a:lnTo>
                <a:lnTo>
                  <a:pt x="180" y="72"/>
                </a:lnTo>
                <a:lnTo>
                  <a:pt x="174" y="66"/>
                </a:lnTo>
                <a:lnTo>
                  <a:pt x="168" y="72"/>
                </a:lnTo>
                <a:lnTo>
                  <a:pt x="168" y="84"/>
                </a:lnTo>
                <a:lnTo>
                  <a:pt x="192" y="108"/>
                </a:lnTo>
                <a:lnTo>
                  <a:pt x="198" y="108"/>
                </a:lnTo>
                <a:lnTo>
                  <a:pt x="198" y="120"/>
                </a:lnTo>
                <a:lnTo>
                  <a:pt x="150" y="120"/>
                </a:lnTo>
                <a:lnTo>
                  <a:pt x="138" y="114"/>
                </a:lnTo>
                <a:lnTo>
                  <a:pt x="126" y="114"/>
                </a:lnTo>
                <a:lnTo>
                  <a:pt x="114" y="102"/>
                </a:lnTo>
                <a:lnTo>
                  <a:pt x="102" y="96"/>
                </a:lnTo>
                <a:lnTo>
                  <a:pt x="90" y="96"/>
                </a:lnTo>
                <a:lnTo>
                  <a:pt x="90" y="102"/>
                </a:lnTo>
                <a:lnTo>
                  <a:pt x="84" y="108"/>
                </a:lnTo>
                <a:lnTo>
                  <a:pt x="84" y="138"/>
                </a:lnTo>
                <a:lnTo>
                  <a:pt x="66" y="174"/>
                </a:lnTo>
                <a:lnTo>
                  <a:pt x="54" y="186"/>
                </a:lnTo>
                <a:lnTo>
                  <a:pt x="18" y="204"/>
                </a:lnTo>
                <a:lnTo>
                  <a:pt x="12" y="216"/>
                </a:lnTo>
                <a:lnTo>
                  <a:pt x="6" y="222"/>
                </a:lnTo>
                <a:lnTo>
                  <a:pt x="6" y="234"/>
                </a:lnTo>
                <a:lnTo>
                  <a:pt x="0" y="246"/>
                </a:lnTo>
                <a:lnTo>
                  <a:pt x="12" y="228"/>
                </a:lnTo>
                <a:lnTo>
                  <a:pt x="18" y="246"/>
                </a:lnTo>
                <a:lnTo>
                  <a:pt x="36" y="270"/>
                </a:lnTo>
                <a:lnTo>
                  <a:pt x="48" y="252"/>
                </a:lnTo>
                <a:lnTo>
                  <a:pt x="54" y="258"/>
                </a:lnTo>
                <a:lnTo>
                  <a:pt x="60" y="270"/>
                </a:lnTo>
                <a:lnTo>
                  <a:pt x="96" y="270"/>
                </a:lnTo>
                <a:lnTo>
                  <a:pt x="96" y="282"/>
                </a:lnTo>
                <a:lnTo>
                  <a:pt x="102" y="294"/>
                </a:lnTo>
                <a:lnTo>
                  <a:pt x="102" y="336"/>
                </a:lnTo>
                <a:lnTo>
                  <a:pt x="138" y="336"/>
                </a:lnTo>
                <a:lnTo>
                  <a:pt x="144" y="348"/>
                </a:lnTo>
                <a:lnTo>
                  <a:pt x="132" y="342"/>
                </a:lnTo>
                <a:lnTo>
                  <a:pt x="108" y="342"/>
                </a:lnTo>
                <a:lnTo>
                  <a:pt x="102" y="348"/>
                </a:lnTo>
                <a:lnTo>
                  <a:pt x="102" y="360"/>
                </a:lnTo>
                <a:lnTo>
                  <a:pt x="108" y="378"/>
                </a:lnTo>
                <a:lnTo>
                  <a:pt x="114" y="384"/>
                </a:lnTo>
                <a:lnTo>
                  <a:pt x="126" y="408"/>
                </a:lnTo>
                <a:lnTo>
                  <a:pt x="156" y="396"/>
                </a:lnTo>
                <a:lnTo>
                  <a:pt x="162" y="402"/>
                </a:lnTo>
                <a:lnTo>
                  <a:pt x="174" y="408"/>
                </a:lnTo>
                <a:lnTo>
                  <a:pt x="180" y="414"/>
                </a:lnTo>
                <a:lnTo>
                  <a:pt x="192" y="420"/>
                </a:lnTo>
                <a:lnTo>
                  <a:pt x="198" y="420"/>
                </a:lnTo>
                <a:lnTo>
                  <a:pt x="216" y="414"/>
                </a:lnTo>
                <a:lnTo>
                  <a:pt x="228" y="414"/>
                </a:lnTo>
                <a:lnTo>
                  <a:pt x="240" y="408"/>
                </a:lnTo>
                <a:lnTo>
                  <a:pt x="246" y="402"/>
                </a:lnTo>
                <a:lnTo>
                  <a:pt x="246" y="396"/>
                </a:lnTo>
                <a:lnTo>
                  <a:pt x="240" y="390"/>
                </a:lnTo>
                <a:lnTo>
                  <a:pt x="240" y="384"/>
                </a:lnTo>
                <a:lnTo>
                  <a:pt x="246" y="384"/>
                </a:lnTo>
                <a:lnTo>
                  <a:pt x="252" y="378"/>
                </a:lnTo>
                <a:lnTo>
                  <a:pt x="276" y="366"/>
                </a:lnTo>
                <a:lnTo>
                  <a:pt x="306" y="366"/>
                </a:lnTo>
                <a:lnTo>
                  <a:pt x="324" y="354"/>
                </a:lnTo>
                <a:lnTo>
                  <a:pt x="312" y="342"/>
                </a:lnTo>
                <a:lnTo>
                  <a:pt x="312" y="336"/>
                </a:lnTo>
                <a:lnTo>
                  <a:pt x="264" y="312"/>
                </a:lnTo>
                <a:lnTo>
                  <a:pt x="240" y="312"/>
                </a:lnTo>
                <a:lnTo>
                  <a:pt x="240" y="300"/>
                </a:lnTo>
                <a:lnTo>
                  <a:pt x="246" y="288"/>
                </a:lnTo>
                <a:lnTo>
                  <a:pt x="252" y="282"/>
                </a:lnTo>
                <a:lnTo>
                  <a:pt x="246" y="276"/>
                </a:lnTo>
                <a:lnTo>
                  <a:pt x="234" y="270"/>
                </a:lnTo>
                <a:lnTo>
                  <a:pt x="228" y="264"/>
                </a:lnTo>
                <a:lnTo>
                  <a:pt x="228" y="252"/>
                </a:lnTo>
                <a:lnTo>
                  <a:pt x="240" y="246"/>
                </a:lnTo>
                <a:lnTo>
                  <a:pt x="246" y="240"/>
                </a:lnTo>
                <a:lnTo>
                  <a:pt x="258" y="234"/>
                </a:lnTo>
                <a:lnTo>
                  <a:pt x="270" y="234"/>
                </a:lnTo>
                <a:lnTo>
                  <a:pt x="276" y="228"/>
                </a:lnTo>
                <a:lnTo>
                  <a:pt x="288" y="204"/>
                </a:lnTo>
                <a:lnTo>
                  <a:pt x="288" y="192"/>
                </a:lnTo>
                <a:lnTo>
                  <a:pt x="294" y="186"/>
                </a:lnTo>
                <a:lnTo>
                  <a:pt x="300" y="174"/>
                </a:lnTo>
                <a:lnTo>
                  <a:pt x="324" y="162"/>
                </a:lnTo>
                <a:lnTo>
                  <a:pt x="312" y="132"/>
                </a:lnTo>
                <a:lnTo>
                  <a:pt x="306" y="126"/>
                </a:lnTo>
                <a:lnTo>
                  <a:pt x="294" y="102"/>
                </a:lnTo>
                <a:lnTo>
                  <a:pt x="294" y="90"/>
                </a:lnTo>
                <a:lnTo>
                  <a:pt x="306" y="66"/>
                </a:lnTo>
                <a:lnTo>
                  <a:pt x="318" y="60"/>
                </a:lnTo>
                <a:lnTo>
                  <a:pt x="324" y="54"/>
                </a:lnTo>
                <a:lnTo>
                  <a:pt x="330" y="54"/>
                </a:lnTo>
                <a:lnTo>
                  <a:pt x="312" y="36"/>
                </a:lnTo>
                <a:lnTo>
                  <a:pt x="288" y="24"/>
                </a:lnTo>
                <a:lnTo>
                  <a:pt x="270" y="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1" name="Yemen"/>
          <p:cNvSpPr>
            <a:spLocks/>
          </p:cNvSpPr>
          <p:nvPr/>
        </p:nvSpPr>
        <p:spPr bwMode="gray">
          <a:xfrm>
            <a:off x="5226908" y="3642393"/>
            <a:ext cx="295275" cy="201612"/>
          </a:xfrm>
          <a:custGeom>
            <a:avLst/>
            <a:gdLst>
              <a:gd name="T0" fmla="*/ 2147483647 w 732"/>
              <a:gd name="T1" fmla="*/ 2147483647 h 498"/>
              <a:gd name="T2" fmla="*/ 2147483647 w 732"/>
              <a:gd name="T3" fmla="*/ 2147483647 h 498"/>
              <a:gd name="T4" fmla="*/ 2147483647 w 732"/>
              <a:gd name="T5" fmla="*/ 2147483647 h 498"/>
              <a:gd name="T6" fmla="*/ 2147483647 w 732"/>
              <a:gd name="T7" fmla="*/ 2147483647 h 498"/>
              <a:gd name="T8" fmla="*/ 2147483647 w 732"/>
              <a:gd name="T9" fmla="*/ 2147483647 h 498"/>
              <a:gd name="T10" fmla="*/ 2147483647 w 732"/>
              <a:gd name="T11" fmla="*/ 2147483647 h 498"/>
              <a:gd name="T12" fmla="*/ 2147483647 w 732"/>
              <a:gd name="T13" fmla="*/ 2147483647 h 498"/>
              <a:gd name="T14" fmla="*/ 2147483647 w 732"/>
              <a:gd name="T15" fmla="*/ 2147483647 h 498"/>
              <a:gd name="T16" fmla="*/ 2147483647 w 732"/>
              <a:gd name="T17" fmla="*/ 2147483647 h 498"/>
              <a:gd name="T18" fmla="*/ 2147483647 w 732"/>
              <a:gd name="T19" fmla="*/ 2147483647 h 498"/>
              <a:gd name="T20" fmla="*/ 2147483647 w 732"/>
              <a:gd name="T21" fmla="*/ 2147483647 h 498"/>
              <a:gd name="T22" fmla="*/ 2147483647 w 732"/>
              <a:gd name="T23" fmla="*/ 2147483647 h 498"/>
              <a:gd name="T24" fmla="*/ 2147483647 w 732"/>
              <a:gd name="T25" fmla="*/ 2147483647 h 498"/>
              <a:gd name="T26" fmla="*/ 2147483647 w 732"/>
              <a:gd name="T27" fmla="*/ 2147483647 h 498"/>
              <a:gd name="T28" fmla="*/ 2147483647 w 732"/>
              <a:gd name="T29" fmla="*/ 2147483647 h 498"/>
              <a:gd name="T30" fmla="*/ 0 w 732"/>
              <a:gd name="T31" fmla="*/ 2147483647 h 498"/>
              <a:gd name="T32" fmla="*/ 2147483647 w 732"/>
              <a:gd name="T33" fmla="*/ 2147483647 h 498"/>
              <a:gd name="T34" fmla="*/ 2147483647 w 732"/>
              <a:gd name="T35" fmla="*/ 2147483647 h 498"/>
              <a:gd name="T36" fmla="*/ 2147483647 w 732"/>
              <a:gd name="T37" fmla="*/ 2147483647 h 498"/>
              <a:gd name="T38" fmla="*/ 2147483647 w 732"/>
              <a:gd name="T39" fmla="*/ 2147483647 h 498"/>
              <a:gd name="T40" fmla="*/ 2147483647 w 732"/>
              <a:gd name="T41" fmla="*/ 2147483647 h 498"/>
              <a:gd name="T42" fmla="*/ 2147483647 w 732"/>
              <a:gd name="T43" fmla="*/ 2147483647 h 498"/>
              <a:gd name="T44" fmla="*/ 2147483647 w 732"/>
              <a:gd name="T45" fmla="*/ 2147483647 h 498"/>
              <a:gd name="T46" fmla="*/ 2147483647 w 732"/>
              <a:gd name="T47" fmla="*/ 2147483647 h 498"/>
              <a:gd name="T48" fmla="*/ 2147483647 w 732"/>
              <a:gd name="T49" fmla="*/ 2147483647 h 498"/>
              <a:gd name="T50" fmla="*/ 2147483647 w 732"/>
              <a:gd name="T51" fmla="*/ 2147483647 h 498"/>
              <a:gd name="T52" fmla="*/ 2147483647 w 732"/>
              <a:gd name="T53" fmla="*/ 2147483647 h 498"/>
              <a:gd name="T54" fmla="*/ 2147483647 w 732"/>
              <a:gd name="T55" fmla="*/ 2147483647 h 498"/>
              <a:gd name="T56" fmla="*/ 2147483647 w 732"/>
              <a:gd name="T57" fmla="*/ 2147483647 h 498"/>
              <a:gd name="T58" fmla="*/ 2147483647 w 732"/>
              <a:gd name="T59" fmla="*/ 2147483647 h 498"/>
              <a:gd name="T60" fmla="*/ 2147483647 w 732"/>
              <a:gd name="T61" fmla="*/ 2147483647 h 498"/>
              <a:gd name="T62" fmla="*/ 2147483647 w 732"/>
              <a:gd name="T63" fmla="*/ 2147483647 h 498"/>
              <a:gd name="T64" fmla="*/ 2147483647 w 732"/>
              <a:gd name="T65" fmla="*/ 2147483647 h 498"/>
              <a:gd name="T66" fmla="*/ 2147483647 w 732"/>
              <a:gd name="T67" fmla="*/ 2147483647 h 498"/>
              <a:gd name="T68" fmla="*/ 2147483647 w 732"/>
              <a:gd name="T69" fmla="*/ 2147483647 h 498"/>
              <a:gd name="T70" fmla="*/ 2147483647 w 732"/>
              <a:gd name="T71" fmla="*/ 2147483647 h 498"/>
              <a:gd name="T72" fmla="*/ 2147483647 w 732"/>
              <a:gd name="T73" fmla="*/ 2147483647 h 498"/>
              <a:gd name="T74" fmla="*/ 2147483647 w 732"/>
              <a:gd name="T75" fmla="*/ 2147483647 h 498"/>
              <a:gd name="T76" fmla="*/ 2147483647 w 732"/>
              <a:gd name="T77" fmla="*/ 0 h 498"/>
              <a:gd name="T78" fmla="*/ 2147483647 w 732"/>
              <a:gd name="T79" fmla="*/ 2147483647 h 498"/>
              <a:gd name="T80" fmla="*/ 2147483647 w 732"/>
              <a:gd name="T81" fmla="*/ 2147483647 h 4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32"/>
              <a:gd name="T124" fmla="*/ 0 h 498"/>
              <a:gd name="T125" fmla="*/ 732 w 732"/>
              <a:gd name="T126" fmla="*/ 498 h 4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32" h="498">
                <a:moveTo>
                  <a:pt x="468" y="24"/>
                </a:moveTo>
                <a:lnTo>
                  <a:pt x="450" y="30"/>
                </a:lnTo>
                <a:lnTo>
                  <a:pt x="420" y="36"/>
                </a:lnTo>
                <a:lnTo>
                  <a:pt x="390" y="54"/>
                </a:lnTo>
                <a:lnTo>
                  <a:pt x="372" y="72"/>
                </a:lnTo>
                <a:lnTo>
                  <a:pt x="366" y="84"/>
                </a:lnTo>
                <a:lnTo>
                  <a:pt x="354" y="96"/>
                </a:lnTo>
                <a:lnTo>
                  <a:pt x="348" y="108"/>
                </a:lnTo>
                <a:lnTo>
                  <a:pt x="342" y="114"/>
                </a:lnTo>
                <a:lnTo>
                  <a:pt x="336" y="126"/>
                </a:lnTo>
                <a:lnTo>
                  <a:pt x="336" y="144"/>
                </a:lnTo>
                <a:lnTo>
                  <a:pt x="330" y="150"/>
                </a:lnTo>
                <a:lnTo>
                  <a:pt x="324" y="162"/>
                </a:lnTo>
                <a:lnTo>
                  <a:pt x="312" y="162"/>
                </a:lnTo>
                <a:lnTo>
                  <a:pt x="300" y="156"/>
                </a:lnTo>
                <a:lnTo>
                  <a:pt x="294" y="144"/>
                </a:lnTo>
                <a:lnTo>
                  <a:pt x="288" y="138"/>
                </a:lnTo>
                <a:lnTo>
                  <a:pt x="210" y="138"/>
                </a:lnTo>
                <a:lnTo>
                  <a:pt x="204" y="132"/>
                </a:lnTo>
                <a:lnTo>
                  <a:pt x="192" y="126"/>
                </a:lnTo>
                <a:lnTo>
                  <a:pt x="102" y="126"/>
                </a:lnTo>
                <a:lnTo>
                  <a:pt x="96" y="132"/>
                </a:lnTo>
                <a:lnTo>
                  <a:pt x="72" y="138"/>
                </a:lnTo>
                <a:lnTo>
                  <a:pt x="54" y="120"/>
                </a:lnTo>
                <a:lnTo>
                  <a:pt x="48" y="120"/>
                </a:lnTo>
                <a:lnTo>
                  <a:pt x="42" y="126"/>
                </a:lnTo>
                <a:lnTo>
                  <a:pt x="36" y="138"/>
                </a:lnTo>
                <a:lnTo>
                  <a:pt x="36" y="186"/>
                </a:lnTo>
                <a:lnTo>
                  <a:pt x="30" y="192"/>
                </a:lnTo>
                <a:lnTo>
                  <a:pt x="24" y="204"/>
                </a:lnTo>
                <a:lnTo>
                  <a:pt x="12" y="216"/>
                </a:lnTo>
                <a:lnTo>
                  <a:pt x="0" y="252"/>
                </a:lnTo>
                <a:lnTo>
                  <a:pt x="0" y="258"/>
                </a:lnTo>
                <a:lnTo>
                  <a:pt x="18" y="276"/>
                </a:lnTo>
                <a:lnTo>
                  <a:pt x="24" y="288"/>
                </a:lnTo>
                <a:lnTo>
                  <a:pt x="36" y="294"/>
                </a:lnTo>
                <a:lnTo>
                  <a:pt x="24" y="408"/>
                </a:lnTo>
                <a:lnTo>
                  <a:pt x="54" y="444"/>
                </a:lnTo>
                <a:lnTo>
                  <a:pt x="54" y="456"/>
                </a:lnTo>
                <a:lnTo>
                  <a:pt x="60" y="468"/>
                </a:lnTo>
                <a:lnTo>
                  <a:pt x="78" y="486"/>
                </a:lnTo>
                <a:lnTo>
                  <a:pt x="90" y="492"/>
                </a:lnTo>
                <a:lnTo>
                  <a:pt x="114" y="498"/>
                </a:lnTo>
                <a:lnTo>
                  <a:pt x="132" y="498"/>
                </a:lnTo>
                <a:lnTo>
                  <a:pt x="150" y="492"/>
                </a:lnTo>
                <a:lnTo>
                  <a:pt x="162" y="486"/>
                </a:lnTo>
                <a:lnTo>
                  <a:pt x="168" y="480"/>
                </a:lnTo>
                <a:lnTo>
                  <a:pt x="186" y="444"/>
                </a:lnTo>
                <a:lnTo>
                  <a:pt x="198" y="432"/>
                </a:lnTo>
                <a:lnTo>
                  <a:pt x="210" y="432"/>
                </a:lnTo>
                <a:lnTo>
                  <a:pt x="228" y="438"/>
                </a:lnTo>
                <a:lnTo>
                  <a:pt x="270" y="438"/>
                </a:lnTo>
                <a:lnTo>
                  <a:pt x="324" y="432"/>
                </a:lnTo>
                <a:lnTo>
                  <a:pt x="366" y="426"/>
                </a:lnTo>
                <a:lnTo>
                  <a:pt x="390" y="414"/>
                </a:lnTo>
                <a:lnTo>
                  <a:pt x="402" y="402"/>
                </a:lnTo>
                <a:lnTo>
                  <a:pt x="414" y="384"/>
                </a:lnTo>
                <a:lnTo>
                  <a:pt x="426" y="372"/>
                </a:lnTo>
                <a:lnTo>
                  <a:pt x="450" y="360"/>
                </a:lnTo>
                <a:lnTo>
                  <a:pt x="462" y="348"/>
                </a:lnTo>
                <a:lnTo>
                  <a:pt x="474" y="342"/>
                </a:lnTo>
                <a:lnTo>
                  <a:pt x="486" y="330"/>
                </a:lnTo>
                <a:lnTo>
                  <a:pt x="504" y="324"/>
                </a:lnTo>
                <a:lnTo>
                  <a:pt x="528" y="312"/>
                </a:lnTo>
                <a:lnTo>
                  <a:pt x="546" y="306"/>
                </a:lnTo>
                <a:lnTo>
                  <a:pt x="558" y="294"/>
                </a:lnTo>
                <a:lnTo>
                  <a:pt x="594" y="276"/>
                </a:lnTo>
                <a:lnTo>
                  <a:pt x="666" y="276"/>
                </a:lnTo>
                <a:lnTo>
                  <a:pt x="666" y="270"/>
                </a:lnTo>
                <a:lnTo>
                  <a:pt x="672" y="264"/>
                </a:lnTo>
                <a:lnTo>
                  <a:pt x="684" y="240"/>
                </a:lnTo>
                <a:lnTo>
                  <a:pt x="690" y="222"/>
                </a:lnTo>
                <a:lnTo>
                  <a:pt x="702" y="210"/>
                </a:lnTo>
                <a:lnTo>
                  <a:pt x="708" y="198"/>
                </a:lnTo>
                <a:lnTo>
                  <a:pt x="720" y="192"/>
                </a:lnTo>
                <a:lnTo>
                  <a:pt x="720" y="186"/>
                </a:lnTo>
                <a:lnTo>
                  <a:pt x="732" y="186"/>
                </a:lnTo>
                <a:lnTo>
                  <a:pt x="648" y="0"/>
                </a:lnTo>
                <a:lnTo>
                  <a:pt x="630" y="0"/>
                </a:lnTo>
                <a:lnTo>
                  <a:pt x="588" y="6"/>
                </a:lnTo>
                <a:lnTo>
                  <a:pt x="540" y="18"/>
                </a:lnTo>
                <a:lnTo>
                  <a:pt x="492" y="24"/>
                </a:lnTo>
                <a:lnTo>
                  <a:pt x="468" y="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2" name="Kenya"/>
          <p:cNvSpPr>
            <a:spLocks/>
          </p:cNvSpPr>
          <p:nvPr/>
        </p:nvSpPr>
        <p:spPr bwMode="gray">
          <a:xfrm>
            <a:off x="4991958" y="4107530"/>
            <a:ext cx="225425" cy="306388"/>
          </a:xfrm>
          <a:custGeom>
            <a:avLst/>
            <a:gdLst>
              <a:gd name="T0" fmla="*/ 2147483647 w 564"/>
              <a:gd name="T1" fmla="*/ 2147483647 h 762"/>
              <a:gd name="T2" fmla="*/ 2147483647 w 564"/>
              <a:gd name="T3" fmla="*/ 2147483647 h 762"/>
              <a:gd name="T4" fmla="*/ 2147483647 w 564"/>
              <a:gd name="T5" fmla="*/ 2147483647 h 762"/>
              <a:gd name="T6" fmla="*/ 2147483647 w 564"/>
              <a:gd name="T7" fmla="*/ 2147483647 h 762"/>
              <a:gd name="T8" fmla="*/ 2147483647 w 564"/>
              <a:gd name="T9" fmla="*/ 2147483647 h 762"/>
              <a:gd name="T10" fmla="*/ 2147483647 w 564"/>
              <a:gd name="T11" fmla="*/ 2147483647 h 762"/>
              <a:gd name="T12" fmla="*/ 2147483647 w 564"/>
              <a:gd name="T13" fmla="*/ 2147483647 h 762"/>
              <a:gd name="T14" fmla="*/ 2147483647 w 564"/>
              <a:gd name="T15" fmla="*/ 2147483647 h 762"/>
              <a:gd name="T16" fmla="*/ 2147483647 w 564"/>
              <a:gd name="T17" fmla="*/ 2147483647 h 762"/>
              <a:gd name="T18" fmla="*/ 2147483647 w 564"/>
              <a:gd name="T19" fmla="*/ 2147483647 h 762"/>
              <a:gd name="T20" fmla="*/ 2147483647 w 564"/>
              <a:gd name="T21" fmla="*/ 2147483647 h 762"/>
              <a:gd name="T22" fmla="*/ 2147483647 w 564"/>
              <a:gd name="T23" fmla="*/ 2147483647 h 762"/>
              <a:gd name="T24" fmla="*/ 2147483647 w 564"/>
              <a:gd name="T25" fmla="*/ 0 h 762"/>
              <a:gd name="T26" fmla="*/ 2147483647 w 564"/>
              <a:gd name="T27" fmla="*/ 2147483647 h 762"/>
              <a:gd name="T28" fmla="*/ 2147483647 w 564"/>
              <a:gd name="T29" fmla="*/ 2147483647 h 762"/>
              <a:gd name="T30" fmla="*/ 2147483647 w 564"/>
              <a:gd name="T31" fmla="*/ 2147483647 h 762"/>
              <a:gd name="T32" fmla="*/ 2147483647 w 564"/>
              <a:gd name="T33" fmla="*/ 2147483647 h 762"/>
              <a:gd name="T34" fmla="*/ 2147483647 w 564"/>
              <a:gd name="T35" fmla="*/ 2147483647 h 762"/>
              <a:gd name="T36" fmla="*/ 2147483647 w 564"/>
              <a:gd name="T37" fmla="*/ 2147483647 h 762"/>
              <a:gd name="T38" fmla="*/ 2147483647 w 564"/>
              <a:gd name="T39" fmla="*/ 2147483647 h 762"/>
              <a:gd name="T40" fmla="*/ 2147483647 w 564"/>
              <a:gd name="T41" fmla="*/ 2147483647 h 762"/>
              <a:gd name="T42" fmla="*/ 2147483647 w 564"/>
              <a:gd name="T43" fmla="*/ 2147483647 h 762"/>
              <a:gd name="T44" fmla="*/ 2147483647 w 564"/>
              <a:gd name="T45" fmla="*/ 2147483647 h 762"/>
              <a:gd name="T46" fmla="*/ 2147483647 w 564"/>
              <a:gd name="T47" fmla="*/ 2147483647 h 762"/>
              <a:gd name="T48" fmla="*/ 2147483647 w 564"/>
              <a:gd name="T49" fmla="*/ 2147483647 h 762"/>
              <a:gd name="T50" fmla="*/ 2147483647 w 564"/>
              <a:gd name="T51" fmla="*/ 2147483647 h 762"/>
              <a:gd name="T52" fmla="*/ 2147483647 w 564"/>
              <a:gd name="T53" fmla="*/ 2147483647 h 762"/>
              <a:gd name="T54" fmla="*/ 2147483647 w 564"/>
              <a:gd name="T55" fmla="*/ 2147483647 h 762"/>
              <a:gd name="T56" fmla="*/ 2147483647 w 564"/>
              <a:gd name="T57" fmla="*/ 2147483647 h 762"/>
              <a:gd name="T58" fmla="*/ 0 w 564"/>
              <a:gd name="T59" fmla="*/ 2147483647 h 762"/>
              <a:gd name="T60" fmla="*/ 2147483647 w 564"/>
              <a:gd name="T61" fmla="*/ 2147483647 h 762"/>
              <a:gd name="T62" fmla="*/ 2147483647 w 564"/>
              <a:gd name="T63" fmla="*/ 2147483647 h 762"/>
              <a:gd name="T64" fmla="*/ 2147483647 w 564"/>
              <a:gd name="T65" fmla="*/ 2147483647 h 762"/>
              <a:gd name="T66" fmla="*/ 2147483647 w 564"/>
              <a:gd name="T67" fmla="*/ 2147483647 h 762"/>
              <a:gd name="T68" fmla="*/ 2147483647 w 564"/>
              <a:gd name="T69" fmla="*/ 2147483647 h 762"/>
              <a:gd name="T70" fmla="*/ 0 w 564"/>
              <a:gd name="T71" fmla="*/ 2147483647 h 762"/>
              <a:gd name="T72" fmla="*/ 2147483647 w 564"/>
              <a:gd name="T73" fmla="*/ 2147483647 h 762"/>
              <a:gd name="T74" fmla="*/ 2147483647 w 564"/>
              <a:gd name="T75" fmla="*/ 2147483647 h 762"/>
              <a:gd name="T76" fmla="*/ 2147483647 w 564"/>
              <a:gd name="T77" fmla="*/ 2147483647 h 762"/>
              <a:gd name="T78" fmla="*/ 2147483647 w 564"/>
              <a:gd name="T79" fmla="*/ 2147483647 h 762"/>
              <a:gd name="T80" fmla="*/ 2147483647 w 564"/>
              <a:gd name="T81" fmla="*/ 2147483647 h 762"/>
              <a:gd name="T82" fmla="*/ 2147483647 w 564"/>
              <a:gd name="T83" fmla="*/ 2147483647 h 762"/>
              <a:gd name="T84" fmla="*/ 2147483647 w 564"/>
              <a:gd name="T85" fmla="*/ 2147483647 h 762"/>
              <a:gd name="T86" fmla="*/ 2147483647 w 564"/>
              <a:gd name="T87" fmla="*/ 2147483647 h 762"/>
              <a:gd name="T88" fmla="*/ 2147483647 w 564"/>
              <a:gd name="T89" fmla="*/ 2147483647 h 762"/>
              <a:gd name="T90" fmla="*/ 2147483647 w 564"/>
              <a:gd name="T91" fmla="*/ 2147483647 h 762"/>
              <a:gd name="T92" fmla="*/ 2147483647 w 564"/>
              <a:gd name="T93" fmla="*/ 2147483647 h 762"/>
              <a:gd name="T94" fmla="*/ 2147483647 w 564"/>
              <a:gd name="T95" fmla="*/ 2147483647 h 762"/>
              <a:gd name="T96" fmla="*/ 2147483647 w 564"/>
              <a:gd name="T97" fmla="*/ 2147483647 h 762"/>
              <a:gd name="T98" fmla="*/ 2147483647 w 564"/>
              <a:gd name="T99" fmla="*/ 2147483647 h 762"/>
              <a:gd name="T100" fmla="*/ 2147483647 w 564"/>
              <a:gd name="T101" fmla="*/ 2147483647 h 76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64"/>
              <a:gd name="T154" fmla="*/ 0 h 762"/>
              <a:gd name="T155" fmla="*/ 564 w 564"/>
              <a:gd name="T156" fmla="*/ 762 h 76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64" h="762">
                <a:moveTo>
                  <a:pt x="498" y="150"/>
                </a:moveTo>
                <a:lnTo>
                  <a:pt x="540" y="108"/>
                </a:lnTo>
                <a:lnTo>
                  <a:pt x="558" y="72"/>
                </a:lnTo>
                <a:lnTo>
                  <a:pt x="564" y="66"/>
                </a:lnTo>
                <a:lnTo>
                  <a:pt x="564" y="60"/>
                </a:lnTo>
                <a:lnTo>
                  <a:pt x="540" y="54"/>
                </a:lnTo>
                <a:lnTo>
                  <a:pt x="534" y="60"/>
                </a:lnTo>
                <a:lnTo>
                  <a:pt x="504" y="60"/>
                </a:lnTo>
                <a:lnTo>
                  <a:pt x="480" y="30"/>
                </a:lnTo>
                <a:lnTo>
                  <a:pt x="462" y="48"/>
                </a:lnTo>
                <a:lnTo>
                  <a:pt x="456" y="48"/>
                </a:lnTo>
                <a:lnTo>
                  <a:pt x="450" y="54"/>
                </a:lnTo>
                <a:lnTo>
                  <a:pt x="438" y="60"/>
                </a:lnTo>
                <a:lnTo>
                  <a:pt x="426" y="60"/>
                </a:lnTo>
                <a:lnTo>
                  <a:pt x="414" y="72"/>
                </a:lnTo>
                <a:lnTo>
                  <a:pt x="414" y="84"/>
                </a:lnTo>
                <a:lnTo>
                  <a:pt x="390" y="102"/>
                </a:lnTo>
                <a:lnTo>
                  <a:pt x="378" y="96"/>
                </a:lnTo>
                <a:lnTo>
                  <a:pt x="372" y="96"/>
                </a:lnTo>
                <a:lnTo>
                  <a:pt x="360" y="90"/>
                </a:lnTo>
                <a:lnTo>
                  <a:pt x="330" y="90"/>
                </a:lnTo>
                <a:lnTo>
                  <a:pt x="318" y="84"/>
                </a:lnTo>
                <a:lnTo>
                  <a:pt x="288" y="84"/>
                </a:lnTo>
                <a:lnTo>
                  <a:pt x="210" y="24"/>
                </a:lnTo>
                <a:lnTo>
                  <a:pt x="138" y="18"/>
                </a:lnTo>
                <a:lnTo>
                  <a:pt x="132" y="0"/>
                </a:lnTo>
                <a:lnTo>
                  <a:pt x="108" y="12"/>
                </a:lnTo>
                <a:lnTo>
                  <a:pt x="18" y="12"/>
                </a:lnTo>
                <a:lnTo>
                  <a:pt x="0" y="42"/>
                </a:lnTo>
                <a:lnTo>
                  <a:pt x="6" y="48"/>
                </a:lnTo>
                <a:lnTo>
                  <a:pt x="12" y="60"/>
                </a:lnTo>
                <a:lnTo>
                  <a:pt x="12" y="84"/>
                </a:lnTo>
                <a:lnTo>
                  <a:pt x="18" y="84"/>
                </a:lnTo>
                <a:lnTo>
                  <a:pt x="24" y="90"/>
                </a:lnTo>
                <a:lnTo>
                  <a:pt x="24" y="84"/>
                </a:lnTo>
                <a:lnTo>
                  <a:pt x="30" y="84"/>
                </a:lnTo>
                <a:lnTo>
                  <a:pt x="30" y="96"/>
                </a:lnTo>
                <a:lnTo>
                  <a:pt x="24" y="102"/>
                </a:lnTo>
                <a:lnTo>
                  <a:pt x="24" y="108"/>
                </a:lnTo>
                <a:lnTo>
                  <a:pt x="42" y="126"/>
                </a:lnTo>
                <a:lnTo>
                  <a:pt x="36" y="132"/>
                </a:lnTo>
                <a:lnTo>
                  <a:pt x="72" y="174"/>
                </a:lnTo>
                <a:lnTo>
                  <a:pt x="66" y="180"/>
                </a:lnTo>
                <a:lnTo>
                  <a:pt x="60" y="180"/>
                </a:lnTo>
                <a:lnTo>
                  <a:pt x="54" y="186"/>
                </a:lnTo>
                <a:lnTo>
                  <a:pt x="54" y="192"/>
                </a:lnTo>
                <a:lnTo>
                  <a:pt x="66" y="216"/>
                </a:lnTo>
                <a:lnTo>
                  <a:pt x="72" y="222"/>
                </a:lnTo>
                <a:lnTo>
                  <a:pt x="78" y="234"/>
                </a:lnTo>
                <a:lnTo>
                  <a:pt x="78" y="246"/>
                </a:lnTo>
                <a:lnTo>
                  <a:pt x="66" y="258"/>
                </a:lnTo>
                <a:lnTo>
                  <a:pt x="60" y="282"/>
                </a:lnTo>
                <a:lnTo>
                  <a:pt x="42" y="282"/>
                </a:lnTo>
                <a:lnTo>
                  <a:pt x="36" y="288"/>
                </a:lnTo>
                <a:lnTo>
                  <a:pt x="36" y="312"/>
                </a:lnTo>
                <a:lnTo>
                  <a:pt x="18" y="324"/>
                </a:lnTo>
                <a:lnTo>
                  <a:pt x="12" y="342"/>
                </a:lnTo>
                <a:lnTo>
                  <a:pt x="6" y="348"/>
                </a:lnTo>
                <a:lnTo>
                  <a:pt x="0" y="360"/>
                </a:lnTo>
                <a:lnTo>
                  <a:pt x="0" y="384"/>
                </a:lnTo>
                <a:lnTo>
                  <a:pt x="18" y="402"/>
                </a:lnTo>
                <a:lnTo>
                  <a:pt x="30" y="402"/>
                </a:lnTo>
                <a:lnTo>
                  <a:pt x="30" y="390"/>
                </a:lnTo>
                <a:lnTo>
                  <a:pt x="54" y="390"/>
                </a:lnTo>
                <a:lnTo>
                  <a:pt x="60" y="408"/>
                </a:lnTo>
                <a:lnTo>
                  <a:pt x="42" y="408"/>
                </a:lnTo>
                <a:lnTo>
                  <a:pt x="30" y="420"/>
                </a:lnTo>
                <a:lnTo>
                  <a:pt x="24" y="414"/>
                </a:lnTo>
                <a:lnTo>
                  <a:pt x="18" y="414"/>
                </a:lnTo>
                <a:lnTo>
                  <a:pt x="6" y="420"/>
                </a:lnTo>
                <a:lnTo>
                  <a:pt x="0" y="432"/>
                </a:lnTo>
                <a:lnTo>
                  <a:pt x="0" y="438"/>
                </a:lnTo>
                <a:lnTo>
                  <a:pt x="12" y="450"/>
                </a:lnTo>
                <a:lnTo>
                  <a:pt x="6" y="468"/>
                </a:lnTo>
                <a:lnTo>
                  <a:pt x="258" y="624"/>
                </a:lnTo>
                <a:lnTo>
                  <a:pt x="270" y="636"/>
                </a:lnTo>
                <a:lnTo>
                  <a:pt x="270" y="642"/>
                </a:lnTo>
                <a:lnTo>
                  <a:pt x="264" y="648"/>
                </a:lnTo>
                <a:lnTo>
                  <a:pt x="258" y="648"/>
                </a:lnTo>
                <a:lnTo>
                  <a:pt x="252" y="654"/>
                </a:lnTo>
                <a:lnTo>
                  <a:pt x="366" y="762"/>
                </a:lnTo>
                <a:lnTo>
                  <a:pt x="384" y="756"/>
                </a:lnTo>
                <a:lnTo>
                  <a:pt x="414" y="690"/>
                </a:lnTo>
                <a:lnTo>
                  <a:pt x="414" y="660"/>
                </a:lnTo>
                <a:lnTo>
                  <a:pt x="426" y="648"/>
                </a:lnTo>
                <a:lnTo>
                  <a:pt x="432" y="648"/>
                </a:lnTo>
                <a:lnTo>
                  <a:pt x="444" y="636"/>
                </a:lnTo>
                <a:lnTo>
                  <a:pt x="444" y="624"/>
                </a:lnTo>
                <a:lnTo>
                  <a:pt x="438" y="618"/>
                </a:lnTo>
                <a:lnTo>
                  <a:pt x="438" y="600"/>
                </a:lnTo>
                <a:lnTo>
                  <a:pt x="444" y="594"/>
                </a:lnTo>
                <a:lnTo>
                  <a:pt x="456" y="588"/>
                </a:lnTo>
                <a:lnTo>
                  <a:pt x="468" y="588"/>
                </a:lnTo>
                <a:lnTo>
                  <a:pt x="474" y="582"/>
                </a:lnTo>
                <a:lnTo>
                  <a:pt x="480" y="582"/>
                </a:lnTo>
                <a:lnTo>
                  <a:pt x="486" y="540"/>
                </a:lnTo>
                <a:lnTo>
                  <a:pt x="516" y="540"/>
                </a:lnTo>
                <a:lnTo>
                  <a:pt x="528" y="534"/>
                </a:lnTo>
                <a:lnTo>
                  <a:pt x="534" y="522"/>
                </a:lnTo>
                <a:lnTo>
                  <a:pt x="540" y="516"/>
                </a:lnTo>
                <a:lnTo>
                  <a:pt x="498" y="450"/>
                </a:lnTo>
                <a:lnTo>
                  <a:pt x="498" y="15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3" name="Kazakhstan"/>
          <p:cNvSpPr>
            <a:spLocks noEditPoints="1"/>
          </p:cNvSpPr>
          <p:nvPr/>
        </p:nvSpPr>
        <p:spPr bwMode="gray">
          <a:xfrm>
            <a:off x="5222146" y="2477168"/>
            <a:ext cx="1012825" cy="468312"/>
          </a:xfrm>
          <a:custGeom>
            <a:avLst/>
            <a:gdLst>
              <a:gd name="T0" fmla="*/ 2147483647 w 2514"/>
              <a:gd name="T1" fmla="*/ 2147483647 h 1164"/>
              <a:gd name="T2" fmla="*/ 2147483647 w 2514"/>
              <a:gd name="T3" fmla="*/ 2147483647 h 1164"/>
              <a:gd name="T4" fmla="*/ 2147483647 w 2514"/>
              <a:gd name="T5" fmla="*/ 2147483647 h 1164"/>
              <a:gd name="T6" fmla="*/ 2147483647 w 2514"/>
              <a:gd name="T7" fmla="*/ 2147483647 h 1164"/>
              <a:gd name="T8" fmla="*/ 2147483647 w 2514"/>
              <a:gd name="T9" fmla="*/ 2147483647 h 1164"/>
              <a:gd name="T10" fmla="*/ 2147483647 w 2514"/>
              <a:gd name="T11" fmla="*/ 2147483647 h 1164"/>
              <a:gd name="T12" fmla="*/ 2147483647 w 2514"/>
              <a:gd name="T13" fmla="*/ 2147483647 h 1164"/>
              <a:gd name="T14" fmla="*/ 2147483647 w 2514"/>
              <a:gd name="T15" fmla="*/ 2147483647 h 1164"/>
              <a:gd name="T16" fmla="*/ 2147483647 w 2514"/>
              <a:gd name="T17" fmla="*/ 2147483647 h 1164"/>
              <a:gd name="T18" fmla="*/ 2147483647 w 2514"/>
              <a:gd name="T19" fmla="*/ 2147483647 h 1164"/>
              <a:gd name="T20" fmla="*/ 2147483647 w 2514"/>
              <a:gd name="T21" fmla="*/ 2147483647 h 1164"/>
              <a:gd name="T22" fmla="*/ 2147483647 w 2514"/>
              <a:gd name="T23" fmla="*/ 2147483647 h 1164"/>
              <a:gd name="T24" fmla="*/ 2147483647 w 2514"/>
              <a:gd name="T25" fmla="*/ 2147483647 h 1164"/>
              <a:gd name="T26" fmla="*/ 2147483647 w 2514"/>
              <a:gd name="T27" fmla="*/ 2147483647 h 1164"/>
              <a:gd name="T28" fmla="*/ 2147483647 w 2514"/>
              <a:gd name="T29" fmla="*/ 2147483647 h 1164"/>
              <a:gd name="T30" fmla="*/ 2147483647 w 2514"/>
              <a:gd name="T31" fmla="*/ 2147483647 h 1164"/>
              <a:gd name="T32" fmla="*/ 2147483647 w 2514"/>
              <a:gd name="T33" fmla="*/ 2147483647 h 1164"/>
              <a:gd name="T34" fmla="*/ 2147483647 w 2514"/>
              <a:gd name="T35" fmla="*/ 2147483647 h 1164"/>
              <a:gd name="T36" fmla="*/ 2147483647 w 2514"/>
              <a:gd name="T37" fmla="*/ 2147483647 h 1164"/>
              <a:gd name="T38" fmla="*/ 2147483647 w 2514"/>
              <a:gd name="T39" fmla="*/ 2147483647 h 1164"/>
              <a:gd name="T40" fmla="*/ 2147483647 w 2514"/>
              <a:gd name="T41" fmla="*/ 2147483647 h 1164"/>
              <a:gd name="T42" fmla="*/ 2147483647 w 2514"/>
              <a:gd name="T43" fmla="*/ 2147483647 h 1164"/>
              <a:gd name="T44" fmla="*/ 2147483647 w 2514"/>
              <a:gd name="T45" fmla="*/ 2147483647 h 1164"/>
              <a:gd name="T46" fmla="*/ 2147483647 w 2514"/>
              <a:gd name="T47" fmla="*/ 2147483647 h 1164"/>
              <a:gd name="T48" fmla="*/ 2147483647 w 2514"/>
              <a:gd name="T49" fmla="*/ 2147483647 h 1164"/>
              <a:gd name="T50" fmla="*/ 2147483647 w 2514"/>
              <a:gd name="T51" fmla="*/ 2147483647 h 1164"/>
              <a:gd name="T52" fmla="*/ 2147483647 w 2514"/>
              <a:gd name="T53" fmla="*/ 2147483647 h 1164"/>
              <a:gd name="T54" fmla="*/ 2147483647 w 2514"/>
              <a:gd name="T55" fmla="*/ 2147483647 h 1164"/>
              <a:gd name="T56" fmla="*/ 2147483647 w 2514"/>
              <a:gd name="T57" fmla="*/ 2147483647 h 1164"/>
              <a:gd name="T58" fmla="*/ 2147483647 w 2514"/>
              <a:gd name="T59" fmla="*/ 2147483647 h 1164"/>
              <a:gd name="T60" fmla="*/ 2147483647 w 2514"/>
              <a:gd name="T61" fmla="*/ 2147483647 h 1164"/>
              <a:gd name="T62" fmla="*/ 2147483647 w 2514"/>
              <a:gd name="T63" fmla="*/ 2147483647 h 1164"/>
              <a:gd name="T64" fmla="*/ 2147483647 w 2514"/>
              <a:gd name="T65" fmla="*/ 2147483647 h 1164"/>
              <a:gd name="T66" fmla="*/ 2147483647 w 2514"/>
              <a:gd name="T67" fmla="*/ 2147483647 h 1164"/>
              <a:gd name="T68" fmla="*/ 2147483647 w 2514"/>
              <a:gd name="T69" fmla="*/ 2147483647 h 1164"/>
              <a:gd name="T70" fmla="*/ 2147483647 w 2514"/>
              <a:gd name="T71" fmla="*/ 2147483647 h 1164"/>
              <a:gd name="T72" fmla="*/ 2147483647 w 2514"/>
              <a:gd name="T73" fmla="*/ 2147483647 h 1164"/>
              <a:gd name="T74" fmla="*/ 2147483647 w 2514"/>
              <a:gd name="T75" fmla="*/ 2147483647 h 1164"/>
              <a:gd name="T76" fmla="*/ 2147483647 w 2514"/>
              <a:gd name="T77" fmla="*/ 2147483647 h 1164"/>
              <a:gd name="T78" fmla="*/ 2147483647 w 2514"/>
              <a:gd name="T79" fmla="*/ 2147483647 h 1164"/>
              <a:gd name="T80" fmla="*/ 2147483647 w 2514"/>
              <a:gd name="T81" fmla="*/ 2147483647 h 1164"/>
              <a:gd name="T82" fmla="*/ 2147483647 w 2514"/>
              <a:gd name="T83" fmla="*/ 2147483647 h 1164"/>
              <a:gd name="T84" fmla="*/ 2147483647 w 2514"/>
              <a:gd name="T85" fmla="*/ 2147483647 h 1164"/>
              <a:gd name="T86" fmla="*/ 2147483647 w 2514"/>
              <a:gd name="T87" fmla="*/ 2147483647 h 1164"/>
              <a:gd name="T88" fmla="*/ 2147483647 w 2514"/>
              <a:gd name="T89" fmla="*/ 2147483647 h 1164"/>
              <a:gd name="T90" fmla="*/ 2147483647 w 2514"/>
              <a:gd name="T91" fmla="*/ 2147483647 h 1164"/>
              <a:gd name="T92" fmla="*/ 2147483647 w 2514"/>
              <a:gd name="T93" fmla="*/ 2147483647 h 1164"/>
              <a:gd name="T94" fmla="*/ 2147483647 w 2514"/>
              <a:gd name="T95" fmla="*/ 2147483647 h 1164"/>
              <a:gd name="T96" fmla="*/ 2147483647 w 2514"/>
              <a:gd name="T97" fmla="*/ 2147483647 h 1164"/>
              <a:gd name="T98" fmla="*/ 2147483647 w 2514"/>
              <a:gd name="T99" fmla="*/ 2147483647 h 1164"/>
              <a:gd name="T100" fmla="*/ 2147483647 w 2514"/>
              <a:gd name="T101" fmla="*/ 2147483647 h 1164"/>
              <a:gd name="T102" fmla="*/ 2147483647 w 2514"/>
              <a:gd name="T103" fmla="*/ 2147483647 h 1164"/>
              <a:gd name="T104" fmla="*/ 2147483647 w 2514"/>
              <a:gd name="T105" fmla="*/ 2147483647 h 1164"/>
              <a:gd name="T106" fmla="*/ 2147483647 w 2514"/>
              <a:gd name="T107" fmla="*/ 2147483647 h 1164"/>
              <a:gd name="T108" fmla="*/ 2147483647 w 2514"/>
              <a:gd name="T109" fmla="*/ 2147483647 h 1164"/>
              <a:gd name="T110" fmla="*/ 2147483647 w 2514"/>
              <a:gd name="T111" fmla="*/ 2147483647 h 1164"/>
              <a:gd name="T112" fmla="*/ 2147483647 w 2514"/>
              <a:gd name="T113" fmla="*/ 2147483647 h 1164"/>
              <a:gd name="T114" fmla="*/ 2147483647 w 2514"/>
              <a:gd name="T115" fmla="*/ 2147483647 h 1164"/>
              <a:gd name="T116" fmla="*/ 2147483647 w 2514"/>
              <a:gd name="T117" fmla="*/ 2147483647 h 1164"/>
              <a:gd name="T118" fmla="*/ 2147483647 w 2514"/>
              <a:gd name="T119" fmla="*/ 2147483647 h 1164"/>
              <a:gd name="T120" fmla="*/ 2147483647 w 2514"/>
              <a:gd name="T121" fmla="*/ 2147483647 h 1164"/>
              <a:gd name="T122" fmla="*/ 2147483647 w 2514"/>
              <a:gd name="T123" fmla="*/ 2147483647 h 116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514"/>
              <a:gd name="T187" fmla="*/ 0 h 1164"/>
              <a:gd name="T188" fmla="*/ 2514 w 2514"/>
              <a:gd name="T189" fmla="*/ 1164 h 116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514" h="1164">
                <a:moveTo>
                  <a:pt x="852" y="756"/>
                </a:moveTo>
                <a:lnTo>
                  <a:pt x="840" y="744"/>
                </a:lnTo>
                <a:lnTo>
                  <a:pt x="822" y="768"/>
                </a:lnTo>
                <a:lnTo>
                  <a:pt x="816" y="780"/>
                </a:lnTo>
                <a:lnTo>
                  <a:pt x="870" y="804"/>
                </a:lnTo>
                <a:lnTo>
                  <a:pt x="870" y="786"/>
                </a:lnTo>
                <a:lnTo>
                  <a:pt x="864" y="780"/>
                </a:lnTo>
                <a:lnTo>
                  <a:pt x="858" y="768"/>
                </a:lnTo>
                <a:lnTo>
                  <a:pt x="858" y="762"/>
                </a:lnTo>
                <a:lnTo>
                  <a:pt x="852" y="756"/>
                </a:lnTo>
                <a:close/>
                <a:moveTo>
                  <a:pt x="2484" y="492"/>
                </a:moveTo>
                <a:lnTo>
                  <a:pt x="2484" y="486"/>
                </a:lnTo>
                <a:lnTo>
                  <a:pt x="2514" y="486"/>
                </a:lnTo>
                <a:lnTo>
                  <a:pt x="2478" y="444"/>
                </a:lnTo>
                <a:lnTo>
                  <a:pt x="2454" y="420"/>
                </a:lnTo>
                <a:lnTo>
                  <a:pt x="2442" y="456"/>
                </a:lnTo>
                <a:lnTo>
                  <a:pt x="2370" y="450"/>
                </a:lnTo>
                <a:lnTo>
                  <a:pt x="2370" y="444"/>
                </a:lnTo>
                <a:lnTo>
                  <a:pt x="2364" y="438"/>
                </a:lnTo>
                <a:lnTo>
                  <a:pt x="2358" y="426"/>
                </a:lnTo>
                <a:lnTo>
                  <a:pt x="2352" y="420"/>
                </a:lnTo>
                <a:lnTo>
                  <a:pt x="2346" y="408"/>
                </a:lnTo>
                <a:lnTo>
                  <a:pt x="2346" y="402"/>
                </a:lnTo>
                <a:lnTo>
                  <a:pt x="2340" y="402"/>
                </a:lnTo>
                <a:lnTo>
                  <a:pt x="2328" y="396"/>
                </a:lnTo>
                <a:lnTo>
                  <a:pt x="2316" y="396"/>
                </a:lnTo>
                <a:lnTo>
                  <a:pt x="2304" y="390"/>
                </a:lnTo>
                <a:lnTo>
                  <a:pt x="2292" y="390"/>
                </a:lnTo>
                <a:lnTo>
                  <a:pt x="2286" y="378"/>
                </a:lnTo>
                <a:lnTo>
                  <a:pt x="2274" y="372"/>
                </a:lnTo>
                <a:lnTo>
                  <a:pt x="2250" y="348"/>
                </a:lnTo>
                <a:lnTo>
                  <a:pt x="2226" y="336"/>
                </a:lnTo>
                <a:lnTo>
                  <a:pt x="2208" y="336"/>
                </a:lnTo>
                <a:lnTo>
                  <a:pt x="2196" y="342"/>
                </a:lnTo>
                <a:lnTo>
                  <a:pt x="2178" y="348"/>
                </a:lnTo>
                <a:lnTo>
                  <a:pt x="2166" y="354"/>
                </a:lnTo>
                <a:lnTo>
                  <a:pt x="2160" y="366"/>
                </a:lnTo>
                <a:lnTo>
                  <a:pt x="2136" y="366"/>
                </a:lnTo>
                <a:lnTo>
                  <a:pt x="2124" y="360"/>
                </a:lnTo>
                <a:lnTo>
                  <a:pt x="2118" y="348"/>
                </a:lnTo>
                <a:lnTo>
                  <a:pt x="2106" y="342"/>
                </a:lnTo>
                <a:lnTo>
                  <a:pt x="2076" y="342"/>
                </a:lnTo>
                <a:lnTo>
                  <a:pt x="2076" y="336"/>
                </a:lnTo>
                <a:lnTo>
                  <a:pt x="2070" y="330"/>
                </a:lnTo>
                <a:lnTo>
                  <a:pt x="2070" y="318"/>
                </a:lnTo>
                <a:lnTo>
                  <a:pt x="2064" y="312"/>
                </a:lnTo>
                <a:lnTo>
                  <a:pt x="2052" y="312"/>
                </a:lnTo>
                <a:lnTo>
                  <a:pt x="2052" y="318"/>
                </a:lnTo>
                <a:lnTo>
                  <a:pt x="2046" y="324"/>
                </a:lnTo>
                <a:lnTo>
                  <a:pt x="2046" y="336"/>
                </a:lnTo>
                <a:lnTo>
                  <a:pt x="2034" y="348"/>
                </a:lnTo>
                <a:lnTo>
                  <a:pt x="2022" y="354"/>
                </a:lnTo>
                <a:lnTo>
                  <a:pt x="2010" y="354"/>
                </a:lnTo>
                <a:lnTo>
                  <a:pt x="1998" y="348"/>
                </a:lnTo>
                <a:lnTo>
                  <a:pt x="1986" y="336"/>
                </a:lnTo>
                <a:lnTo>
                  <a:pt x="1974" y="318"/>
                </a:lnTo>
                <a:lnTo>
                  <a:pt x="1938" y="282"/>
                </a:lnTo>
                <a:lnTo>
                  <a:pt x="1920" y="258"/>
                </a:lnTo>
                <a:lnTo>
                  <a:pt x="1848" y="198"/>
                </a:lnTo>
                <a:lnTo>
                  <a:pt x="1818" y="168"/>
                </a:lnTo>
                <a:lnTo>
                  <a:pt x="1800" y="156"/>
                </a:lnTo>
                <a:lnTo>
                  <a:pt x="1788" y="150"/>
                </a:lnTo>
                <a:lnTo>
                  <a:pt x="1758" y="132"/>
                </a:lnTo>
                <a:lnTo>
                  <a:pt x="1728" y="120"/>
                </a:lnTo>
                <a:lnTo>
                  <a:pt x="1692" y="102"/>
                </a:lnTo>
                <a:lnTo>
                  <a:pt x="1698" y="102"/>
                </a:lnTo>
                <a:lnTo>
                  <a:pt x="1710" y="90"/>
                </a:lnTo>
                <a:lnTo>
                  <a:pt x="1710" y="72"/>
                </a:lnTo>
                <a:lnTo>
                  <a:pt x="1704" y="66"/>
                </a:lnTo>
                <a:lnTo>
                  <a:pt x="1698" y="66"/>
                </a:lnTo>
                <a:lnTo>
                  <a:pt x="1680" y="84"/>
                </a:lnTo>
                <a:lnTo>
                  <a:pt x="1644" y="96"/>
                </a:lnTo>
                <a:lnTo>
                  <a:pt x="1632" y="114"/>
                </a:lnTo>
                <a:lnTo>
                  <a:pt x="1620" y="114"/>
                </a:lnTo>
                <a:lnTo>
                  <a:pt x="1608" y="120"/>
                </a:lnTo>
                <a:lnTo>
                  <a:pt x="1602" y="126"/>
                </a:lnTo>
                <a:lnTo>
                  <a:pt x="1602" y="144"/>
                </a:lnTo>
                <a:lnTo>
                  <a:pt x="1590" y="156"/>
                </a:lnTo>
                <a:lnTo>
                  <a:pt x="1578" y="150"/>
                </a:lnTo>
                <a:lnTo>
                  <a:pt x="1572" y="144"/>
                </a:lnTo>
                <a:lnTo>
                  <a:pt x="1560" y="138"/>
                </a:lnTo>
                <a:lnTo>
                  <a:pt x="1554" y="132"/>
                </a:lnTo>
                <a:lnTo>
                  <a:pt x="1548" y="132"/>
                </a:lnTo>
                <a:lnTo>
                  <a:pt x="1542" y="138"/>
                </a:lnTo>
                <a:lnTo>
                  <a:pt x="1536" y="138"/>
                </a:lnTo>
                <a:lnTo>
                  <a:pt x="1530" y="144"/>
                </a:lnTo>
                <a:lnTo>
                  <a:pt x="1524" y="144"/>
                </a:lnTo>
                <a:lnTo>
                  <a:pt x="1524" y="138"/>
                </a:lnTo>
                <a:lnTo>
                  <a:pt x="1530" y="132"/>
                </a:lnTo>
                <a:lnTo>
                  <a:pt x="1530" y="108"/>
                </a:lnTo>
                <a:lnTo>
                  <a:pt x="1518" y="102"/>
                </a:lnTo>
                <a:lnTo>
                  <a:pt x="1512" y="102"/>
                </a:lnTo>
                <a:lnTo>
                  <a:pt x="1506" y="108"/>
                </a:lnTo>
                <a:lnTo>
                  <a:pt x="1482" y="96"/>
                </a:lnTo>
                <a:lnTo>
                  <a:pt x="1458" y="108"/>
                </a:lnTo>
                <a:lnTo>
                  <a:pt x="1434" y="72"/>
                </a:lnTo>
                <a:lnTo>
                  <a:pt x="1422" y="90"/>
                </a:lnTo>
                <a:lnTo>
                  <a:pt x="1404" y="90"/>
                </a:lnTo>
                <a:lnTo>
                  <a:pt x="1392" y="96"/>
                </a:lnTo>
                <a:lnTo>
                  <a:pt x="1374" y="96"/>
                </a:lnTo>
                <a:lnTo>
                  <a:pt x="1368" y="90"/>
                </a:lnTo>
                <a:lnTo>
                  <a:pt x="1368" y="48"/>
                </a:lnTo>
                <a:lnTo>
                  <a:pt x="1362" y="42"/>
                </a:lnTo>
                <a:lnTo>
                  <a:pt x="1350" y="42"/>
                </a:lnTo>
                <a:lnTo>
                  <a:pt x="1344" y="36"/>
                </a:lnTo>
                <a:lnTo>
                  <a:pt x="1338" y="24"/>
                </a:lnTo>
                <a:lnTo>
                  <a:pt x="1320" y="6"/>
                </a:lnTo>
                <a:lnTo>
                  <a:pt x="1314" y="6"/>
                </a:lnTo>
                <a:lnTo>
                  <a:pt x="1302" y="18"/>
                </a:lnTo>
                <a:lnTo>
                  <a:pt x="1290" y="18"/>
                </a:lnTo>
                <a:lnTo>
                  <a:pt x="1278" y="6"/>
                </a:lnTo>
                <a:lnTo>
                  <a:pt x="1260" y="6"/>
                </a:lnTo>
                <a:lnTo>
                  <a:pt x="1242" y="0"/>
                </a:lnTo>
                <a:lnTo>
                  <a:pt x="1218" y="0"/>
                </a:lnTo>
                <a:lnTo>
                  <a:pt x="1200" y="6"/>
                </a:lnTo>
                <a:lnTo>
                  <a:pt x="1188" y="12"/>
                </a:lnTo>
                <a:lnTo>
                  <a:pt x="1176" y="24"/>
                </a:lnTo>
                <a:lnTo>
                  <a:pt x="1176" y="36"/>
                </a:lnTo>
                <a:lnTo>
                  <a:pt x="1164" y="36"/>
                </a:lnTo>
                <a:lnTo>
                  <a:pt x="1110" y="54"/>
                </a:lnTo>
                <a:lnTo>
                  <a:pt x="1020" y="54"/>
                </a:lnTo>
                <a:lnTo>
                  <a:pt x="1014" y="60"/>
                </a:lnTo>
                <a:lnTo>
                  <a:pt x="1014" y="78"/>
                </a:lnTo>
                <a:lnTo>
                  <a:pt x="948" y="78"/>
                </a:lnTo>
                <a:lnTo>
                  <a:pt x="942" y="96"/>
                </a:lnTo>
                <a:lnTo>
                  <a:pt x="888" y="96"/>
                </a:lnTo>
                <a:lnTo>
                  <a:pt x="828" y="102"/>
                </a:lnTo>
                <a:lnTo>
                  <a:pt x="792" y="114"/>
                </a:lnTo>
                <a:lnTo>
                  <a:pt x="780" y="126"/>
                </a:lnTo>
                <a:lnTo>
                  <a:pt x="780" y="132"/>
                </a:lnTo>
                <a:lnTo>
                  <a:pt x="786" y="138"/>
                </a:lnTo>
                <a:lnTo>
                  <a:pt x="786" y="144"/>
                </a:lnTo>
                <a:lnTo>
                  <a:pt x="810" y="144"/>
                </a:lnTo>
                <a:lnTo>
                  <a:pt x="798" y="162"/>
                </a:lnTo>
                <a:lnTo>
                  <a:pt x="810" y="162"/>
                </a:lnTo>
                <a:lnTo>
                  <a:pt x="834" y="174"/>
                </a:lnTo>
                <a:lnTo>
                  <a:pt x="846" y="174"/>
                </a:lnTo>
                <a:lnTo>
                  <a:pt x="858" y="186"/>
                </a:lnTo>
                <a:lnTo>
                  <a:pt x="804" y="186"/>
                </a:lnTo>
                <a:lnTo>
                  <a:pt x="792" y="198"/>
                </a:lnTo>
                <a:lnTo>
                  <a:pt x="798" y="204"/>
                </a:lnTo>
                <a:lnTo>
                  <a:pt x="804" y="216"/>
                </a:lnTo>
                <a:lnTo>
                  <a:pt x="810" y="222"/>
                </a:lnTo>
                <a:lnTo>
                  <a:pt x="810" y="234"/>
                </a:lnTo>
                <a:lnTo>
                  <a:pt x="798" y="246"/>
                </a:lnTo>
                <a:lnTo>
                  <a:pt x="786" y="246"/>
                </a:lnTo>
                <a:lnTo>
                  <a:pt x="774" y="252"/>
                </a:lnTo>
                <a:lnTo>
                  <a:pt x="762" y="252"/>
                </a:lnTo>
                <a:lnTo>
                  <a:pt x="792" y="282"/>
                </a:lnTo>
                <a:lnTo>
                  <a:pt x="816" y="282"/>
                </a:lnTo>
                <a:lnTo>
                  <a:pt x="834" y="288"/>
                </a:lnTo>
                <a:lnTo>
                  <a:pt x="846" y="294"/>
                </a:lnTo>
                <a:lnTo>
                  <a:pt x="870" y="318"/>
                </a:lnTo>
                <a:lnTo>
                  <a:pt x="876" y="336"/>
                </a:lnTo>
                <a:lnTo>
                  <a:pt x="876" y="348"/>
                </a:lnTo>
                <a:lnTo>
                  <a:pt x="870" y="360"/>
                </a:lnTo>
                <a:lnTo>
                  <a:pt x="864" y="366"/>
                </a:lnTo>
                <a:lnTo>
                  <a:pt x="828" y="366"/>
                </a:lnTo>
                <a:lnTo>
                  <a:pt x="816" y="360"/>
                </a:lnTo>
                <a:lnTo>
                  <a:pt x="810" y="354"/>
                </a:lnTo>
                <a:lnTo>
                  <a:pt x="798" y="354"/>
                </a:lnTo>
                <a:lnTo>
                  <a:pt x="792" y="348"/>
                </a:lnTo>
                <a:lnTo>
                  <a:pt x="780" y="372"/>
                </a:lnTo>
                <a:lnTo>
                  <a:pt x="768" y="372"/>
                </a:lnTo>
                <a:lnTo>
                  <a:pt x="756" y="366"/>
                </a:lnTo>
                <a:lnTo>
                  <a:pt x="732" y="366"/>
                </a:lnTo>
                <a:lnTo>
                  <a:pt x="708" y="354"/>
                </a:lnTo>
                <a:lnTo>
                  <a:pt x="702" y="342"/>
                </a:lnTo>
                <a:lnTo>
                  <a:pt x="690" y="336"/>
                </a:lnTo>
                <a:lnTo>
                  <a:pt x="684" y="330"/>
                </a:lnTo>
                <a:lnTo>
                  <a:pt x="672" y="330"/>
                </a:lnTo>
                <a:lnTo>
                  <a:pt x="666" y="336"/>
                </a:lnTo>
                <a:lnTo>
                  <a:pt x="654" y="342"/>
                </a:lnTo>
                <a:lnTo>
                  <a:pt x="636" y="348"/>
                </a:lnTo>
                <a:lnTo>
                  <a:pt x="624" y="348"/>
                </a:lnTo>
                <a:lnTo>
                  <a:pt x="588" y="330"/>
                </a:lnTo>
                <a:lnTo>
                  <a:pt x="582" y="330"/>
                </a:lnTo>
                <a:lnTo>
                  <a:pt x="570" y="336"/>
                </a:lnTo>
                <a:lnTo>
                  <a:pt x="558" y="348"/>
                </a:lnTo>
                <a:lnTo>
                  <a:pt x="546" y="354"/>
                </a:lnTo>
                <a:lnTo>
                  <a:pt x="540" y="366"/>
                </a:lnTo>
                <a:lnTo>
                  <a:pt x="534" y="372"/>
                </a:lnTo>
                <a:lnTo>
                  <a:pt x="462" y="336"/>
                </a:lnTo>
                <a:lnTo>
                  <a:pt x="450" y="336"/>
                </a:lnTo>
                <a:lnTo>
                  <a:pt x="450" y="342"/>
                </a:lnTo>
                <a:lnTo>
                  <a:pt x="462" y="354"/>
                </a:lnTo>
                <a:lnTo>
                  <a:pt x="462" y="372"/>
                </a:lnTo>
                <a:lnTo>
                  <a:pt x="450" y="372"/>
                </a:lnTo>
                <a:lnTo>
                  <a:pt x="438" y="360"/>
                </a:lnTo>
                <a:lnTo>
                  <a:pt x="438" y="354"/>
                </a:lnTo>
                <a:lnTo>
                  <a:pt x="426" y="324"/>
                </a:lnTo>
                <a:lnTo>
                  <a:pt x="390" y="324"/>
                </a:lnTo>
                <a:lnTo>
                  <a:pt x="384" y="312"/>
                </a:lnTo>
                <a:lnTo>
                  <a:pt x="384" y="306"/>
                </a:lnTo>
                <a:lnTo>
                  <a:pt x="378" y="300"/>
                </a:lnTo>
                <a:lnTo>
                  <a:pt x="318" y="300"/>
                </a:lnTo>
                <a:lnTo>
                  <a:pt x="312" y="288"/>
                </a:lnTo>
                <a:lnTo>
                  <a:pt x="306" y="282"/>
                </a:lnTo>
                <a:lnTo>
                  <a:pt x="288" y="282"/>
                </a:lnTo>
                <a:lnTo>
                  <a:pt x="276" y="288"/>
                </a:lnTo>
                <a:lnTo>
                  <a:pt x="264" y="300"/>
                </a:lnTo>
                <a:lnTo>
                  <a:pt x="234" y="300"/>
                </a:lnTo>
                <a:lnTo>
                  <a:pt x="228" y="294"/>
                </a:lnTo>
                <a:lnTo>
                  <a:pt x="228" y="288"/>
                </a:lnTo>
                <a:lnTo>
                  <a:pt x="222" y="288"/>
                </a:lnTo>
                <a:lnTo>
                  <a:pt x="210" y="282"/>
                </a:lnTo>
                <a:lnTo>
                  <a:pt x="180" y="282"/>
                </a:lnTo>
                <a:lnTo>
                  <a:pt x="180" y="288"/>
                </a:lnTo>
                <a:lnTo>
                  <a:pt x="186" y="294"/>
                </a:lnTo>
                <a:lnTo>
                  <a:pt x="186" y="312"/>
                </a:lnTo>
                <a:lnTo>
                  <a:pt x="174" y="324"/>
                </a:lnTo>
                <a:lnTo>
                  <a:pt x="162" y="330"/>
                </a:lnTo>
                <a:lnTo>
                  <a:pt x="150" y="330"/>
                </a:lnTo>
                <a:lnTo>
                  <a:pt x="138" y="336"/>
                </a:lnTo>
                <a:lnTo>
                  <a:pt x="132" y="336"/>
                </a:lnTo>
                <a:lnTo>
                  <a:pt x="132" y="360"/>
                </a:lnTo>
                <a:lnTo>
                  <a:pt x="102" y="372"/>
                </a:lnTo>
                <a:lnTo>
                  <a:pt x="114" y="384"/>
                </a:lnTo>
                <a:lnTo>
                  <a:pt x="120" y="396"/>
                </a:lnTo>
                <a:lnTo>
                  <a:pt x="114" y="402"/>
                </a:lnTo>
                <a:lnTo>
                  <a:pt x="108" y="414"/>
                </a:lnTo>
                <a:lnTo>
                  <a:pt x="102" y="420"/>
                </a:lnTo>
                <a:lnTo>
                  <a:pt x="90" y="420"/>
                </a:lnTo>
                <a:lnTo>
                  <a:pt x="78" y="414"/>
                </a:lnTo>
                <a:lnTo>
                  <a:pt x="72" y="402"/>
                </a:lnTo>
                <a:lnTo>
                  <a:pt x="60" y="396"/>
                </a:lnTo>
                <a:lnTo>
                  <a:pt x="48" y="384"/>
                </a:lnTo>
                <a:lnTo>
                  <a:pt x="36" y="378"/>
                </a:lnTo>
                <a:lnTo>
                  <a:pt x="24" y="378"/>
                </a:lnTo>
                <a:lnTo>
                  <a:pt x="18" y="384"/>
                </a:lnTo>
                <a:lnTo>
                  <a:pt x="18" y="396"/>
                </a:lnTo>
                <a:lnTo>
                  <a:pt x="24" y="402"/>
                </a:lnTo>
                <a:lnTo>
                  <a:pt x="24" y="426"/>
                </a:lnTo>
                <a:lnTo>
                  <a:pt x="0" y="426"/>
                </a:lnTo>
                <a:lnTo>
                  <a:pt x="6" y="462"/>
                </a:lnTo>
                <a:lnTo>
                  <a:pt x="12" y="468"/>
                </a:lnTo>
                <a:lnTo>
                  <a:pt x="12" y="492"/>
                </a:lnTo>
                <a:lnTo>
                  <a:pt x="0" y="516"/>
                </a:lnTo>
                <a:lnTo>
                  <a:pt x="0" y="546"/>
                </a:lnTo>
                <a:lnTo>
                  <a:pt x="6" y="546"/>
                </a:lnTo>
                <a:lnTo>
                  <a:pt x="12" y="552"/>
                </a:lnTo>
                <a:lnTo>
                  <a:pt x="36" y="552"/>
                </a:lnTo>
                <a:lnTo>
                  <a:pt x="42" y="558"/>
                </a:lnTo>
                <a:lnTo>
                  <a:pt x="42" y="588"/>
                </a:lnTo>
                <a:lnTo>
                  <a:pt x="48" y="594"/>
                </a:lnTo>
                <a:lnTo>
                  <a:pt x="90" y="594"/>
                </a:lnTo>
                <a:lnTo>
                  <a:pt x="102" y="588"/>
                </a:lnTo>
                <a:lnTo>
                  <a:pt x="114" y="588"/>
                </a:lnTo>
                <a:lnTo>
                  <a:pt x="162" y="636"/>
                </a:lnTo>
                <a:lnTo>
                  <a:pt x="168" y="648"/>
                </a:lnTo>
                <a:lnTo>
                  <a:pt x="180" y="660"/>
                </a:lnTo>
                <a:lnTo>
                  <a:pt x="180" y="672"/>
                </a:lnTo>
                <a:lnTo>
                  <a:pt x="144" y="672"/>
                </a:lnTo>
                <a:lnTo>
                  <a:pt x="144" y="678"/>
                </a:lnTo>
                <a:lnTo>
                  <a:pt x="156" y="690"/>
                </a:lnTo>
                <a:lnTo>
                  <a:pt x="174" y="696"/>
                </a:lnTo>
                <a:lnTo>
                  <a:pt x="186" y="696"/>
                </a:lnTo>
                <a:lnTo>
                  <a:pt x="192" y="702"/>
                </a:lnTo>
                <a:lnTo>
                  <a:pt x="198" y="702"/>
                </a:lnTo>
                <a:lnTo>
                  <a:pt x="204" y="690"/>
                </a:lnTo>
                <a:lnTo>
                  <a:pt x="222" y="690"/>
                </a:lnTo>
                <a:lnTo>
                  <a:pt x="228" y="684"/>
                </a:lnTo>
                <a:lnTo>
                  <a:pt x="246" y="672"/>
                </a:lnTo>
                <a:lnTo>
                  <a:pt x="306" y="648"/>
                </a:lnTo>
                <a:lnTo>
                  <a:pt x="324" y="642"/>
                </a:lnTo>
                <a:lnTo>
                  <a:pt x="336" y="648"/>
                </a:lnTo>
                <a:lnTo>
                  <a:pt x="342" y="654"/>
                </a:lnTo>
                <a:lnTo>
                  <a:pt x="360" y="666"/>
                </a:lnTo>
                <a:lnTo>
                  <a:pt x="366" y="672"/>
                </a:lnTo>
                <a:lnTo>
                  <a:pt x="384" y="672"/>
                </a:lnTo>
                <a:lnTo>
                  <a:pt x="390" y="666"/>
                </a:lnTo>
                <a:lnTo>
                  <a:pt x="402" y="666"/>
                </a:lnTo>
                <a:lnTo>
                  <a:pt x="408" y="660"/>
                </a:lnTo>
                <a:lnTo>
                  <a:pt x="414" y="666"/>
                </a:lnTo>
                <a:lnTo>
                  <a:pt x="426" y="672"/>
                </a:lnTo>
                <a:lnTo>
                  <a:pt x="450" y="696"/>
                </a:lnTo>
                <a:lnTo>
                  <a:pt x="450" y="726"/>
                </a:lnTo>
                <a:lnTo>
                  <a:pt x="444" y="732"/>
                </a:lnTo>
                <a:lnTo>
                  <a:pt x="444" y="738"/>
                </a:lnTo>
                <a:lnTo>
                  <a:pt x="438" y="744"/>
                </a:lnTo>
                <a:lnTo>
                  <a:pt x="438" y="750"/>
                </a:lnTo>
                <a:lnTo>
                  <a:pt x="444" y="756"/>
                </a:lnTo>
                <a:lnTo>
                  <a:pt x="450" y="768"/>
                </a:lnTo>
                <a:lnTo>
                  <a:pt x="462" y="774"/>
                </a:lnTo>
                <a:lnTo>
                  <a:pt x="474" y="786"/>
                </a:lnTo>
                <a:lnTo>
                  <a:pt x="486" y="786"/>
                </a:lnTo>
                <a:lnTo>
                  <a:pt x="504" y="768"/>
                </a:lnTo>
                <a:lnTo>
                  <a:pt x="516" y="762"/>
                </a:lnTo>
                <a:lnTo>
                  <a:pt x="528" y="762"/>
                </a:lnTo>
                <a:lnTo>
                  <a:pt x="528" y="792"/>
                </a:lnTo>
                <a:lnTo>
                  <a:pt x="546" y="810"/>
                </a:lnTo>
                <a:lnTo>
                  <a:pt x="510" y="816"/>
                </a:lnTo>
                <a:lnTo>
                  <a:pt x="510" y="828"/>
                </a:lnTo>
                <a:lnTo>
                  <a:pt x="504" y="834"/>
                </a:lnTo>
                <a:lnTo>
                  <a:pt x="498" y="834"/>
                </a:lnTo>
                <a:lnTo>
                  <a:pt x="486" y="822"/>
                </a:lnTo>
                <a:lnTo>
                  <a:pt x="486" y="816"/>
                </a:lnTo>
                <a:lnTo>
                  <a:pt x="498" y="804"/>
                </a:lnTo>
                <a:lnTo>
                  <a:pt x="504" y="804"/>
                </a:lnTo>
                <a:lnTo>
                  <a:pt x="510" y="798"/>
                </a:lnTo>
                <a:lnTo>
                  <a:pt x="480" y="798"/>
                </a:lnTo>
                <a:lnTo>
                  <a:pt x="462" y="792"/>
                </a:lnTo>
                <a:lnTo>
                  <a:pt x="450" y="792"/>
                </a:lnTo>
                <a:lnTo>
                  <a:pt x="432" y="786"/>
                </a:lnTo>
                <a:lnTo>
                  <a:pt x="408" y="786"/>
                </a:lnTo>
                <a:lnTo>
                  <a:pt x="390" y="780"/>
                </a:lnTo>
                <a:lnTo>
                  <a:pt x="372" y="780"/>
                </a:lnTo>
                <a:lnTo>
                  <a:pt x="360" y="774"/>
                </a:lnTo>
                <a:lnTo>
                  <a:pt x="348" y="774"/>
                </a:lnTo>
                <a:lnTo>
                  <a:pt x="360" y="804"/>
                </a:lnTo>
                <a:lnTo>
                  <a:pt x="342" y="804"/>
                </a:lnTo>
                <a:lnTo>
                  <a:pt x="330" y="816"/>
                </a:lnTo>
                <a:lnTo>
                  <a:pt x="330" y="822"/>
                </a:lnTo>
                <a:lnTo>
                  <a:pt x="336" y="828"/>
                </a:lnTo>
                <a:lnTo>
                  <a:pt x="348" y="834"/>
                </a:lnTo>
                <a:lnTo>
                  <a:pt x="354" y="840"/>
                </a:lnTo>
                <a:lnTo>
                  <a:pt x="366" y="840"/>
                </a:lnTo>
                <a:lnTo>
                  <a:pt x="372" y="846"/>
                </a:lnTo>
                <a:lnTo>
                  <a:pt x="372" y="852"/>
                </a:lnTo>
                <a:lnTo>
                  <a:pt x="360" y="852"/>
                </a:lnTo>
                <a:lnTo>
                  <a:pt x="348" y="846"/>
                </a:lnTo>
                <a:lnTo>
                  <a:pt x="336" y="846"/>
                </a:lnTo>
                <a:lnTo>
                  <a:pt x="324" y="840"/>
                </a:lnTo>
                <a:lnTo>
                  <a:pt x="306" y="834"/>
                </a:lnTo>
                <a:lnTo>
                  <a:pt x="300" y="834"/>
                </a:lnTo>
                <a:lnTo>
                  <a:pt x="294" y="840"/>
                </a:lnTo>
                <a:lnTo>
                  <a:pt x="294" y="846"/>
                </a:lnTo>
                <a:lnTo>
                  <a:pt x="306" y="858"/>
                </a:lnTo>
                <a:lnTo>
                  <a:pt x="318" y="864"/>
                </a:lnTo>
                <a:lnTo>
                  <a:pt x="324" y="870"/>
                </a:lnTo>
                <a:lnTo>
                  <a:pt x="336" y="870"/>
                </a:lnTo>
                <a:lnTo>
                  <a:pt x="336" y="882"/>
                </a:lnTo>
                <a:lnTo>
                  <a:pt x="342" y="894"/>
                </a:lnTo>
                <a:lnTo>
                  <a:pt x="366" y="918"/>
                </a:lnTo>
                <a:lnTo>
                  <a:pt x="372" y="930"/>
                </a:lnTo>
                <a:lnTo>
                  <a:pt x="372" y="954"/>
                </a:lnTo>
                <a:lnTo>
                  <a:pt x="408" y="960"/>
                </a:lnTo>
                <a:lnTo>
                  <a:pt x="414" y="978"/>
                </a:lnTo>
                <a:lnTo>
                  <a:pt x="444" y="978"/>
                </a:lnTo>
                <a:lnTo>
                  <a:pt x="480" y="996"/>
                </a:lnTo>
                <a:lnTo>
                  <a:pt x="486" y="1002"/>
                </a:lnTo>
                <a:lnTo>
                  <a:pt x="486" y="1014"/>
                </a:lnTo>
                <a:lnTo>
                  <a:pt x="480" y="1020"/>
                </a:lnTo>
                <a:lnTo>
                  <a:pt x="468" y="1026"/>
                </a:lnTo>
                <a:lnTo>
                  <a:pt x="462" y="1038"/>
                </a:lnTo>
                <a:lnTo>
                  <a:pt x="462" y="1056"/>
                </a:lnTo>
                <a:lnTo>
                  <a:pt x="468" y="1062"/>
                </a:lnTo>
                <a:lnTo>
                  <a:pt x="492" y="1062"/>
                </a:lnTo>
                <a:lnTo>
                  <a:pt x="498" y="1056"/>
                </a:lnTo>
                <a:lnTo>
                  <a:pt x="504" y="1038"/>
                </a:lnTo>
                <a:lnTo>
                  <a:pt x="510" y="1026"/>
                </a:lnTo>
                <a:lnTo>
                  <a:pt x="516" y="1020"/>
                </a:lnTo>
                <a:lnTo>
                  <a:pt x="528" y="1020"/>
                </a:lnTo>
                <a:lnTo>
                  <a:pt x="546" y="1026"/>
                </a:lnTo>
                <a:lnTo>
                  <a:pt x="546" y="1020"/>
                </a:lnTo>
                <a:lnTo>
                  <a:pt x="552" y="1014"/>
                </a:lnTo>
                <a:lnTo>
                  <a:pt x="570" y="1014"/>
                </a:lnTo>
                <a:lnTo>
                  <a:pt x="594" y="1026"/>
                </a:lnTo>
                <a:lnTo>
                  <a:pt x="606" y="1026"/>
                </a:lnTo>
                <a:lnTo>
                  <a:pt x="618" y="1038"/>
                </a:lnTo>
                <a:lnTo>
                  <a:pt x="630" y="1044"/>
                </a:lnTo>
                <a:lnTo>
                  <a:pt x="636" y="1056"/>
                </a:lnTo>
                <a:lnTo>
                  <a:pt x="642" y="1062"/>
                </a:lnTo>
                <a:lnTo>
                  <a:pt x="648" y="1074"/>
                </a:lnTo>
                <a:lnTo>
                  <a:pt x="672" y="1098"/>
                </a:lnTo>
                <a:lnTo>
                  <a:pt x="684" y="1104"/>
                </a:lnTo>
                <a:lnTo>
                  <a:pt x="690" y="1110"/>
                </a:lnTo>
                <a:lnTo>
                  <a:pt x="696" y="1104"/>
                </a:lnTo>
                <a:lnTo>
                  <a:pt x="696" y="1098"/>
                </a:lnTo>
                <a:lnTo>
                  <a:pt x="702" y="1092"/>
                </a:lnTo>
                <a:lnTo>
                  <a:pt x="654" y="810"/>
                </a:lnTo>
                <a:lnTo>
                  <a:pt x="798" y="768"/>
                </a:lnTo>
                <a:lnTo>
                  <a:pt x="804" y="774"/>
                </a:lnTo>
                <a:lnTo>
                  <a:pt x="804" y="762"/>
                </a:lnTo>
                <a:lnTo>
                  <a:pt x="810" y="756"/>
                </a:lnTo>
                <a:lnTo>
                  <a:pt x="810" y="750"/>
                </a:lnTo>
                <a:lnTo>
                  <a:pt x="816" y="738"/>
                </a:lnTo>
                <a:lnTo>
                  <a:pt x="816" y="732"/>
                </a:lnTo>
                <a:lnTo>
                  <a:pt x="822" y="726"/>
                </a:lnTo>
                <a:lnTo>
                  <a:pt x="846" y="726"/>
                </a:lnTo>
                <a:lnTo>
                  <a:pt x="852" y="750"/>
                </a:lnTo>
                <a:lnTo>
                  <a:pt x="864" y="744"/>
                </a:lnTo>
                <a:lnTo>
                  <a:pt x="870" y="744"/>
                </a:lnTo>
                <a:lnTo>
                  <a:pt x="876" y="738"/>
                </a:lnTo>
                <a:lnTo>
                  <a:pt x="876" y="732"/>
                </a:lnTo>
                <a:lnTo>
                  <a:pt x="852" y="708"/>
                </a:lnTo>
                <a:lnTo>
                  <a:pt x="870" y="708"/>
                </a:lnTo>
                <a:lnTo>
                  <a:pt x="882" y="720"/>
                </a:lnTo>
                <a:lnTo>
                  <a:pt x="936" y="720"/>
                </a:lnTo>
                <a:lnTo>
                  <a:pt x="924" y="708"/>
                </a:lnTo>
                <a:lnTo>
                  <a:pt x="918" y="708"/>
                </a:lnTo>
                <a:lnTo>
                  <a:pt x="906" y="696"/>
                </a:lnTo>
                <a:lnTo>
                  <a:pt x="882" y="696"/>
                </a:lnTo>
                <a:lnTo>
                  <a:pt x="876" y="690"/>
                </a:lnTo>
                <a:lnTo>
                  <a:pt x="876" y="684"/>
                </a:lnTo>
                <a:lnTo>
                  <a:pt x="882" y="678"/>
                </a:lnTo>
                <a:lnTo>
                  <a:pt x="906" y="678"/>
                </a:lnTo>
                <a:lnTo>
                  <a:pt x="924" y="666"/>
                </a:lnTo>
                <a:lnTo>
                  <a:pt x="930" y="672"/>
                </a:lnTo>
                <a:lnTo>
                  <a:pt x="936" y="684"/>
                </a:lnTo>
                <a:lnTo>
                  <a:pt x="942" y="690"/>
                </a:lnTo>
                <a:lnTo>
                  <a:pt x="948" y="690"/>
                </a:lnTo>
                <a:lnTo>
                  <a:pt x="954" y="684"/>
                </a:lnTo>
                <a:lnTo>
                  <a:pt x="960" y="690"/>
                </a:lnTo>
                <a:lnTo>
                  <a:pt x="966" y="702"/>
                </a:lnTo>
                <a:lnTo>
                  <a:pt x="966" y="708"/>
                </a:lnTo>
                <a:lnTo>
                  <a:pt x="960" y="714"/>
                </a:lnTo>
                <a:lnTo>
                  <a:pt x="954" y="714"/>
                </a:lnTo>
                <a:lnTo>
                  <a:pt x="942" y="720"/>
                </a:lnTo>
                <a:lnTo>
                  <a:pt x="924" y="738"/>
                </a:lnTo>
                <a:lnTo>
                  <a:pt x="888" y="738"/>
                </a:lnTo>
                <a:lnTo>
                  <a:pt x="882" y="744"/>
                </a:lnTo>
                <a:lnTo>
                  <a:pt x="882" y="756"/>
                </a:lnTo>
                <a:lnTo>
                  <a:pt x="888" y="762"/>
                </a:lnTo>
                <a:lnTo>
                  <a:pt x="900" y="762"/>
                </a:lnTo>
                <a:lnTo>
                  <a:pt x="906" y="768"/>
                </a:lnTo>
                <a:lnTo>
                  <a:pt x="918" y="768"/>
                </a:lnTo>
                <a:lnTo>
                  <a:pt x="918" y="786"/>
                </a:lnTo>
                <a:lnTo>
                  <a:pt x="912" y="798"/>
                </a:lnTo>
                <a:lnTo>
                  <a:pt x="912" y="816"/>
                </a:lnTo>
                <a:lnTo>
                  <a:pt x="918" y="822"/>
                </a:lnTo>
                <a:lnTo>
                  <a:pt x="984" y="858"/>
                </a:lnTo>
                <a:lnTo>
                  <a:pt x="1062" y="930"/>
                </a:lnTo>
                <a:lnTo>
                  <a:pt x="1068" y="930"/>
                </a:lnTo>
                <a:lnTo>
                  <a:pt x="1074" y="924"/>
                </a:lnTo>
                <a:lnTo>
                  <a:pt x="1110" y="924"/>
                </a:lnTo>
                <a:lnTo>
                  <a:pt x="1128" y="918"/>
                </a:lnTo>
                <a:lnTo>
                  <a:pt x="1188" y="918"/>
                </a:lnTo>
                <a:lnTo>
                  <a:pt x="1206" y="924"/>
                </a:lnTo>
                <a:lnTo>
                  <a:pt x="1224" y="924"/>
                </a:lnTo>
                <a:lnTo>
                  <a:pt x="1230" y="918"/>
                </a:lnTo>
                <a:lnTo>
                  <a:pt x="1254" y="906"/>
                </a:lnTo>
                <a:lnTo>
                  <a:pt x="1266" y="906"/>
                </a:lnTo>
                <a:lnTo>
                  <a:pt x="1272" y="918"/>
                </a:lnTo>
                <a:lnTo>
                  <a:pt x="1290" y="936"/>
                </a:lnTo>
                <a:lnTo>
                  <a:pt x="1296" y="954"/>
                </a:lnTo>
                <a:lnTo>
                  <a:pt x="1308" y="960"/>
                </a:lnTo>
                <a:lnTo>
                  <a:pt x="1314" y="972"/>
                </a:lnTo>
                <a:lnTo>
                  <a:pt x="1344" y="972"/>
                </a:lnTo>
                <a:lnTo>
                  <a:pt x="1344" y="984"/>
                </a:lnTo>
                <a:lnTo>
                  <a:pt x="1350" y="1002"/>
                </a:lnTo>
                <a:lnTo>
                  <a:pt x="1350" y="1044"/>
                </a:lnTo>
                <a:lnTo>
                  <a:pt x="1356" y="1050"/>
                </a:lnTo>
                <a:lnTo>
                  <a:pt x="1362" y="1050"/>
                </a:lnTo>
                <a:lnTo>
                  <a:pt x="1368" y="1044"/>
                </a:lnTo>
                <a:lnTo>
                  <a:pt x="1380" y="1044"/>
                </a:lnTo>
                <a:lnTo>
                  <a:pt x="1386" y="1050"/>
                </a:lnTo>
                <a:lnTo>
                  <a:pt x="1416" y="1110"/>
                </a:lnTo>
                <a:lnTo>
                  <a:pt x="1494" y="1110"/>
                </a:lnTo>
                <a:lnTo>
                  <a:pt x="1512" y="1116"/>
                </a:lnTo>
                <a:lnTo>
                  <a:pt x="1512" y="1134"/>
                </a:lnTo>
                <a:lnTo>
                  <a:pt x="1506" y="1140"/>
                </a:lnTo>
                <a:lnTo>
                  <a:pt x="1506" y="1152"/>
                </a:lnTo>
                <a:lnTo>
                  <a:pt x="1512" y="1152"/>
                </a:lnTo>
                <a:lnTo>
                  <a:pt x="1524" y="1158"/>
                </a:lnTo>
                <a:lnTo>
                  <a:pt x="1536" y="1158"/>
                </a:lnTo>
                <a:lnTo>
                  <a:pt x="1542" y="1164"/>
                </a:lnTo>
                <a:lnTo>
                  <a:pt x="1542" y="1152"/>
                </a:lnTo>
                <a:lnTo>
                  <a:pt x="1536" y="1146"/>
                </a:lnTo>
                <a:lnTo>
                  <a:pt x="1536" y="1134"/>
                </a:lnTo>
                <a:lnTo>
                  <a:pt x="1548" y="1122"/>
                </a:lnTo>
                <a:lnTo>
                  <a:pt x="1560" y="1116"/>
                </a:lnTo>
                <a:lnTo>
                  <a:pt x="1566" y="1110"/>
                </a:lnTo>
                <a:lnTo>
                  <a:pt x="1572" y="1110"/>
                </a:lnTo>
                <a:lnTo>
                  <a:pt x="1572" y="1092"/>
                </a:lnTo>
                <a:lnTo>
                  <a:pt x="1584" y="1080"/>
                </a:lnTo>
                <a:lnTo>
                  <a:pt x="1596" y="1074"/>
                </a:lnTo>
                <a:lnTo>
                  <a:pt x="1608" y="1074"/>
                </a:lnTo>
                <a:lnTo>
                  <a:pt x="1614" y="1068"/>
                </a:lnTo>
                <a:lnTo>
                  <a:pt x="1620" y="1068"/>
                </a:lnTo>
                <a:lnTo>
                  <a:pt x="1632" y="1044"/>
                </a:lnTo>
                <a:lnTo>
                  <a:pt x="1656" y="1044"/>
                </a:lnTo>
                <a:lnTo>
                  <a:pt x="1686" y="1026"/>
                </a:lnTo>
                <a:lnTo>
                  <a:pt x="1662" y="1026"/>
                </a:lnTo>
                <a:lnTo>
                  <a:pt x="1662" y="1008"/>
                </a:lnTo>
                <a:lnTo>
                  <a:pt x="1668" y="996"/>
                </a:lnTo>
                <a:lnTo>
                  <a:pt x="1686" y="978"/>
                </a:lnTo>
                <a:lnTo>
                  <a:pt x="1716" y="978"/>
                </a:lnTo>
                <a:lnTo>
                  <a:pt x="1728" y="984"/>
                </a:lnTo>
                <a:lnTo>
                  <a:pt x="1746" y="990"/>
                </a:lnTo>
                <a:lnTo>
                  <a:pt x="1782" y="1008"/>
                </a:lnTo>
                <a:lnTo>
                  <a:pt x="1812" y="1008"/>
                </a:lnTo>
                <a:lnTo>
                  <a:pt x="1830" y="1014"/>
                </a:lnTo>
                <a:lnTo>
                  <a:pt x="1830" y="1002"/>
                </a:lnTo>
                <a:lnTo>
                  <a:pt x="1824" y="990"/>
                </a:lnTo>
                <a:lnTo>
                  <a:pt x="1824" y="960"/>
                </a:lnTo>
                <a:lnTo>
                  <a:pt x="1830" y="954"/>
                </a:lnTo>
                <a:lnTo>
                  <a:pt x="1872" y="954"/>
                </a:lnTo>
                <a:lnTo>
                  <a:pt x="1884" y="960"/>
                </a:lnTo>
                <a:lnTo>
                  <a:pt x="1890" y="972"/>
                </a:lnTo>
                <a:lnTo>
                  <a:pt x="1914" y="972"/>
                </a:lnTo>
                <a:lnTo>
                  <a:pt x="1926" y="978"/>
                </a:lnTo>
                <a:lnTo>
                  <a:pt x="1944" y="978"/>
                </a:lnTo>
                <a:lnTo>
                  <a:pt x="1962" y="972"/>
                </a:lnTo>
                <a:lnTo>
                  <a:pt x="2082" y="972"/>
                </a:lnTo>
                <a:lnTo>
                  <a:pt x="2094" y="978"/>
                </a:lnTo>
                <a:lnTo>
                  <a:pt x="2106" y="978"/>
                </a:lnTo>
                <a:lnTo>
                  <a:pt x="2154" y="972"/>
                </a:lnTo>
                <a:lnTo>
                  <a:pt x="2166" y="984"/>
                </a:lnTo>
                <a:lnTo>
                  <a:pt x="2184" y="984"/>
                </a:lnTo>
                <a:lnTo>
                  <a:pt x="2208" y="1014"/>
                </a:lnTo>
                <a:lnTo>
                  <a:pt x="2250" y="1014"/>
                </a:lnTo>
                <a:lnTo>
                  <a:pt x="2268" y="1020"/>
                </a:lnTo>
                <a:lnTo>
                  <a:pt x="2262" y="1014"/>
                </a:lnTo>
                <a:lnTo>
                  <a:pt x="2262" y="1002"/>
                </a:lnTo>
                <a:lnTo>
                  <a:pt x="2256" y="996"/>
                </a:lnTo>
                <a:lnTo>
                  <a:pt x="2256" y="984"/>
                </a:lnTo>
                <a:lnTo>
                  <a:pt x="2280" y="984"/>
                </a:lnTo>
                <a:lnTo>
                  <a:pt x="2262" y="966"/>
                </a:lnTo>
                <a:lnTo>
                  <a:pt x="2262" y="960"/>
                </a:lnTo>
                <a:lnTo>
                  <a:pt x="2268" y="954"/>
                </a:lnTo>
                <a:lnTo>
                  <a:pt x="2286" y="954"/>
                </a:lnTo>
                <a:lnTo>
                  <a:pt x="2286" y="942"/>
                </a:lnTo>
                <a:lnTo>
                  <a:pt x="2274" y="936"/>
                </a:lnTo>
                <a:lnTo>
                  <a:pt x="2268" y="924"/>
                </a:lnTo>
                <a:lnTo>
                  <a:pt x="2226" y="882"/>
                </a:lnTo>
                <a:lnTo>
                  <a:pt x="2214" y="858"/>
                </a:lnTo>
                <a:lnTo>
                  <a:pt x="2214" y="828"/>
                </a:lnTo>
                <a:lnTo>
                  <a:pt x="2196" y="828"/>
                </a:lnTo>
                <a:lnTo>
                  <a:pt x="2184" y="822"/>
                </a:lnTo>
                <a:lnTo>
                  <a:pt x="2178" y="816"/>
                </a:lnTo>
                <a:lnTo>
                  <a:pt x="2178" y="810"/>
                </a:lnTo>
                <a:lnTo>
                  <a:pt x="2184" y="804"/>
                </a:lnTo>
                <a:lnTo>
                  <a:pt x="2196" y="798"/>
                </a:lnTo>
                <a:lnTo>
                  <a:pt x="2208" y="798"/>
                </a:lnTo>
                <a:lnTo>
                  <a:pt x="2220" y="792"/>
                </a:lnTo>
                <a:lnTo>
                  <a:pt x="2232" y="792"/>
                </a:lnTo>
                <a:lnTo>
                  <a:pt x="2268" y="774"/>
                </a:lnTo>
                <a:lnTo>
                  <a:pt x="2280" y="774"/>
                </a:lnTo>
                <a:lnTo>
                  <a:pt x="2286" y="780"/>
                </a:lnTo>
                <a:lnTo>
                  <a:pt x="2292" y="792"/>
                </a:lnTo>
                <a:lnTo>
                  <a:pt x="2298" y="798"/>
                </a:lnTo>
                <a:lnTo>
                  <a:pt x="2316" y="786"/>
                </a:lnTo>
                <a:lnTo>
                  <a:pt x="2328" y="798"/>
                </a:lnTo>
                <a:lnTo>
                  <a:pt x="2334" y="798"/>
                </a:lnTo>
                <a:lnTo>
                  <a:pt x="2340" y="792"/>
                </a:lnTo>
                <a:lnTo>
                  <a:pt x="2340" y="780"/>
                </a:lnTo>
                <a:lnTo>
                  <a:pt x="2334" y="774"/>
                </a:lnTo>
                <a:lnTo>
                  <a:pt x="2328" y="774"/>
                </a:lnTo>
                <a:lnTo>
                  <a:pt x="2322" y="768"/>
                </a:lnTo>
                <a:lnTo>
                  <a:pt x="2316" y="768"/>
                </a:lnTo>
                <a:lnTo>
                  <a:pt x="2316" y="630"/>
                </a:lnTo>
                <a:lnTo>
                  <a:pt x="2328" y="630"/>
                </a:lnTo>
                <a:lnTo>
                  <a:pt x="2340" y="636"/>
                </a:lnTo>
                <a:lnTo>
                  <a:pt x="2352" y="636"/>
                </a:lnTo>
                <a:lnTo>
                  <a:pt x="2376" y="648"/>
                </a:lnTo>
                <a:lnTo>
                  <a:pt x="2424" y="648"/>
                </a:lnTo>
                <a:lnTo>
                  <a:pt x="2436" y="660"/>
                </a:lnTo>
                <a:lnTo>
                  <a:pt x="2454" y="642"/>
                </a:lnTo>
                <a:lnTo>
                  <a:pt x="2472" y="642"/>
                </a:lnTo>
                <a:lnTo>
                  <a:pt x="2478" y="636"/>
                </a:lnTo>
                <a:lnTo>
                  <a:pt x="2478" y="618"/>
                </a:lnTo>
                <a:lnTo>
                  <a:pt x="2466" y="594"/>
                </a:lnTo>
                <a:lnTo>
                  <a:pt x="2454" y="582"/>
                </a:lnTo>
                <a:lnTo>
                  <a:pt x="2442" y="558"/>
                </a:lnTo>
                <a:lnTo>
                  <a:pt x="2442" y="540"/>
                </a:lnTo>
                <a:lnTo>
                  <a:pt x="2454" y="528"/>
                </a:lnTo>
                <a:lnTo>
                  <a:pt x="2496" y="528"/>
                </a:lnTo>
                <a:lnTo>
                  <a:pt x="2502" y="522"/>
                </a:lnTo>
                <a:lnTo>
                  <a:pt x="2502" y="510"/>
                </a:lnTo>
                <a:lnTo>
                  <a:pt x="2484" y="492"/>
                </a:lnTo>
                <a:close/>
                <a:moveTo>
                  <a:pt x="2082" y="696"/>
                </a:moveTo>
                <a:lnTo>
                  <a:pt x="2046" y="696"/>
                </a:lnTo>
                <a:lnTo>
                  <a:pt x="2046" y="702"/>
                </a:lnTo>
                <a:lnTo>
                  <a:pt x="2040" y="708"/>
                </a:lnTo>
                <a:lnTo>
                  <a:pt x="2028" y="708"/>
                </a:lnTo>
                <a:lnTo>
                  <a:pt x="2022" y="702"/>
                </a:lnTo>
                <a:lnTo>
                  <a:pt x="2010" y="696"/>
                </a:lnTo>
                <a:lnTo>
                  <a:pt x="1980" y="702"/>
                </a:lnTo>
                <a:lnTo>
                  <a:pt x="1950" y="696"/>
                </a:lnTo>
                <a:lnTo>
                  <a:pt x="1932" y="696"/>
                </a:lnTo>
                <a:lnTo>
                  <a:pt x="1908" y="690"/>
                </a:lnTo>
                <a:lnTo>
                  <a:pt x="1860" y="690"/>
                </a:lnTo>
                <a:lnTo>
                  <a:pt x="1854" y="684"/>
                </a:lnTo>
                <a:lnTo>
                  <a:pt x="1854" y="678"/>
                </a:lnTo>
                <a:lnTo>
                  <a:pt x="1836" y="696"/>
                </a:lnTo>
                <a:lnTo>
                  <a:pt x="1830" y="696"/>
                </a:lnTo>
                <a:lnTo>
                  <a:pt x="1824" y="708"/>
                </a:lnTo>
                <a:lnTo>
                  <a:pt x="1824" y="714"/>
                </a:lnTo>
                <a:lnTo>
                  <a:pt x="1818" y="726"/>
                </a:lnTo>
                <a:lnTo>
                  <a:pt x="1812" y="732"/>
                </a:lnTo>
                <a:lnTo>
                  <a:pt x="1794" y="732"/>
                </a:lnTo>
                <a:lnTo>
                  <a:pt x="1800" y="762"/>
                </a:lnTo>
                <a:lnTo>
                  <a:pt x="1788" y="768"/>
                </a:lnTo>
                <a:lnTo>
                  <a:pt x="1806" y="786"/>
                </a:lnTo>
                <a:lnTo>
                  <a:pt x="1800" y="810"/>
                </a:lnTo>
                <a:lnTo>
                  <a:pt x="1794" y="810"/>
                </a:lnTo>
                <a:lnTo>
                  <a:pt x="1788" y="798"/>
                </a:lnTo>
                <a:lnTo>
                  <a:pt x="1776" y="792"/>
                </a:lnTo>
                <a:lnTo>
                  <a:pt x="1770" y="780"/>
                </a:lnTo>
                <a:lnTo>
                  <a:pt x="1758" y="774"/>
                </a:lnTo>
                <a:lnTo>
                  <a:pt x="1752" y="762"/>
                </a:lnTo>
                <a:lnTo>
                  <a:pt x="1752" y="750"/>
                </a:lnTo>
                <a:lnTo>
                  <a:pt x="1746" y="732"/>
                </a:lnTo>
                <a:lnTo>
                  <a:pt x="1746" y="720"/>
                </a:lnTo>
                <a:lnTo>
                  <a:pt x="1764" y="702"/>
                </a:lnTo>
                <a:lnTo>
                  <a:pt x="1776" y="702"/>
                </a:lnTo>
                <a:lnTo>
                  <a:pt x="1782" y="696"/>
                </a:lnTo>
                <a:lnTo>
                  <a:pt x="1788" y="684"/>
                </a:lnTo>
                <a:lnTo>
                  <a:pt x="1788" y="678"/>
                </a:lnTo>
                <a:lnTo>
                  <a:pt x="1800" y="666"/>
                </a:lnTo>
                <a:lnTo>
                  <a:pt x="1818" y="666"/>
                </a:lnTo>
                <a:lnTo>
                  <a:pt x="1830" y="672"/>
                </a:lnTo>
                <a:lnTo>
                  <a:pt x="1848" y="672"/>
                </a:lnTo>
                <a:lnTo>
                  <a:pt x="1854" y="666"/>
                </a:lnTo>
                <a:lnTo>
                  <a:pt x="1896" y="666"/>
                </a:lnTo>
                <a:lnTo>
                  <a:pt x="1908" y="672"/>
                </a:lnTo>
                <a:lnTo>
                  <a:pt x="1914" y="678"/>
                </a:lnTo>
                <a:lnTo>
                  <a:pt x="1932" y="678"/>
                </a:lnTo>
                <a:lnTo>
                  <a:pt x="1944" y="684"/>
                </a:lnTo>
                <a:lnTo>
                  <a:pt x="1974" y="684"/>
                </a:lnTo>
                <a:lnTo>
                  <a:pt x="1986" y="672"/>
                </a:lnTo>
                <a:lnTo>
                  <a:pt x="2028" y="672"/>
                </a:lnTo>
                <a:lnTo>
                  <a:pt x="2034" y="678"/>
                </a:lnTo>
                <a:lnTo>
                  <a:pt x="2046" y="678"/>
                </a:lnTo>
                <a:lnTo>
                  <a:pt x="2052" y="672"/>
                </a:lnTo>
                <a:lnTo>
                  <a:pt x="2064" y="666"/>
                </a:lnTo>
                <a:lnTo>
                  <a:pt x="2088" y="666"/>
                </a:lnTo>
                <a:lnTo>
                  <a:pt x="2088" y="684"/>
                </a:lnTo>
                <a:lnTo>
                  <a:pt x="2082" y="690"/>
                </a:lnTo>
                <a:lnTo>
                  <a:pt x="2082" y="69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4" name="Katar"/>
          <p:cNvSpPr>
            <a:spLocks/>
          </p:cNvSpPr>
          <p:nvPr/>
        </p:nvSpPr>
        <p:spPr bwMode="gray">
          <a:xfrm>
            <a:off x="5444396" y="3409030"/>
            <a:ext cx="26987" cy="57150"/>
          </a:xfrm>
          <a:custGeom>
            <a:avLst/>
            <a:gdLst>
              <a:gd name="T0" fmla="*/ 2147483647 w 66"/>
              <a:gd name="T1" fmla="*/ 2147483647 h 144"/>
              <a:gd name="T2" fmla="*/ 2147483647 w 66"/>
              <a:gd name="T3" fmla="*/ 2147483647 h 144"/>
              <a:gd name="T4" fmla="*/ 2147483647 w 66"/>
              <a:gd name="T5" fmla="*/ 2147483647 h 144"/>
              <a:gd name="T6" fmla="*/ 2147483647 w 66"/>
              <a:gd name="T7" fmla="*/ 2147483647 h 144"/>
              <a:gd name="T8" fmla="*/ 2147483647 w 66"/>
              <a:gd name="T9" fmla="*/ 2147483647 h 144"/>
              <a:gd name="T10" fmla="*/ 2147483647 w 66"/>
              <a:gd name="T11" fmla="*/ 2147483647 h 144"/>
              <a:gd name="T12" fmla="*/ 2147483647 w 66"/>
              <a:gd name="T13" fmla="*/ 2147483647 h 144"/>
              <a:gd name="T14" fmla="*/ 2147483647 w 66"/>
              <a:gd name="T15" fmla="*/ 2147483647 h 144"/>
              <a:gd name="T16" fmla="*/ 2147483647 w 66"/>
              <a:gd name="T17" fmla="*/ 2147483647 h 144"/>
              <a:gd name="T18" fmla="*/ 2147483647 w 66"/>
              <a:gd name="T19" fmla="*/ 0 h 144"/>
              <a:gd name="T20" fmla="*/ 2147483647 w 66"/>
              <a:gd name="T21" fmla="*/ 0 h 144"/>
              <a:gd name="T22" fmla="*/ 2147483647 w 66"/>
              <a:gd name="T23" fmla="*/ 2147483647 h 144"/>
              <a:gd name="T24" fmla="*/ 2147483647 w 66"/>
              <a:gd name="T25" fmla="*/ 2147483647 h 144"/>
              <a:gd name="T26" fmla="*/ 2147483647 w 66"/>
              <a:gd name="T27" fmla="*/ 2147483647 h 144"/>
              <a:gd name="T28" fmla="*/ 2147483647 w 66"/>
              <a:gd name="T29" fmla="*/ 2147483647 h 144"/>
              <a:gd name="T30" fmla="*/ 0 w 66"/>
              <a:gd name="T31" fmla="*/ 2147483647 h 144"/>
              <a:gd name="T32" fmla="*/ 2147483647 w 66"/>
              <a:gd name="T33" fmla="*/ 2147483647 h 144"/>
              <a:gd name="T34" fmla="*/ 2147483647 w 66"/>
              <a:gd name="T35" fmla="*/ 2147483647 h 14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6"/>
              <a:gd name="T55" fmla="*/ 0 h 144"/>
              <a:gd name="T56" fmla="*/ 66 w 66"/>
              <a:gd name="T57" fmla="*/ 144 h 14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6" h="144">
                <a:moveTo>
                  <a:pt x="24" y="132"/>
                </a:moveTo>
                <a:lnTo>
                  <a:pt x="36" y="144"/>
                </a:lnTo>
                <a:lnTo>
                  <a:pt x="48" y="132"/>
                </a:lnTo>
                <a:lnTo>
                  <a:pt x="54" y="114"/>
                </a:lnTo>
                <a:lnTo>
                  <a:pt x="60" y="102"/>
                </a:lnTo>
                <a:lnTo>
                  <a:pt x="66" y="84"/>
                </a:lnTo>
                <a:lnTo>
                  <a:pt x="66" y="30"/>
                </a:lnTo>
                <a:lnTo>
                  <a:pt x="54" y="18"/>
                </a:lnTo>
                <a:lnTo>
                  <a:pt x="48" y="6"/>
                </a:lnTo>
                <a:lnTo>
                  <a:pt x="36" y="0"/>
                </a:lnTo>
                <a:lnTo>
                  <a:pt x="30" y="0"/>
                </a:lnTo>
                <a:lnTo>
                  <a:pt x="24" y="6"/>
                </a:lnTo>
                <a:lnTo>
                  <a:pt x="18" y="18"/>
                </a:lnTo>
                <a:lnTo>
                  <a:pt x="12" y="36"/>
                </a:lnTo>
                <a:lnTo>
                  <a:pt x="12" y="108"/>
                </a:lnTo>
                <a:lnTo>
                  <a:pt x="0" y="120"/>
                </a:lnTo>
                <a:lnTo>
                  <a:pt x="6" y="132"/>
                </a:lnTo>
                <a:lnTo>
                  <a:pt x="24" y="13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5" name="Jordan"/>
          <p:cNvSpPr>
            <a:spLocks/>
          </p:cNvSpPr>
          <p:nvPr/>
        </p:nvSpPr>
        <p:spPr bwMode="gray">
          <a:xfrm>
            <a:off x="4991958" y="3180430"/>
            <a:ext cx="112713" cy="134938"/>
          </a:xfrm>
          <a:custGeom>
            <a:avLst/>
            <a:gdLst>
              <a:gd name="T0" fmla="*/ 2147483647 w 282"/>
              <a:gd name="T1" fmla="*/ 2147483647 h 336"/>
              <a:gd name="T2" fmla="*/ 2147483647 w 282"/>
              <a:gd name="T3" fmla="*/ 2147483647 h 336"/>
              <a:gd name="T4" fmla="*/ 2147483647 w 282"/>
              <a:gd name="T5" fmla="*/ 0 h 336"/>
              <a:gd name="T6" fmla="*/ 2147483647 w 282"/>
              <a:gd name="T7" fmla="*/ 2147483647 h 336"/>
              <a:gd name="T8" fmla="*/ 2147483647 w 282"/>
              <a:gd name="T9" fmla="*/ 2147483647 h 336"/>
              <a:gd name="T10" fmla="*/ 2147483647 w 282"/>
              <a:gd name="T11" fmla="*/ 2147483647 h 336"/>
              <a:gd name="T12" fmla="*/ 2147483647 w 282"/>
              <a:gd name="T13" fmla="*/ 2147483647 h 336"/>
              <a:gd name="T14" fmla="*/ 2147483647 w 282"/>
              <a:gd name="T15" fmla="*/ 2147483647 h 336"/>
              <a:gd name="T16" fmla="*/ 2147483647 w 282"/>
              <a:gd name="T17" fmla="*/ 2147483647 h 336"/>
              <a:gd name="T18" fmla="*/ 2147483647 w 282"/>
              <a:gd name="T19" fmla="*/ 2147483647 h 336"/>
              <a:gd name="T20" fmla="*/ 2147483647 w 282"/>
              <a:gd name="T21" fmla="*/ 2147483647 h 336"/>
              <a:gd name="T22" fmla="*/ 2147483647 w 282"/>
              <a:gd name="T23" fmla="*/ 2147483647 h 336"/>
              <a:gd name="T24" fmla="*/ 2147483647 w 282"/>
              <a:gd name="T25" fmla="*/ 2147483647 h 336"/>
              <a:gd name="T26" fmla="*/ 2147483647 w 282"/>
              <a:gd name="T27" fmla="*/ 2147483647 h 336"/>
              <a:gd name="T28" fmla="*/ 2147483647 w 282"/>
              <a:gd name="T29" fmla="*/ 2147483647 h 336"/>
              <a:gd name="T30" fmla="*/ 2147483647 w 282"/>
              <a:gd name="T31" fmla="*/ 2147483647 h 336"/>
              <a:gd name="T32" fmla="*/ 2147483647 w 282"/>
              <a:gd name="T33" fmla="*/ 2147483647 h 336"/>
              <a:gd name="T34" fmla="*/ 2147483647 w 282"/>
              <a:gd name="T35" fmla="*/ 2147483647 h 336"/>
              <a:gd name="T36" fmla="*/ 2147483647 w 282"/>
              <a:gd name="T37" fmla="*/ 2147483647 h 336"/>
              <a:gd name="T38" fmla="*/ 2147483647 w 282"/>
              <a:gd name="T39" fmla="*/ 2147483647 h 336"/>
              <a:gd name="T40" fmla="*/ 2147483647 w 282"/>
              <a:gd name="T41" fmla="*/ 2147483647 h 336"/>
              <a:gd name="T42" fmla="*/ 2147483647 w 282"/>
              <a:gd name="T43" fmla="*/ 2147483647 h 336"/>
              <a:gd name="T44" fmla="*/ 2147483647 w 282"/>
              <a:gd name="T45" fmla="*/ 2147483647 h 336"/>
              <a:gd name="T46" fmla="*/ 0 w 282"/>
              <a:gd name="T47" fmla="*/ 2147483647 h 336"/>
              <a:gd name="T48" fmla="*/ 0 w 282"/>
              <a:gd name="T49" fmla="*/ 2147483647 h 336"/>
              <a:gd name="T50" fmla="*/ 2147483647 w 282"/>
              <a:gd name="T51" fmla="*/ 2147483647 h 336"/>
              <a:gd name="T52" fmla="*/ 2147483647 w 282"/>
              <a:gd name="T53" fmla="*/ 2147483647 h 336"/>
              <a:gd name="T54" fmla="*/ 2147483647 w 282"/>
              <a:gd name="T55" fmla="*/ 2147483647 h 336"/>
              <a:gd name="T56" fmla="*/ 2147483647 w 282"/>
              <a:gd name="T57" fmla="*/ 2147483647 h 336"/>
              <a:gd name="T58" fmla="*/ 2147483647 w 282"/>
              <a:gd name="T59" fmla="*/ 2147483647 h 336"/>
              <a:gd name="T60" fmla="*/ 2147483647 w 282"/>
              <a:gd name="T61" fmla="*/ 2147483647 h 336"/>
              <a:gd name="T62" fmla="*/ 2147483647 w 282"/>
              <a:gd name="T63" fmla="*/ 2147483647 h 336"/>
              <a:gd name="T64" fmla="*/ 2147483647 w 282"/>
              <a:gd name="T65" fmla="*/ 2147483647 h 336"/>
              <a:gd name="T66" fmla="*/ 2147483647 w 282"/>
              <a:gd name="T67" fmla="*/ 2147483647 h 336"/>
              <a:gd name="T68" fmla="*/ 2147483647 w 282"/>
              <a:gd name="T69" fmla="*/ 2147483647 h 336"/>
              <a:gd name="T70" fmla="*/ 2147483647 w 282"/>
              <a:gd name="T71" fmla="*/ 2147483647 h 336"/>
              <a:gd name="T72" fmla="*/ 2147483647 w 282"/>
              <a:gd name="T73" fmla="*/ 2147483647 h 336"/>
              <a:gd name="T74" fmla="*/ 2147483647 w 282"/>
              <a:gd name="T75" fmla="*/ 2147483647 h 336"/>
              <a:gd name="T76" fmla="*/ 2147483647 w 282"/>
              <a:gd name="T77" fmla="*/ 2147483647 h 336"/>
              <a:gd name="T78" fmla="*/ 2147483647 w 282"/>
              <a:gd name="T79" fmla="*/ 2147483647 h 336"/>
              <a:gd name="T80" fmla="*/ 2147483647 w 282"/>
              <a:gd name="T81" fmla="*/ 2147483647 h 336"/>
              <a:gd name="T82" fmla="*/ 2147483647 w 282"/>
              <a:gd name="T83" fmla="*/ 2147483647 h 336"/>
              <a:gd name="T84" fmla="*/ 2147483647 w 282"/>
              <a:gd name="T85" fmla="*/ 2147483647 h 336"/>
              <a:gd name="T86" fmla="*/ 2147483647 w 282"/>
              <a:gd name="T87" fmla="*/ 2147483647 h 336"/>
              <a:gd name="T88" fmla="*/ 2147483647 w 282"/>
              <a:gd name="T89" fmla="*/ 2147483647 h 336"/>
              <a:gd name="T90" fmla="*/ 2147483647 w 282"/>
              <a:gd name="T91" fmla="*/ 2147483647 h 336"/>
              <a:gd name="T92" fmla="*/ 2147483647 w 282"/>
              <a:gd name="T93" fmla="*/ 2147483647 h 336"/>
              <a:gd name="T94" fmla="*/ 2147483647 w 282"/>
              <a:gd name="T95" fmla="*/ 2147483647 h 336"/>
              <a:gd name="T96" fmla="*/ 2147483647 w 282"/>
              <a:gd name="T97" fmla="*/ 2147483647 h 336"/>
              <a:gd name="T98" fmla="*/ 2147483647 w 282"/>
              <a:gd name="T99" fmla="*/ 2147483647 h 336"/>
              <a:gd name="T100" fmla="*/ 2147483647 w 282"/>
              <a:gd name="T101" fmla="*/ 2147483647 h 336"/>
              <a:gd name="T102" fmla="*/ 2147483647 w 282"/>
              <a:gd name="T103" fmla="*/ 2147483647 h 336"/>
              <a:gd name="T104" fmla="*/ 2147483647 w 282"/>
              <a:gd name="T105" fmla="*/ 2147483647 h 336"/>
              <a:gd name="T106" fmla="*/ 2147483647 w 282"/>
              <a:gd name="T107" fmla="*/ 2147483647 h 336"/>
              <a:gd name="T108" fmla="*/ 2147483647 w 282"/>
              <a:gd name="T109" fmla="*/ 2147483647 h 336"/>
              <a:gd name="T110" fmla="*/ 2147483647 w 282"/>
              <a:gd name="T111" fmla="*/ 2147483647 h 336"/>
              <a:gd name="T112" fmla="*/ 2147483647 w 282"/>
              <a:gd name="T113" fmla="*/ 2147483647 h 336"/>
              <a:gd name="T114" fmla="*/ 2147483647 w 282"/>
              <a:gd name="T115" fmla="*/ 2147483647 h 336"/>
              <a:gd name="T116" fmla="*/ 2147483647 w 282"/>
              <a:gd name="T117" fmla="*/ 2147483647 h 336"/>
              <a:gd name="T118" fmla="*/ 2147483647 w 282"/>
              <a:gd name="T119" fmla="*/ 2147483647 h 336"/>
              <a:gd name="T120" fmla="*/ 2147483647 w 282"/>
              <a:gd name="T121" fmla="*/ 2147483647 h 336"/>
              <a:gd name="T122" fmla="*/ 2147483647 w 282"/>
              <a:gd name="T123" fmla="*/ 2147483647 h 3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82"/>
              <a:gd name="T187" fmla="*/ 0 h 336"/>
              <a:gd name="T188" fmla="*/ 282 w 282"/>
              <a:gd name="T189" fmla="*/ 336 h 3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82" h="336">
                <a:moveTo>
                  <a:pt x="258" y="60"/>
                </a:moveTo>
                <a:lnTo>
                  <a:pt x="258" y="42"/>
                </a:lnTo>
                <a:lnTo>
                  <a:pt x="234" y="0"/>
                </a:lnTo>
                <a:lnTo>
                  <a:pt x="222" y="6"/>
                </a:lnTo>
                <a:lnTo>
                  <a:pt x="198" y="30"/>
                </a:lnTo>
                <a:lnTo>
                  <a:pt x="138" y="78"/>
                </a:lnTo>
                <a:lnTo>
                  <a:pt x="114" y="84"/>
                </a:lnTo>
                <a:lnTo>
                  <a:pt x="96" y="84"/>
                </a:lnTo>
                <a:lnTo>
                  <a:pt x="84" y="78"/>
                </a:lnTo>
                <a:lnTo>
                  <a:pt x="72" y="66"/>
                </a:lnTo>
                <a:lnTo>
                  <a:pt x="36" y="48"/>
                </a:lnTo>
                <a:lnTo>
                  <a:pt x="30" y="48"/>
                </a:lnTo>
                <a:lnTo>
                  <a:pt x="24" y="66"/>
                </a:lnTo>
                <a:lnTo>
                  <a:pt x="30" y="138"/>
                </a:lnTo>
                <a:lnTo>
                  <a:pt x="18" y="150"/>
                </a:lnTo>
                <a:lnTo>
                  <a:pt x="18" y="162"/>
                </a:lnTo>
                <a:lnTo>
                  <a:pt x="30" y="174"/>
                </a:lnTo>
                <a:lnTo>
                  <a:pt x="30" y="186"/>
                </a:lnTo>
                <a:lnTo>
                  <a:pt x="24" y="198"/>
                </a:lnTo>
                <a:lnTo>
                  <a:pt x="18" y="204"/>
                </a:lnTo>
                <a:lnTo>
                  <a:pt x="12" y="216"/>
                </a:lnTo>
                <a:lnTo>
                  <a:pt x="6" y="222"/>
                </a:lnTo>
                <a:lnTo>
                  <a:pt x="6" y="282"/>
                </a:lnTo>
                <a:lnTo>
                  <a:pt x="0" y="294"/>
                </a:lnTo>
                <a:lnTo>
                  <a:pt x="0" y="312"/>
                </a:lnTo>
                <a:lnTo>
                  <a:pt x="6" y="324"/>
                </a:lnTo>
                <a:lnTo>
                  <a:pt x="24" y="324"/>
                </a:lnTo>
                <a:lnTo>
                  <a:pt x="48" y="336"/>
                </a:lnTo>
                <a:lnTo>
                  <a:pt x="84" y="336"/>
                </a:lnTo>
                <a:lnTo>
                  <a:pt x="96" y="324"/>
                </a:lnTo>
                <a:lnTo>
                  <a:pt x="108" y="300"/>
                </a:lnTo>
                <a:lnTo>
                  <a:pt x="108" y="288"/>
                </a:lnTo>
                <a:lnTo>
                  <a:pt x="120" y="276"/>
                </a:lnTo>
                <a:lnTo>
                  <a:pt x="126" y="276"/>
                </a:lnTo>
                <a:lnTo>
                  <a:pt x="138" y="270"/>
                </a:lnTo>
                <a:lnTo>
                  <a:pt x="150" y="270"/>
                </a:lnTo>
                <a:lnTo>
                  <a:pt x="162" y="264"/>
                </a:lnTo>
                <a:lnTo>
                  <a:pt x="168" y="258"/>
                </a:lnTo>
                <a:lnTo>
                  <a:pt x="174" y="246"/>
                </a:lnTo>
                <a:lnTo>
                  <a:pt x="180" y="240"/>
                </a:lnTo>
                <a:lnTo>
                  <a:pt x="180" y="228"/>
                </a:lnTo>
                <a:lnTo>
                  <a:pt x="186" y="222"/>
                </a:lnTo>
                <a:lnTo>
                  <a:pt x="186" y="210"/>
                </a:lnTo>
                <a:lnTo>
                  <a:pt x="180" y="204"/>
                </a:lnTo>
                <a:lnTo>
                  <a:pt x="168" y="180"/>
                </a:lnTo>
                <a:lnTo>
                  <a:pt x="144" y="156"/>
                </a:lnTo>
                <a:lnTo>
                  <a:pt x="132" y="156"/>
                </a:lnTo>
                <a:lnTo>
                  <a:pt x="120" y="150"/>
                </a:lnTo>
                <a:lnTo>
                  <a:pt x="96" y="150"/>
                </a:lnTo>
                <a:lnTo>
                  <a:pt x="96" y="144"/>
                </a:lnTo>
                <a:lnTo>
                  <a:pt x="108" y="144"/>
                </a:lnTo>
                <a:lnTo>
                  <a:pt x="120" y="138"/>
                </a:lnTo>
                <a:lnTo>
                  <a:pt x="186" y="138"/>
                </a:lnTo>
                <a:lnTo>
                  <a:pt x="198" y="114"/>
                </a:lnTo>
                <a:lnTo>
                  <a:pt x="240" y="114"/>
                </a:lnTo>
                <a:lnTo>
                  <a:pt x="252" y="108"/>
                </a:lnTo>
                <a:lnTo>
                  <a:pt x="258" y="102"/>
                </a:lnTo>
                <a:lnTo>
                  <a:pt x="264" y="102"/>
                </a:lnTo>
                <a:lnTo>
                  <a:pt x="276" y="96"/>
                </a:lnTo>
                <a:lnTo>
                  <a:pt x="282" y="90"/>
                </a:lnTo>
                <a:lnTo>
                  <a:pt x="282" y="78"/>
                </a:lnTo>
                <a:lnTo>
                  <a:pt x="258" y="60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6" name="Japan"/>
          <p:cNvSpPr>
            <a:spLocks noEditPoints="1"/>
          </p:cNvSpPr>
          <p:nvPr/>
        </p:nvSpPr>
        <p:spPr bwMode="gray">
          <a:xfrm>
            <a:off x="7476396" y="2786730"/>
            <a:ext cx="352425" cy="687388"/>
          </a:xfrm>
          <a:custGeom>
            <a:avLst/>
            <a:gdLst>
              <a:gd name="T0" fmla="*/ 2147483647 w 876"/>
              <a:gd name="T1" fmla="*/ 2147483647 h 1710"/>
              <a:gd name="T2" fmla="*/ 2147483647 w 876"/>
              <a:gd name="T3" fmla="*/ 2147483647 h 1710"/>
              <a:gd name="T4" fmla="*/ 2147483647 w 876"/>
              <a:gd name="T5" fmla="*/ 2147483647 h 1710"/>
              <a:gd name="T6" fmla="*/ 2147483647 w 876"/>
              <a:gd name="T7" fmla="*/ 2147483647 h 1710"/>
              <a:gd name="T8" fmla="*/ 2147483647 w 876"/>
              <a:gd name="T9" fmla="*/ 2147483647 h 1710"/>
              <a:gd name="T10" fmla="*/ 2147483647 w 876"/>
              <a:gd name="T11" fmla="*/ 2147483647 h 1710"/>
              <a:gd name="T12" fmla="*/ 2147483647 w 876"/>
              <a:gd name="T13" fmla="*/ 2147483647 h 1710"/>
              <a:gd name="T14" fmla="*/ 2147483647 w 876"/>
              <a:gd name="T15" fmla="*/ 2147483647 h 1710"/>
              <a:gd name="T16" fmla="*/ 2147483647 w 876"/>
              <a:gd name="T17" fmla="*/ 2147483647 h 1710"/>
              <a:gd name="T18" fmla="*/ 2147483647 w 876"/>
              <a:gd name="T19" fmla="*/ 2147483647 h 1710"/>
              <a:gd name="T20" fmla="*/ 2147483647 w 876"/>
              <a:gd name="T21" fmla="*/ 2147483647 h 1710"/>
              <a:gd name="T22" fmla="*/ 2147483647 w 876"/>
              <a:gd name="T23" fmla="*/ 2147483647 h 1710"/>
              <a:gd name="T24" fmla="*/ 2147483647 w 876"/>
              <a:gd name="T25" fmla="*/ 2147483647 h 1710"/>
              <a:gd name="T26" fmla="*/ 2147483647 w 876"/>
              <a:gd name="T27" fmla="*/ 2147483647 h 1710"/>
              <a:gd name="T28" fmla="*/ 2147483647 w 876"/>
              <a:gd name="T29" fmla="*/ 2147483647 h 1710"/>
              <a:gd name="T30" fmla="*/ 2147483647 w 876"/>
              <a:gd name="T31" fmla="*/ 2147483647 h 1710"/>
              <a:gd name="T32" fmla="*/ 2147483647 w 876"/>
              <a:gd name="T33" fmla="*/ 2147483647 h 1710"/>
              <a:gd name="T34" fmla="*/ 2147483647 w 876"/>
              <a:gd name="T35" fmla="*/ 2147483647 h 1710"/>
              <a:gd name="T36" fmla="*/ 2147483647 w 876"/>
              <a:gd name="T37" fmla="*/ 2147483647 h 1710"/>
              <a:gd name="T38" fmla="*/ 2147483647 w 876"/>
              <a:gd name="T39" fmla="*/ 2147483647 h 1710"/>
              <a:gd name="T40" fmla="*/ 2147483647 w 876"/>
              <a:gd name="T41" fmla="*/ 2147483647 h 1710"/>
              <a:gd name="T42" fmla="*/ 2147483647 w 876"/>
              <a:gd name="T43" fmla="*/ 2147483647 h 1710"/>
              <a:gd name="T44" fmla="*/ 2147483647 w 876"/>
              <a:gd name="T45" fmla="*/ 2147483647 h 1710"/>
              <a:gd name="T46" fmla="*/ 2147483647 w 876"/>
              <a:gd name="T47" fmla="*/ 2147483647 h 1710"/>
              <a:gd name="T48" fmla="*/ 2147483647 w 876"/>
              <a:gd name="T49" fmla="*/ 2147483647 h 1710"/>
              <a:gd name="T50" fmla="*/ 2147483647 w 876"/>
              <a:gd name="T51" fmla="*/ 2147483647 h 1710"/>
              <a:gd name="T52" fmla="*/ 2147483647 w 876"/>
              <a:gd name="T53" fmla="*/ 2147483647 h 1710"/>
              <a:gd name="T54" fmla="*/ 2147483647 w 876"/>
              <a:gd name="T55" fmla="*/ 2147483647 h 1710"/>
              <a:gd name="T56" fmla="*/ 2147483647 w 876"/>
              <a:gd name="T57" fmla="*/ 2147483647 h 1710"/>
              <a:gd name="T58" fmla="*/ 2147483647 w 876"/>
              <a:gd name="T59" fmla="*/ 2147483647 h 1710"/>
              <a:gd name="T60" fmla="*/ 2147483647 w 876"/>
              <a:gd name="T61" fmla="*/ 2147483647 h 1710"/>
              <a:gd name="T62" fmla="*/ 2147483647 w 876"/>
              <a:gd name="T63" fmla="*/ 2147483647 h 1710"/>
              <a:gd name="T64" fmla="*/ 2147483647 w 876"/>
              <a:gd name="T65" fmla="*/ 2147483647 h 1710"/>
              <a:gd name="T66" fmla="*/ 2147483647 w 876"/>
              <a:gd name="T67" fmla="*/ 2147483647 h 1710"/>
              <a:gd name="T68" fmla="*/ 2147483647 w 876"/>
              <a:gd name="T69" fmla="*/ 2147483647 h 1710"/>
              <a:gd name="T70" fmla="*/ 2147483647 w 876"/>
              <a:gd name="T71" fmla="*/ 2147483647 h 1710"/>
              <a:gd name="T72" fmla="*/ 2147483647 w 876"/>
              <a:gd name="T73" fmla="*/ 2147483647 h 1710"/>
              <a:gd name="T74" fmla="*/ 2147483647 w 876"/>
              <a:gd name="T75" fmla="*/ 2147483647 h 1710"/>
              <a:gd name="T76" fmla="*/ 2147483647 w 876"/>
              <a:gd name="T77" fmla="*/ 2147483647 h 1710"/>
              <a:gd name="T78" fmla="*/ 2147483647 w 876"/>
              <a:gd name="T79" fmla="*/ 2147483647 h 1710"/>
              <a:gd name="T80" fmla="*/ 2147483647 w 876"/>
              <a:gd name="T81" fmla="*/ 2147483647 h 1710"/>
              <a:gd name="T82" fmla="*/ 2147483647 w 876"/>
              <a:gd name="T83" fmla="*/ 2147483647 h 1710"/>
              <a:gd name="T84" fmla="*/ 2147483647 w 876"/>
              <a:gd name="T85" fmla="*/ 2147483647 h 1710"/>
              <a:gd name="T86" fmla="*/ 2147483647 w 876"/>
              <a:gd name="T87" fmla="*/ 2147483647 h 1710"/>
              <a:gd name="T88" fmla="*/ 2147483647 w 876"/>
              <a:gd name="T89" fmla="*/ 2147483647 h 1710"/>
              <a:gd name="T90" fmla="*/ 2147483647 w 876"/>
              <a:gd name="T91" fmla="*/ 2147483647 h 1710"/>
              <a:gd name="T92" fmla="*/ 2147483647 w 876"/>
              <a:gd name="T93" fmla="*/ 2147483647 h 1710"/>
              <a:gd name="T94" fmla="*/ 2147483647 w 876"/>
              <a:gd name="T95" fmla="*/ 2147483647 h 1710"/>
              <a:gd name="T96" fmla="*/ 2147483647 w 876"/>
              <a:gd name="T97" fmla="*/ 2147483647 h 1710"/>
              <a:gd name="T98" fmla="*/ 2147483647 w 876"/>
              <a:gd name="T99" fmla="*/ 2147483647 h 1710"/>
              <a:gd name="T100" fmla="*/ 2147483647 w 876"/>
              <a:gd name="T101" fmla="*/ 2147483647 h 1710"/>
              <a:gd name="T102" fmla="*/ 2147483647 w 876"/>
              <a:gd name="T103" fmla="*/ 2147483647 h 1710"/>
              <a:gd name="T104" fmla="*/ 2147483647 w 876"/>
              <a:gd name="T105" fmla="*/ 2147483647 h 1710"/>
              <a:gd name="T106" fmla="*/ 2147483647 w 876"/>
              <a:gd name="T107" fmla="*/ 2147483647 h 1710"/>
              <a:gd name="T108" fmla="*/ 2147483647 w 876"/>
              <a:gd name="T109" fmla="*/ 2147483647 h 1710"/>
              <a:gd name="T110" fmla="*/ 2147483647 w 876"/>
              <a:gd name="T111" fmla="*/ 2147483647 h 1710"/>
              <a:gd name="T112" fmla="*/ 2147483647 w 876"/>
              <a:gd name="T113" fmla="*/ 2147483647 h 1710"/>
              <a:gd name="T114" fmla="*/ 2147483647 w 876"/>
              <a:gd name="T115" fmla="*/ 2147483647 h 1710"/>
              <a:gd name="T116" fmla="*/ 2147483647 w 876"/>
              <a:gd name="T117" fmla="*/ 2147483647 h 1710"/>
              <a:gd name="T118" fmla="*/ 2147483647 w 876"/>
              <a:gd name="T119" fmla="*/ 2147483647 h 171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876"/>
              <a:gd name="T181" fmla="*/ 0 h 1710"/>
              <a:gd name="T182" fmla="*/ 876 w 876"/>
              <a:gd name="T183" fmla="*/ 1710 h 171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876" h="1710">
                <a:moveTo>
                  <a:pt x="876" y="780"/>
                </a:moveTo>
                <a:lnTo>
                  <a:pt x="864" y="774"/>
                </a:lnTo>
                <a:lnTo>
                  <a:pt x="858" y="768"/>
                </a:lnTo>
                <a:lnTo>
                  <a:pt x="846" y="762"/>
                </a:lnTo>
                <a:lnTo>
                  <a:pt x="840" y="750"/>
                </a:lnTo>
                <a:lnTo>
                  <a:pt x="828" y="744"/>
                </a:lnTo>
                <a:lnTo>
                  <a:pt x="828" y="720"/>
                </a:lnTo>
                <a:lnTo>
                  <a:pt x="834" y="702"/>
                </a:lnTo>
                <a:lnTo>
                  <a:pt x="834" y="684"/>
                </a:lnTo>
                <a:lnTo>
                  <a:pt x="828" y="666"/>
                </a:lnTo>
                <a:lnTo>
                  <a:pt x="816" y="642"/>
                </a:lnTo>
                <a:lnTo>
                  <a:pt x="792" y="618"/>
                </a:lnTo>
                <a:lnTo>
                  <a:pt x="786" y="600"/>
                </a:lnTo>
                <a:lnTo>
                  <a:pt x="786" y="576"/>
                </a:lnTo>
                <a:lnTo>
                  <a:pt x="792" y="570"/>
                </a:lnTo>
                <a:lnTo>
                  <a:pt x="810" y="570"/>
                </a:lnTo>
                <a:lnTo>
                  <a:pt x="810" y="528"/>
                </a:lnTo>
                <a:lnTo>
                  <a:pt x="798" y="516"/>
                </a:lnTo>
                <a:lnTo>
                  <a:pt x="810" y="510"/>
                </a:lnTo>
                <a:lnTo>
                  <a:pt x="810" y="498"/>
                </a:lnTo>
                <a:lnTo>
                  <a:pt x="804" y="486"/>
                </a:lnTo>
                <a:lnTo>
                  <a:pt x="804" y="474"/>
                </a:lnTo>
                <a:lnTo>
                  <a:pt x="798" y="468"/>
                </a:lnTo>
                <a:lnTo>
                  <a:pt x="792" y="456"/>
                </a:lnTo>
                <a:lnTo>
                  <a:pt x="786" y="450"/>
                </a:lnTo>
                <a:lnTo>
                  <a:pt x="774" y="444"/>
                </a:lnTo>
                <a:lnTo>
                  <a:pt x="768" y="438"/>
                </a:lnTo>
                <a:lnTo>
                  <a:pt x="762" y="420"/>
                </a:lnTo>
                <a:lnTo>
                  <a:pt x="756" y="420"/>
                </a:lnTo>
                <a:lnTo>
                  <a:pt x="738" y="402"/>
                </a:lnTo>
                <a:lnTo>
                  <a:pt x="714" y="390"/>
                </a:lnTo>
                <a:lnTo>
                  <a:pt x="702" y="378"/>
                </a:lnTo>
                <a:lnTo>
                  <a:pt x="696" y="360"/>
                </a:lnTo>
                <a:lnTo>
                  <a:pt x="690" y="348"/>
                </a:lnTo>
                <a:lnTo>
                  <a:pt x="690" y="330"/>
                </a:lnTo>
                <a:lnTo>
                  <a:pt x="684" y="324"/>
                </a:lnTo>
                <a:lnTo>
                  <a:pt x="678" y="324"/>
                </a:lnTo>
                <a:lnTo>
                  <a:pt x="666" y="318"/>
                </a:lnTo>
                <a:lnTo>
                  <a:pt x="654" y="318"/>
                </a:lnTo>
                <a:lnTo>
                  <a:pt x="648" y="324"/>
                </a:lnTo>
                <a:lnTo>
                  <a:pt x="648" y="342"/>
                </a:lnTo>
                <a:lnTo>
                  <a:pt x="654" y="342"/>
                </a:lnTo>
                <a:lnTo>
                  <a:pt x="660" y="348"/>
                </a:lnTo>
                <a:lnTo>
                  <a:pt x="672" y="342"/>
                </a:lnTo>
                <a:lnTo>
                  <a:pt x="678" y="348"/>
                </a:lnTo>
                <a:lnTo>
                  <a:pt x="678" y="366"/>
                </a:lnTo>
                <a:lnTo>
                  <a:pt x="672" y="366"/>
                </a:lnTo>
                <a:lnTo>
                  <a:pt x="666" y="360"/>
                </a:lnTo>
                <a:lnTo>
                  <a:pt x="654" y="372"/>
                </a:lnTo>
                <a:lnTo>
                  <a:pt x="630" y="342"/>
                </a:lnTo>
                <a:lnTo>
                  <a:pt x="612" y="342"/>
                </a:lnTo>
                <a:lnTo>
                  <a:pt x="636" y="378"/>
                </a:lnTo>
                <a:lnTo>
                  <a:pt x="618" y="378"/>
                </a:lnTo>
                <a:lnTo>
                  <a:pt x="648" y="426"/>
                </a:lnTo>
                <a:lnTo>
                  <a:pt x="636" y="438"/>
                </a:lnTo>
                <a:lnTo>
                  <a:pt x="648" y="444"/>
                </a:lnTo>
                <a:lnTo>
                  <a:pt x="666" y="462"/>
                </a:lnTo>
                <a:lnTo>
                  <a:pt x="678" y="468"/>
                </a:lnTo>
                <a:lnTo>
                  <a:pt x="684" y="480"/>
                </a:lnTo>
                <a:lnTo>
                  <a:pt x="684" y="504"/>
                </a:lnTo>
                <a:lnTo>
                  <a:pt x="678" y="516"/>
                </a:lnTo>
                <a:lnTo>
                  <a:pt x="678" y="534"/>
                </a:lnTo>
                <a:lnTo>
                  <a:pt x="672" y="540"/>
                </a:lnTo>
                <a:lnTo>
                  <a:pt x="672" y="570"/>
                </a:lnTo>
                <a:lnTo>
                  <a:pt x="678" y="570"/>
                </a:lnTo>
                <a:lnTo>
                  <a:pt x="690" y="582"/>
                </a:lnTo>
                <a:lnTo>
                  <a:pt x="690" y="600"/>
                </a:lnTo>
                <a:lnTo>
                  <a:pt x="678" y="606"/>
                </a:lnTo>
                <a:lnTo>
                  <a:pt x="660" y="606"/>
                </a:lnTo>
                <a:lnTo>
                  <a:pt x="660" y="618"/>
                </a:lnTo>
                <a:lnTo>
                  <a:pt x="666" y="630"/>
                </a:lnTo>
                <a:lnTo>
                  <a:pt x="666" y="642"/>
                </a:lnTo>
                <a:lnTo>
                  <a:pt x="660" y="654"/>
                </a:lnTo>
                <a:lnTo>
                  <a:pt x="654" y="660"/>
                </a:lnTo>
                <a:lnTo>
                  <a:pt x="642" y="666"/>
                </a:lnTo>
                <a:lnTo>
                  <a:pt x="630" y="666"/>
                </a:lnTo>
                <a:lnTo>
                  <a:pt x="618" y="672"/>
                </a:lnTo>
                <a:lnTo>
                  <a:pt x="612" y="678"/>
                </a:lnTo>
                <a:lnTo>
                  <a:pt x="606" y="678"/>
                </a:lnTo>
                <a:lnTo>
                  <a:pt x="606" y="696"/>
                </a:lnTo>
                <a:lnTo>
                  <a:pt x="588" y="696"/>
                </a:lnTo>
                <a:lnTo>
                  <a:pt x="564" y="672"/>
                </a:lnTo>
                <a:lnTo>
                  <a:pt x="564" y="654"/>
                </a:lnTo>
                <a:lnTo>
                  <a:pt x="570" y="636"/>
                </a:lnTo>
                <a:lnTo>
                  <a:pt x="558" y="636"/>
                </a:lnTo>
                <a:lnTo>
                  <a:pt x="552" y="642"/>
                </a:lnTo>
                <a:lnTo>
                  <a:pt x="540" y="648"/>
                </a:lnTo>
                <a:lnTo>
                  <a:pt x="534" y="654"/>
                </a:lnTo>
                <a:lnTo>
                  <a:pt x="534" y="660"/>
                </a:lnTo>
                <a:lnTo>
                  <a:pt x="540" y="666"/>
                </a:lnTo>
                <a:lnTo>
                  <a:pt x="558" y="702"/>
                </a:lnTo>
                <a:lnTo>
                  <a:pt x="558" y="714"/>
                </a:lnTo>
                <a:lnTo>
                  <a:pt x="552" y="720"/>
                </a:lnTo>
                <a:lnTo>
                  <a:pt x="540" y="744"/>
                </a:lnTo>
                <a:lnTo>
                  <a:pt x="540" y="756"/>
                </a:lnTo>
                <a:lnTo>
                  <a:pt x="546" y="762"/>
                </a:lnTo>
                <a:lnTo>
                  <a:pt x="546" y="768"/>
                </a:lnTo>
                <a:lnTo>
                  <a:pt x="552" y="780"/>
                </a:lnTo>
                <a:lnTo>
                  <a:pt x="558" y="786"/>
                </a:lnTo>
                <a:lnTo>
                  <a:pt x="558" y="792"/>
                </a:lnTo>
                <a:lnTo>
                  <a:pt x="522" y="792"/>
                </a:lnTo>
                <a:lnTo>
                  <a:pt x="498" y="780"/>
                </a:lnTo>
                <a:lnTo>
                  <a:pt x="474" y="780"/>
                </a:lnTo>
                <a:lnTo>
                  <a:pt x="450" y="792"/>
                </a:lnTo>
                <a:lnTo>
                  <a:pt x="438" y="792"/>
                </a:lnTo>
                <a:lnTo>
                  <a:pt x="420" y="798"/>
                </a:lnTo>
                <a:lnTo>
                  <a:pt x="414" y="804"/>
                </a:lnTo>
                <a:lnTo>
                  <a:pt x="378" y="804"/>
                </a:lnTo>
                <a:lnTo>
                  <a:pt x="366" y="792"/>
                </a:lnTo>
                <a:lnTo>
                  <a:pt x="336" y="816"/>
                </a:lnTo>
                <a:lnTo>
                  <a:pt x="330" y="828"/>
                </a:lnTo>
                <a:lnTo>
                  <a:pt x="312" y="846"/>
                </a:lnTo>
                <a:lnTo>
                  <a:pt x="306" y="864"/>
                </a:lnTo>
                <a:lnTo>
                  <a:pt x="300" y="870"/>
                </a:lnTo>
                <a:lnTo>
                  <a:pt x="294" y="882"/>
                </a:lnTo>
                <a:lnTo>
                  <a:pt x="270" y="882"/>
                </a:lnTo>
                <a:lnTo>
                  <a:pt x="264" y="888"/>
                </a:lnTo>
                <a:lnTo>
                  <a:pt x="258" y="888"/>
                </a:lnTo>
                <a:lnTo>
                  <a:pt x="258" y="900"/>
                </a:lnTo>
                <a:lnTo>
                  <a:pt x="264" y="912"/>
                </a:lnTo>
                <a:lnTo>
                  <a:pt x="276" y="924"/>
                </a:lnTo>
                <a:lnTo>
                  <a:pt x="288" y="924"/>
                </a:lnTo>
                <a:lnTo>
                  <a:pt x="294" y="918"/>
                </a:lnTo>
                <a:lnTo>
                  <a:pt x="312" y="918"/>
                </a:lnTo>
                <a:lnTo>
                  <a:pt x="318" y="924"/>
                </a:lnTo>
                <a:lnTo>
                  <a:pt x="324" y="924"/>
                </a:lnTo>
                <a:lnTo>
                  <a:pt x="336" y="930"/>
                </a:lnTo>
                <a:lnTo>
                  <a:pt x="342" y="930"/>
                </a:lnTo>
                <a:lnTo>
                  <a:pt x="348" y="924"/>
                </a:lnTo>
                <a:lnTo>
                  <a:pt x="348" y="912"/>
                </a:lnTo>
                <a:lnTo>
                  <a:pt x="354" y="906"/>
                </a:lnTo>
                <a:lnTo>
                  <a:pt x="354" y="894"/>
                </a:lnTo>
                <a:lnTo>
                  <a:pt x="372" y="906"/>
                </a:lnTo>
                <a:lnTo>
                  <a:pt x="378" y="906"/>
                </a:lnTo>
                <a:lnTo>
                  <a:pt x="384" y="900"/>
                </a:lnTo>
                <a:lnTo>
                  <a:pt x="420" y="882"/>
                </a:lnTo>
                <a:lnTo>
                  <a:pt x="426" y="882"/>
                </a:lnTo>
                <a:lnTo>
                  <a:pt x="432" y="876"/>
                </a:lnTo>
                <a:lnTo>
                  <a:pt x="444" y="876"/>
                </a:lnTo>
                <a:lnTo>
                  <a:pt x="456" y="882"/>
                </a:lnTo>
                <a:lnTo>
                  <a:pt x="480" y="882"/>
                </a:lnTo>
                <a:lnTo>
                  <a:pt x="480" y="876"/>
                </a:lnTo>
                <a:lnTo>
                  <a:pt x="474" y="870"/>
                </a:lnTo>
                <a:lnTo>
                  <a:pt x="474" y="864"/>
                </a:lnTo>
                <a:lnTo>
                  <a:pt x="480" y="858"/>
                </a:lnTo>
                <a:lnTo>
                  <a:pt x="498" y="858"/>
                </a:lnTo>
                <a:lnTo>
                  <a:pt x="516" y="876"/>
                </a:lnTo>
                <a:lnTo>
                  <a:pt x="522" y="870"/>
                </a:lnTo>
                <a:lnTo>
                  <a:pt x="534" y="864"/>
                </a:lnTo>
                <a:lnTo>
                  <a:pt x="540" y="864"/>
                </a:lnTo>
                <a:lnTo>
                  <a:pt x="546" y="858"/>
                </a:lnTo>
                <a:lnTo>
                  <a:pt x="552" y="864"/>
                </a:lnTo>
                <a:lnTo>
                  <a:pt x="552" y="882"/>
                </a:lnTo>
                <a:lnTo>
                  <a:pt x="546" y="894"/>
                </a:lnTo>
                <a:lnTo>
                  <a:pt x="540" y="900"/>
                </a:lnTo>
                <a:lnTo>
                  <a:pt x="540" y="912"/>
                </a:lnTo>
                <a:lnTo>
                  <a:pt x="546" y="918"/>
                </a:lnTo>
                <a:lnTo>
                  <a:pt x="552" y="930"/>
                </a:lnTo>
                <a:lnTo>
                  <a:pt x="576" y="954"/>
                </a:lnTo>
                <a:lnTo>
                  <a:pt x="600" y="966"/>
                </a:lnTo>
                <a:lnTo>
                  <a:pt x="612" y="960"/>
                </a:lnTo>
                <a:lnTo>
                  <a:pt x="618" y="954"/>
                </a:lnTo>
                <a:lnTo>
                  <a:pt x="630" y="930"/>
                </a:lnTo>
                <a:lnTo>
                  <a:pt x="630" y="906"/>
                </a:lnTo>
                <a:lnTo>
                  <a:pt x="660" y="900"/>
                </a:lnTo>
                <a:lnTo>
                  <a:pt x="654" y="894"/>
                </a:lnTo>
                <a:lnTo>
                  <a:pt x="648" y="882"/>
                </a:lnTo>
                <a:lnTo>
                  <a:pt x="636" y="870"/>
                </a:lnTo>
                <a:lnTo>
                  <a:pt x="624" y="870"/>
                </a:lnTo>
                <a:lnTo>
                  <a:pt x="612" y="858"/>
                </a:lnTo>
                <a:lnTo>
                  <a:pt x="630" y="834"/>
                </a:lnTo>
                <a:lnTo>
                  <a:pt x="636" y="834"/>
                </a:lnTo>
                <a:lnTo>
                  <a:pt x="636" y="840"/>
                </a:lnTo>
                <a:lnTo>
                  <a:pt x="642" y="852"/>
                </a:lnTo>
                <a:lnTo>
                  <a:pt x="642" y="858"/>
                </a:lnTo>
                <a:lnTo>
                  <a:pt x="654" y="858"/>
                </a:lnTo>
                <a:lnTo>
                  <a:pt x="666" y="870"/>
                </a:lnTo>
                <a:lnTo>
                  <a:pt x="666" y="876"/>
                </a:lnTo>
                <a:lnTo>
                  <a:pt x="684" y="864"/>
                </a:lnTo>
                <a:lnTo>
                  <a:pt x="696" y="870"/>
                </a:lnTo>
                <a:lnTo>
                  <a:pt x="732" y="870"/>
                </a:lnTo>
                <a:lnTo>
                  <a:pt x="744" y="858"/>
                </a:lnTo>
                <a:lnTo>
                  <a:pt x="744" y="852"/>
                </a:lnTo>
                <a:lnTo>
                  <a:pt x="738" y="846"/>
                </a:lnTo>
                <a:lnTo>
                  <a:pt x="738" y="840"/>
                </a:lnTo>
                <a:lnTo>
                  <a:pt x="744" y="834"/>
                </a:lnTo>
                <a:lnTo>
                  <a:pt x="762" y="834"/>
                </a:lnTo>
                <a:lnTo>
                  <a:pt x="768" y="840"/>
                </a:lnTo>
                <a:lnTo>
                  <a:pt x="768" y="858"/>
                </a:lnTo>
                <a:lnTo>
                  <a:pt x="774" y="864"/>
                </a:lnTo>
                <a:lnTo>
                  <a:pt x="774" y="870"/>
                </a:lnTo>
                <a:lnTo>
                  <a:pt x="780" y="870"/>
                </a:lnTo>
                <a:lnTo>
                  <a:pt x="786" y="864"/>
                </a:lnTo>
                <a:lnTo>
                  <a:pt x="786" y="852"/>
                </a:lnTo>
                <a:lnTo>
                  <a:pt x="780" y="840"/>
                </a:lnTo>
                <a:lnTo>
                  <a:pt x="780" y="816"/>
                </a:lnTo>
                <a:lnTo>
                  <a:pt x="804" y="816"/>
                </a:lnTo>
                <a:lnTo>
                  <a:pt x="804" y="798"/>
                </a:lnTo>
                <a:lnTo>
                  <a:pt x="810" y="792"/>
                </a:lnTo>
                <a:lnTo>
                  <a:pt x="810" y="786"/>
                </a:lnTo>
                <a:lnTo>
                  <a:pt x="816" y="780"/>
                </a:lnTo>
                <a:lnTo>
                  <a:pt x="828" y="792"/>
                </a:lnTo>
                <a:lnTo>
                  <a:pt x="828" y="840"/>
                </a:lnTo>
                <a:lnTo>
                  <a:pt x="852" y="840"/>
                </a:lnTo>
                <a:lnTo>
                  <a:pt x="858" y="828"/>
                </a:lnTo>
                <a:lnTo>
                  <a:pt x="858" y="792"/>
                </a:lnTo>
                <a:lnTo>
                  <a:pt x="876" y="780"/>
                </a:lnTo>
                <a:close/>
                <a:moveTo>
                  <a:pt x="498" y="912"/>
                </a:moveTo>
                <a:lnTo>
                  <a:pt x="486" y="906"/>
                </a:lnTo>
                <a:lnTo>
                  <a:pt x="480" y="900"/>
                </a:lnTo>
                <a:lnTo>
                  <a:pt x="468" y="894"/>
                </a:lnTo>
                <a:lnTo>
                  <a:pt x="444" y="894"/>
                </a:lnTo>
                <a:lnTo>
                  <a:pt x="438" y="900"/>
                </a:lnTo>
                <a:lnTo>
                  <a:pt x="438" y="924"/>
                </a:lnTo>
                <a:lnTo>
                  <a:pt x="432" y="924"/>
                </a:lnTo>
                <a:lnTo>
                  <a:pt x="426" y="918"/>
                </a:lnTo>
                <a:lnTo>
                  <a:pt x="396" y="918"/>
                </a:lnTo>
                <a:lnTo>
                  <a:pt x="390" y="924"/>
                </a:lnTo>
                <a:lnTo>
                  <a:pt x="390" y="942"/>
                </a:lnTo>
                <a:lnTo>
                  <a:pt x="396" y="948"/>
                </a:lnTo>
                <a:lnTo>
                  <a:pt x="396" y="954"/>
                </a:lnTo>
                <a:lnTo>
                  <a:pt x="378" y="972"/>
                </a:lnTo>
                <a:lnTo>
                  <a:pt x="390" y="978"/>
                </a:lnTo>
                <a:lnTo>
                  <a:pt x="396" y="990"/>
                </a:lnTo>
                <a:lnTo>
                  <a:pt x="408" y="1002"/>
                </a:lnTo>
                <a:lnTo>
                  <a:pt x="432" y="1014"/>
                </a:lnTo>
                <a:lnTo>
                  <a:pt x="438" y="1020"/>
                </a:lnTo>
                <a:lnTo>
                  <a:pt x="450" y="1026"/>
                </a:lnTo>
                <a:lnTo>
                  <a:pt x="450" y="984"/>
                </a:lnTo>
                <a:lnTo>
                  <a:pt x="456" y="972"/>
                </a:lnTo>
                <a:lnTo>
                  <a:pt x="462" y="966"/>
                </a:lnTo>
                <a:lnTo>
                  <a:pt x="474" y="960"/>
                </a:lnTo>
                <a:lnTo>
                  <a:pt x="486" y="960"/>
                </a:lnTo>
                <a:lnTo>
                  <a:pt x="492" y="966"/>
                </a:lnTo>
                <a:lnTo>
                  <a:pt x="504" y="972"/>
                </a:lnTo>
                <a:lnTo>
                  <a:pt x="510" y="984"/>
                </a:lnTo>
                <a:lnTo>
                  <a:pt x="516" y="990"/>
                </a:lnTo>
                <a:lnTo>
                  <a:pt x="516" y="978"/>
                </a:lnTo>
                <a:lnTo>
                  <a:pt x="522" y="966"/>
                </a:lnTo>
                <a:lnTo>
                  <a:pt x="522" y="954"/>
                </a:lnTo>
                <a:lnTo>
                  <a:pt x="528" y="942"/>
                </a:lnTo>
                <a:lnTo>
                  <a:pt x="528" y="930"/>
                </a:lnTo>
                <a:lnTo>
                  <a:pt x="522" y="918"/>
                </a:lnTo>
                <a:lnTo>
                  <a:pt x="516" y="912"/>
                </a:lnTo>
                <a:lnTo>
                  <a:pt x="516" y="906"/>
                </a:lnTo>
                <a:lnTo>
                  <a:pt x="498" y="912"/>
                </a:lnTo>
                <a:close/>
                <a:moveTo>
                  <a:pt x="354" y="1050"/>
                </a:moveTo>
                <a:lnTo>
                  <a:pt x="354" y="1038"/>
                </a:lnTo>
                <a:lnTo>
                  <a:pt x="372" y="1020"/>
                </a:lnTo>
                <a:lnTo>
                  <a:pt x="372" y="1008"/>
                </a:lnTo>
                <a:lnTo>
                  <a:pt x="360" y="1002"/>
                </a:lnTo>
                <a:lnTo>
                  <a:pt x="354" y="990"/>
                </a:lnTo>
                <a:lnTo>
                  <a:pt x="348" y="984"/>
                </a:lnTo>
                <a:lnTo>
                  <a:pt x="336" y="978"/>
                </a:lnTo>
                <a:lnTo>
                  <a:pt x="336" y="966"/>
                </a:lnTo>
                <a:lnTo>
                  <a:pt x="330" y="960"/>
                </a:lnTo>
                <a:lnTo>
                  <a:pt x="324" y="960"/>
                </a:lnTo>
                <a:lnTo>
                  <a:pt x="318" y="954"/>
                </a:lnTo>
                <a:lnTo>
                  <a:pt x="300" y="954"/>
                </a:lnTo>
                <a:lnTo>
                  <a:pt x="294" y="948"/>
                </a:lnTo>
                <a:lnTo>
                  <a:pt x="270" y="936"/>
                </a:lnTo>
                <a:lnTo>
                  <a:pt x="258" y="936"/>
                </a:lnTo>
                <a:lnTo>
                  <a:pt x="240" y="954"/>
                </a:lnTo>
                <a:lnTo>
                  <a:pt x="204" y="972"/>
                </a:lnTo>
                <a:lnTo>
                  <a:pt x="234" y="1026"/>
                </a:lnTo>
                <a:lnTo>
                  <a:pt x="252" y="1014"/>
                </a:lnTo>
                <a:lnTo>
                  <a:pt x="252" y="1008"/>
                </a:lnTo>
                <a:lnTo>
                  <a:pt x="246" y="1002"/>
                </a:lnTo>
                <a:lnTo>
                  <a:pt x="246" y="990"/>
                </a:lnTo>
                <a:lnTo>
                  <a:pt x="252" y="990"/>
                </a:lnTo>
                <a:lnTo>
                  <a:pt x="264" y="1002"/>
                </a:lnTo>
                <a:lnTo>
                  <a:pt x="270" y="1014"/>
                </a:lnTo>
                <a:lnTo>
                  <a:pt x="276" y="1020"/>
                </a:lnTo>
                <a:lnTo>
                  <a:pt x="282" y="1032"/>
                </a:lnTo>
                <a:lnTo>
                  <a:pt x="282" y="1068"/>
                </a:lnTo>
                <a:lnTo>
                  <a:pt x="264" y="1074"/>
                </a:lnTo>
                <a:lnTo>
                  <a:pt x="264" y="1080"/>
                </a:lnTo>
                <a:lnTo>
                  <a:pt x="270" y="1086"/>
                </a:lnTo>
                <a:lnTo>
                  <a:pt x="270" y="1104"/>
                </a:lnTo>
                <a:lnTo>
                  <a:pt x="276" y="1116"/>
                </a:lnTo>
                <a:lnTo>
                  <a:pt x="282" y="1134"/>
                </a:lnTo>
                <a:lnTo>
                  <a:pt x="294" y="1146"/>
                </a:lnTo>
                <a:lnTo>
                  <a:pt x="300" y="1146"/>
                </a:lnTo>
                <a:lnTo>
                  <a:pt x="306" y="1140"/>
                </a:lnTo>
                <a:lnTo>
                  <a:pt x="306" y="1104"/>
                </a:lnTo>
                <a:lnTo>
                  <a:pt x="336" y="1116"/>
                </a:lnTo>
                <a:lnTo>
                  <a:pt x="336" y="1140"/>
                </a:lnTo>
                <a:lnTo>
                  <a:pt x="342" y="1146"/>
                </a:lnTo>
                <a:lnTo>
                  <a:pt x="342" y="1152"/>
                </a:lnTo>
                <a:lnTo>
                  <a:pt x="348" y="1152"/>
                </a:lnTo>
                <a:lnTo>
                  <a:pt x="348" y="1140"/>
                </a:lnTo>
                <a:lnTo>
                  <a:pt x="360" y="1128"/>
                </a:lnTo>
                <a:lnTo>
                  <a:pt x="366" y="1116"/>
                </a:lnTo>
                <a:lnTo>
                  <a:pt x="366" y="1110"/>
                </a:lnTo>
                <a:lnTo>
                  <a:pt x="360" y="1104"/>
                </a:lnTo>
                <a:lnTo>
                  <a:pt x="360" y="1074"/>
                </a:lnTo>
                <a:lnTo>
                  <a:pt x="354" y="1062"/>
                </a:lnTo>
                <a:lnTo>
                  <a:pt x="354" y="1050"/>
                </a:lnTo>
                <a:close/>
                <a:moveTo>
                  <a:pt x="264" y="1026"/>
                </a:moveTo>
                <a:lnTo>
                  <a:pt x="246" y="1062"/>
                </a:lnTo>
                <a:lnTo>
                  <a:pt x="264" y="1056"/>
                </a:lnTo>
                <a:lnTo>
                  <a:pt x="264" y="1026"/>
                </a:lnTo>
                <a:close/>
                <a:moveTo>
                  <a:pt x="624" y="618"/>
                </a:moveTo>
                <a:lnTo>
                  <a:pt x="636" y="618"/>
                </a:lnTo>
                <a:lnTo>
                  <a:pt x="636" y="594"/>
                </a:lnTo>
                <a:lnTo>
                  <a:pt x="630" y="594"/>
                </a:lnTo>
                <a:lnTo>
                  <a:pt x="612" y="570"/>
                </a:lnTo>
                <a:lnTo>
                  <a:pt x="606" y="582"/>
                </a:lnTo>
                <a:lnTo>
                  <a:pt x="618" y="600"/>
                </a:lnTo>
                <a:lnTo>
                  <a:pt x="624" y="618"/>
                </a:lnTo>
                <a:close/>
                <a:moveTo>
                  <a:pt x="546" y="72"/>
                </a:moveTo>
                <a:lnTo>
                  <a:pt x="552" y="96"/>
                </a:lnTo>
                <a:lnTo>
                  <a:pt x="558" y="102"/>
                </a:lnTo>
                <a:lnTo>
                  <a:pt x="570" y="108"/>
                </a:lnTo>
                <a:lnTo>
                  <a:pt x="576" y="114"/>
                </a:lnTo>
                <a:lnTo>
                  <a:pt x="576" y="132"/>
                </a:lnTo>
                <a:lnTo>
                  <a:pt x="564" y="144"/>
                </a:lnTo>
                <a:lnTo>
                  <a:pt x="564" y="150"/>
                </a:lnTo>
                <a:lnTo>
                  <a:pt x="570" y="156"/>
                </a:lnTo>
                <a:lnTo>
                  <a:pt x="576" y="168"/>
                </a:lnTo>
                <a:lnTo>
                  <a:pt x="582" y="174"/>
                </a:lnTo>
                <a:lnTo>
                  <a:pt x="582" y="186"/>
                </a:lnTo>
                <a:lnTo>
                  <a:pt x="576" y="186"/>
                </a:lnTo>
                <a:lnTo>
                  <a:pt x="564" y="180"/>
                </a:lnTo>
                <a:lnTo>
                  <a:pt x="552" y="180"/>
                </a:lnTo>
                <a:lnTo>
                  <a:pt x="540" y="174"/>
                </a:lnTo>
                <a:lnTo>
                  <a:pt x="528" y="174"/>
                </a:lnTo>
                <a:lnTo>
                  <a:pt x="522" y="168"/>
                </a:lnTo>
                <a:lnTo>
                  <a:pt x="522" y="180"/>
                </a:lnTo>
                <a:lnTo>
                  <a:pt x="540" y="198"/>
                </a:lnTo>
                <a:lnTo>
                  <a:pt x="516" y="228"/>
                </a:lnTo>
                <a:lnTo>
                  <a:pt x="522" y="240"/>
                </a:lnTo>
                <a:lnTo>
                  <a:pt x="528" y="246"/>
                </a:lnTo>
                <a:lnTo>
                  <a:pt x="528" y="252"/>
                </a:lnTo>
                <a:lnTo>
                  <a:pt x="534" y="258"/>
                </a:lnTo>
                <a:lnTo>
                  <a:pt x="546" y="264"/>
                </a:lnTo>
                <a:lnTo>
                  <a:pt x="552" y="270"/>
                </a:lnTo>
                <a:lnTo>
                  <a:pt x="564" y="276"/>
                </a:lnTo>
                <a:lnTo>
                  <a:pt x="570" y="282"/>
                </a:lnTo>
                <a:lnTo>
                  <a:pt x="576" y="282"/>
                </a:lnTo>
                <a:lnTo>
                  <a:pt x="576" y="318"/>
                </a:lnTo>
                <a:lnTo>
                  <a:pt x="582" y="330"/>
                </a:lnTo>
                <a:lnTo>
                  <a:pt x="600" y="330"/>
                </a:lnTo>
                <a:lnTo>
                  <a:pt x="600" y="300"/>
                </a:lnTo>
                <a:lnTo>
                  <a:pt x="636" y="300"/>
                </a:lnTo>
                <a:lnTo>
                  <a:pt x="642" y="294"/>
                </a:lnTo>
                <a:lnTo>
                  <a:pt x="606" y="270"/>
                </a:lnTo>
                <a:lnTo>
                  <a:pt x="588" y="270"/>
                </a:lnTo>
                <a:lnTo>
                  <a:pt x="576" y="264"/>
                </a:lnTo>
                <a:lnTo>
                  <a:pt x="570" y="264"/>
                </a:lnTo>
                <a:lnTo>
                  <a:pt x="558" y="258"/>
                </a:lnTo>
                <a:lnTo>
                  <a:pt x="558" y="246"/>
                </a:lnTo>
                <a:lnTo>
                  <a:pt x="564" y="240"/>
                </a:lnTo>
                <a:lnTo>
                  <a:pt x="576" y="234"/>
                </a:lnTo>
                <a:lnTo>
                  <a:pt x="600" y="246"/>
                </a:lnTo>
                <a:lnTo>
                  <a:pt x="606" y="252"/>
                </a:lnTo>
                <a:lnTo>
                  <a:pt x="618" y="240"/>
                </a:lnTo>
                <a:lnTo>
                  <a:pt x="630" y="234"/>
                </a:lnTo>
                <a:lnTo>
                  <a:pt x="636" y="234"/>
                </a:lnTo>
                <a:lnTo>
                  <a:pt x="690" y="252"/>
                </a:lnTo>
                <a:lnTo>
                  <a:pt x="726" y="270"/>
                </a:lnTo>
                <a:lnTo>
                  <a:pt x="756" y="282"/>
                </a:lnTo>
                <a:lnTo>
                  <a:pt x="768" y="282"/>
                </a:lnTo>
                <a:lnTo>
                  <a:pt x="768" y="270"/>
                </a:lnTo>
                <a:lnTo>
                  <a:pt x="762" y="258"/>
                </a:lnTo>
                <a:lnTo>
                  <a:pt x="762" y="222"/>
                </a:lnTo>
                <a:lnTo>
                  <a:pt x="780" y="204"/>
                </a:lnTo>
                <a:lnTo>
                  <a:pt x="792" y="204"/>
                </a:lnTo>
                <a:lnTo>
                  <a:pt x="798" y="210"/>
                </a:lnTo>
                <a:lnTo>
                  <a:pt x="816" y="210"/>
                </a:lnTo>
                <a:lnTo>
                  <a:pt x="840" y="198"/>
                </a:lnTo>
                <a:lnTo>
                  <a:pt x="858" y="180"/>
                </a:lnTo>
                <a:lnTo>
                  <a:pt x="804" y="144"/>
                </a:lnTo>
                <a:lnTo>
                  <a:pt x="804" y="120"/>
                </a:lnTo>
                <a:lnTo>
                  <a:pt x="798" y="108"/>
                </a:lnTo>
                <a:lnTo>
                  <a:pt x="792" y="102"/>
                </a:lnTo>
                <a:lnTo>
                  <a:pt x="786" y="102"/>
                </a:lnTo>
                <a:lnTo>
                  <a:pt x="774" y="114"/>
                </a:lnTo>
                <a:lnTo>
                  <a:pt x="774" y="126"/>
                </a:lnTo>
                <a:lnTo>
                  <a:pt x="756" y="120"/>
                </a:lnTo>
                <a:lnTo>
                  <a:pt x="720" y="114"/>
                </a:lnTo>
                <a:lnTo>
                  <a:pt x="678" y="102"/>
                </a:lnTo>
                <a:lnTo>
                  <a:pt x="648" y="90"/>
                </a:lnTo>
                <a:lnTo>
                  <a:pt x="624" y="72"/>
                </a:lnTo>
                <a:lnTo>
                  <a:pt x="552" y="24"/>
                </a:lnTo>
                <a:lnTo>
                  <a:pt x="516" y="6"/>
                </a:lnTo>
                <a:lnTo>
                  <a:pt x="498" y="0"/>
                </a:lnTo>
                <a:lnTo>
                  <a:pt x="498" y="18"/>
                </a:lnTo>
                <a:lnTo>
                  <a:pt x="510" y="30"/>
                </a:lnTo>
                <a:lnTo>
                  <a:pt x="516" y="42"/>
                </a:lnTo>
                <a:lnTo>
                  <a:pt x="528" y="54"/>
                </a:lnTo>
                <a:lnTo>
                  <a:pt x="534" y="66"/>
                </a:lnTo>
                <a:lnTo>
                  <a:pt x="546" y="72"/>
                </a:lnTo>
                <a:close/>
                <a:moveTo>
                  <a:pt x="282" y="1458"/>
                </a:moveTo>
                <a:lnTo>
                  <a:pt x="306" y="1458"/>
                </a:lnTo>
                <a:lnTo>
                  <a:pt x="276" y="1440"/>
                </a:lnTo>
                <a:lnTo>
                  <a:pt x="282" y="1458"/>
                </a:lnTo>
                <a:close/>
                <a:moveTo>
                  <a:pt x="300" y="1386"/>
                </a:moveTo>
                <a:lnTo>
                  <a:pt x="312" y="1398"/>
                </a:lnTo>
                <a:lnTo>
                  <a:pt x="318" y="1398"/>
                </a:lnTo>
                <a:lnTo>
                  <a:pt x="330" y="1386"/>
                </a:lnTo>
                <a:lnTo>
                  <a:pt x="336" y="1386"/>
                </a:lnTo>
                <a:lnTo>
                  <a:pt x="342" y="1380"/>
                </a:lnTo>
                <a:lnTo>
                  <a:pt x="342" y="1368"/>
                </a:lnTo>
                <a:lnTo>
                  <a:pt x="336" y="1362"/>
                </a:lnTo>
                <a:lnTo>
                  <a:pt x="318" y="1362"/>
                </a:lnTo>
                <a:lnTo>
                  <a:pt x="306" y="1368"/>
                </a:lnTo>
                <a:lnTo>
                  <a:pt x="300" y="1380"/>
                </a:lnTo>
                <a:lnTo>
                  <a:pt x="300" y="1386"/>
                </a:lnTo>
                <a:close/>
                <a:moveTo>
                  <a:pt x="312" y="1416"/>
                </a:moveTo>
                <a:lnTo>
                  <a:pt x="300" y="1416"/>
                </a:lnTo>
                <a:lnTo>
                  <a:pt x="300" y="1428"/>
                </a:lnTo>
                <a:lnTo>
                  <a:pt x="318" y="1428"/>
                </a:lnTo>
                <a:lnTo>
                  <a:pt x="318" y="1422"/>
                </a:lnTo>
                <a:lnTo>
                  <a:pt x="312" y="1416"/>
                </a:lnTo>
                <a:close/>
                <a:moveTo>
                  <a:pt x="336" y="1200"/>
                </a:moveTo>
                <a:lnTo>
                  <a:pt x="336" y="1206"/>
                </a:lnTo>
                <a:lnTo>
                  <a:pt x="330" y="1206"/>
                </a:lnTo>
                <a:lnTo>
                  <a:pt x="318" y="1212"/>
                </a:lnTo>
                <a:lnTo>
                  <a:pt x="342" y="1230"/>
                </a:lnTo>
                <a:lnTo>
                  <a:pt x="342" y="1218"/>
                </a:lnTo>
                <a:lnTo>
                  <a:pt x="336" y="1206"/>
                </a:lnTo>
                <a:lnTo>
                  <a:pt x="336" y="1200"/>
                </a:lnTo>
                <a:close/>
                <a:moveTo>
                  <a:pt x="366" y="1170"/>
                </a:moveTo>
                <a:lnTo>
                  <a:pt x="366" y="1182"/>
                </a:lnTo>
                <a:lnTo>
                  <a:pt x="360" y="1194"/>
                </a:lnTo>
                <a:lnTo>
                  <a:pt x="378" y="1224"/>
                </a:lnTo>
                <a:lnTo>
                  <a:pt x="378" y="1200"/>
                </a:lnTo>
                <a:lnTo>
                  <a:pt x="372" y="1194"/>
                </a:lnTo>
                <a:lnTo>
                  <a:pt x="372" y="1176"/>
                </a:lnTo>
                <a:lnTo>
                  <a:pt x="366" y="1170"/>
                </a:lnTo>
                <a:close/>
                <a:moveTo>
                  <a:pt x="36" y="1698"/>
                </a:moveTo>
                <a:lnTo>
                  <a:pt x="54" y="1698"/>
                </a:lnTo>
                <a:lnTo>
                  <a:pt x="60" y="1692"/>
                </a:lnTo>
                <a:lnTo>
                  <a:pt x="72" y="1692"/>
                </a:lnTo>
                <a:lnTo>
                  <a:pt x="42" y="1680"/>
                </a:lnTo>
                <a:lnTo>
                  <a:pt x="36" y="1686"/>
                </a:lnTo>
                <a:lnTo>
                  <a:pt x="36" y="1698"/>
                </a:lnTo>
                <a:close/>
                <a:moveTo>
                  <a:pt x="114" y="1662"/>
                </a:moveTo>
                <a:lnTo>
                  <a:pt x="96" y="1632"/>
                </a:lnTo>
                <a:lnTo>
                  <a:pt x="96" y="1662"/>
                </a:lnTo>
                <a:lnTo>
                  <a:pt x="102" y="1674"/>
                </a:lnTo>
                <a:lnTo>
                  <a:pt x="114" y="1680"/>
                </a:lnTo>
                <a:lnTo>
                  <a:pt x="120" y="1680"/>
                </a:lnTo>
                <a:lnTo>
                  <a:pt x="126" y="1674"/>
                </a:lnTo>
                <a:lnTo>
                  <a:pt x="126" y="1662"/>
                </a:lnTo>
                <a:lnTo>
                  <a:pt x="114" y="1662"/>
                </a:lnTo>
                <a:close/>
                <a:moveTo>
                  <a:pt x="12" y="1686"/>
                </a:moveTo>
                <a:lnTo>
                  <a:pt x="6" y="1686"/>
                </a:lnTo>
                <a:lnTo>
                  <a:pt x="0" y="1692"/>
                </a:lnTo>
                <a:lnTo>
                  <a:pt x="0" y="1704"/>
                </a:lnTo>
                <a:lnTo>
                  <a:pt x="6" y="1710"/>
                </a:lnTo>
                <a:lnTo>
                  <a:pt x="12" y="1710"/>
                </a:lnTo>
                <a:lnTo>
                  <a:pt x="24" y="1698"/>
                </a:lnTo>
                <a:lnTo>
                  <a:pt x="24" y="1686"/>
                </a:lnTo>
                <a:lnTo>
                  <a:pt x="12" y="1686"/>
                </a:lnTo>
                <a:close/>
                <a:moveTo>
                  <a:pt x="168" y="1536"/>
                </a:moveTo>
                <a:lnTo>
                  <a:pt x="168" y="1542"/>
                </a:lnTo>
                <a:lnTo>
                  <a:pt x="180" y="1548"/>
                </a:lnTo>
                <a:lnTo>
                  <a:pt x="186" y="1548"/>
                </a:lnTo>
                <a:lnTo>
                  <a:pt x="186" y="1536"/>
                </a:lnTo>
                <a:lnTo>
                  <a:pt x="180" y="1530"/>
                </a:lnTo>
                <a:lnTo>
                  <a:pt x="168" y="1530"/>
                </a:lnTo>
                <a:lnTo>
                  <a:pt x="168" y="1536"/>
                </a:lnTo>
                <a:close/>
                <a:moveTo>
                  <a:pt x="264" y="1494"/>
                </a:moveTo>
                <a:lnTo>
                  <a:pt x="252" y="1518"/>
                </a:lnTo>
                <a:lnTo>
                  <a:pt x="246" y="1536"/>
                </a:lnTo>
                <a:lnTo>
                  <a:pt x="246" y="1548"/>
                </a:lnTo>
                <a:lnTo>
                  <a:pt x="240" y="1554"/>
                </a:lnTo>
                <a:lnTo>
                  <a:pt x="240" y="1560"/>
                </a:lnTo>
                <a:lnTo>
                  <a:pt x="258" y="1566"/>
                </a:lnTo>
                <a:lnTo>
                  <a:pt x="264" y="1554"/>
                </a:lnTo>
                <a:lnTo>
                  <a:pt x="264" y="1548"/>
                </a:lnTo>
                <a:lnTo>
                  <a:pt x="270" y="1542"/>
                </a:lnTo>
                <a:lnTo>
                  <a:pt x="270" y="1524"/>
                </a:lnTo>
                <a:lnTo>
                  <a:pt x="288" y="1506"/>
                </a:lnTo>
                <a:lnTo>
                  <a:pt x="282" y="1500"/>
                </a:lnTo>
                <a:lnTo>
                  <a:pt x="282" y="1494"/>
                </a:lnTo>
                <a:lnTo>
                  <a:pt x="276" y="1488"/>
                </a:lnTo>
                <a:lnTo>
                  <a:pt x="264" y="149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7" name="Jamaica"/>
          <p:cNvSpPr>
            <a:spLocks/>
          </p:cNvSpPr>
          <p:nvPr/>
        </p:nvSpPr>
        <p:spPr bwMode="gray">
          <a:xfrm>
            <a:off x="1802671" y="3663030"/>
            <a:ext cx="63500" cy="20638"/>
          </a:xfrm>
          <a:custGeom>
            <a:avLst/>
            <a:gdLst>
              <a:gd name="T0" fmla="*/ 2147483647 w 156"/>
              <a:gd name="T1" fmla="*/ 2147483647 h 54"/>
              <a:gd name="T2" fmla="*/ 2147483647 w 156"/>
              <a:gd name="T3" fmla="*/ 2147483647 h 54"/>
              <a:gd name="T4" fmla="*/ 2147483647 w 156"/>
              <a:gd name="T5" fmla="*/ 2147483647 h 54"/>
              <a:gd name="T6" fmla="*/ 2147483647 w 156"/>
              <a:gd name="T7" fmla="*/ 2147483647 h 54"/>
              <a:gd name="T8" fmla="*/ 2147483647 w 156"/>
              <a:gd name="T9" fmla="*/ 2147483647 h 54"/>
              <a:gd name="T10" fmla="*/ 2147483647 w 156"/>
              <a:gd name="T11" fmla="*/ 2147483647 h 54"/>
              <a:gd name="T12" fmla="*/ 2147483647 w 156"/>
              <a:gd name="T13" fmla="*/ 2147483647 h 54"/>
              <a:gd name="T14" fmla="*/ 2147483647 w 156"/>
              <a:gd name="T15" fmla="*/ 2147483647 h 54"/>
              <a:gd name="T16" fmla="*/ 2147483647 w 156"/>
              <a:gd name="T17" fmla="*/ 0 h 54"/>
              <a:gd name="T18" fmla="*/ 2147483647 w 156"/>
              <a:gd name="T19" fmla="*/ 0 h 54"/>
              <a:gd name="T20" fmla="*/ 2147483647 w 156"/>
              <a:gd name="T21" fmla="*/ 2147483647 h 54"/>
              <a:gd name="T22" fmla="*/ 0 w 156"/>
              <a:gd name="T23" fmla="*/ 2147483647 h 54"/>
              <a:gd name="T24" fmla="*/ 2147483647 w 156"/>
              <a:gd name="T25" fmla="*/ 2147483647 h 54"/>
              <a:gd name="T26" fmla="*/ 2147483647 w 156"/>
              <a:gd name="T27" fmla="*/ 2147483647 h 54"/>
              <a:gd name="T28" fmla="*/ 2147483647 w 156"/>
              <a:gd name="T29" fmla="*/ 2147483647 h 54"/>
              <a:gd name="T30" fmla="*/ 2147483647 w 156"/>
              <a:gd name="T31" fmla="*/ 2147483647 h 54"/>
              <a:gd name="T32" fmla="*/ 2147483647 w 156"/>
              <a:gd name="T33" fmla="*/ 2147483647 h 54"/>
              <a:gd name="T34" fmla="*/ 2147483647 w 156"/>
              <a:gd name="T35" fmla="*/ 2147483647 h 54"/>
              <a:gd name="T36" fmla="*/ 2147483647 w 156"/>
              <a:gd name="T37" fmla="*/ 2147483647 h 5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56"/>
              <a:gd name="T58" fmla="*/ 0 h 54"/>
              <a:gd name="T59" fmla="*/ 156 w 156"/>
              <a:gd name="T60" fmla="*/ 54 h 5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56" h="54">
                <a:moveTo>
                  <a:pt x="108" y="54"/>
                </a:moveTo>
                <a:lnTo>
                  <a:pt x="114" y="36"/>
                </a:lnTo>
                <a:lnTo>
                  <a:pt x="156" y="48"/>
                </a:lnTo>
                <a:lnTo>
                  <a:pt x="156" y="42"/>
                </a:lnTo>
                <a:lnTo>
                  <a:pt x="150" y="36"/>
                </a:lnTo>
                <a:lnTo>
                  <a:pt x="144" y="24"/>
                </a:lnTo>
                <a:lnTo>
                  <a:pt x="126" y="6"/>
                </a:lnTo>
                <a:lnTo>
                  <a:pt x="84" y="6"/>
                </a:lnTo>
                <a:lnTo>
                  <a:pt x="66" y="0"/>
                </a:lnTo>
                <a:lnTo>
                  <a:pt x="24" y="0"/>
                </a:lnTo>
                <a:lnTo>
                  <a:pt x="12" y="6"/>
                </a:lnTo>
                <a:lnTo>
                  <a:pt x="0" y="6"/>
                </a:lnTo>
                <a:lnTo>
                  <a:pt x="6" y="18"/>
                </a:lnTo>
                <a:lnTo>
                  <a:pt x="18" y="24"/>
                </a:lnTo>
                <a:lnTo>
                  <a:pt x="24" y="36"/>
                </a:lnTo>
                <a:lnTo>
                  <a:pt x="36" y="42"/>
                </a:lnTo>
                <a:lnTo>
                  <a:pt x="60" y="42"/>
                </a:lnTo>
                <a:lnTo>
                  <a:pt x="78" y="48"/>
                </a:lnTo>
                <a:lnTo>
                  <a:pt x="108" y="5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8" name="Italy"/>
          <p:cNvSpPr>
            <a:spLocks noEditPoints="1"/>
          </p:cNvSpPr>
          <p:nvPr/>
        </p:nvSpPr>
        <p:spPr bwMode="gray">
          <a:xfrm>
            <a:off x="4214083" y="2734343"/>
            <a:ext cx="312738" cy="334962"/>
          </a:xfrm>
          <a:custGeom>
            <a:avLst/>
            <a:gdLst>
              <a:gd name="T0" fmla="*/ 2147483647 w 780"/>
              <a:gd name="T1" fmla="*/ 2147483647 h 828"/>
              <a:gd name="T2" fmla="*/ 2147483647 w 780"/>
              <a:gd name="T3" fmla="*/ 2147483647 h 828"/>
              <a:gd name="T4" fmla="*/ 2147483647 w 780"/>
              <a:gd name="T5" fmla="*/ 2147483647 h 828"/>
              <a:gd name="T6" fmla="*/ 2147483647 w 780"/>
              <a:gd name="T7" fmla="*/ 2147483647 h 828"/>
              <a:gd name="T8" fmla="*/ 2147483647 w 780"/>
              <a:gd name="T9" fmla="*/ 2147483647 h 828"/>
              <a:gd name="T10" fmla="*/ 2147483647 w 780"/>
              <a:gd name="T11" fmla="*/ 2147483647 h 828"/>
              <a:gd name="T12" fmla="*/ 2147483647 w 780"/>
              <a:gd name="T13" fmla="*/ 2147483647 h 828"/>
              <a:gd name="T14" fmla="*/ 2147483647 w 780"/>
              <a:gd name="T15" fmla="*/ 2147483647 h 828"/>
              <a:gd name="T16" fmla="*/ 2147483647 w 780"/>
              <a:gd name="T17" fmla="*/ 2147483647 h 828"/>
              <a:gd name="T18" fmla="*/ 2147483647 w 780"/>
              <a:gd name="T19" fmla="*/ 2147483647 h 828"/>
              <a:gd name="T20" fmla="*/ 2147483647 w 780"/>
              <a:gd name="T21" fmla="*/ 2147483647 h 828"/>
              <a:gd name="T22" fmla="*/ 2147483647 w 780"/>
              <a:gd name="T23" fmla="*/ 2147483647 h 828"/>
              <a:gd name="T24" fmla="*/ 2147483647 w 780"/>
              <a:gd name="T25" fmla="*/ 2147483647 h 828"/>
              <a:gd name="T26" fmla="*/ 2147483647 w 780"/>
              <a:gd name="T27" fmla="*/ 2147483647 h 828"/>
              <a:gd name="T28" fmla="*/ 2147483647 w 780"/>
              <a:gd name="T29" fmla="*/ 2147483647 h 828"/>
              <a:gd name="T30" fmla="*/ 2147483647 w 780"/>
              <a:gd name="T31" fmla="*/ 2147483647 h 828"/>
              <a:gd name="T32" fmla="*/ 2147483647 w 780"/>
              <a:gd name="T33" fmla="*/ 2147483647 h 828"/>
              <a:gd name="T34" fmla="*/ 2147483647 w 780"/>
              <a:gd name="T35" fmla="*/ 2147483647 h 828"/>
              <a:gd name="T36" fmla="*/ 2147483647 w 780"/>
              <a:gd name="T37" fmla="*/ 2147483647 h 828"/>
              <a:gd name="T38" fmla="*/ 2147483647 w 780"/>
              <a:gd name="T39" fmla="*/ 2147483647 h 828"/>
              <a:gd name="T40" fmla="*/ 2147483647 w 780"/>
              <a:gd name="T41" fmla="*/ 2147483647 h 828"/>
              <a:gd name="T42" fmla="*/ 2147483647 w 780"/>
              <a:gd name="T43" fmla="*/ 2147483647 h 828"/>
              <a:gd name="T44" fmla="*/ 2147483647 w 780"/>
              <a:gd name="T45" fmla="*/ 2147483647 h 828"/>
              <a:gd name="T46" fmla="*/ 2147483647 w 780"/>
              <a:gd name="T47" fmla="*/ 2147483647 h 828"/>
              <a:gd name="T48" fmla="*/ 2147483647 w 780"/>
              <a:gd name="T49" fmla="*/ 2147483647 h 828"/>
              <a:gd name="T50" fmla="*/ 2147483647 w 780"/>
              <a:gd name="T51" fmla="*/ 2147483647 h 828"/>
              <a:gd name="T52" fmla="*/ 2147483647 w 780"/>
              <a:gd name="T53" fmla="*/ 2147483647 h 828"/>
              <a:gd name="T54" fmla="*/ 2147483647 w 780"/>
              <a:gd name="T55" fmla="*/ 2147483647 h 828"/>
              <a:gd name="T56" fmla="*/ 2147483647 w 780"/>
              <a:gd name="T57" fmla="*/ 2147483647 h 828"/>
              <a:gd name="T58" fmla="*/ 2147483647 w 780"/>
              <a:gd name="T59" fmla="*/ 2147483647 h 828"/>
              <a:gd name="T60" fmla="*/ 2147483647 w 780"/>
              <a:gd name="T61" fmla="*/ 2147483647 h 828"/>
              <a:gd name="T62" fmla="*/ 2147483647 w 780"/>
              <a:gd name="T63" fmla="*/ 2147483647 h 828"/>
              <a:gd name="T64" fmla="*/ 2147483647 w 780"/>
              <a:gd name="T65" fmla="*/ 2147483647 h 828"/>
              <a:gd name="T66" fmla="*/ 2147483647 w 780"/>
              <a:gd name="T67" fmla="*/ 2147483647 h 828"/>
              <a:gd name="T68" fmla="*/ 2147483647 w 780"/>
              <a:gd name="T69" fmla="*/ 2147483647 h 828"/>
              <a:gd name="T70" fmla="*/ 2147483647 w 780"/>
              <a:gd name="T71" fmla="*/ 2147483647 h 828"/>
              <a:gd name="T72" fmla="*/ 2147483647 w 780"/>
              <a:gd name="T73" fmla="*/ 2147483647 h 828"/>
              <a:gd name="T74" fmla="*/ 2147483647 w 780"/>
              <a:gd name="T75" fmla="*/ 2147483647 h 828"/>
              <a:gd name="T76" fmla="*/ 2147483647 w 780"/>
              <a:gd name="T77" fmla="*/ 2147483647 h 828"/>
              <a:gd name="T78" fmla="*/ 2147483647 w 780"/>
              <a:gd name="T79" fmla="*/ 2147483647 h 828"/>
              <a:gd name="T80" fmla="*/ 2147483647 w 780"/>
              <a:gd name="T81" fmla="*/ 2147483647 h 828"/>
              <a:gd name="T82" fmla="*/ 2147483647 w 780"/>
              <a:gd name="T83" fmla="*/ 2147483647 h 828"/>
              <a:gd name="T84" fmla="*/ 2147483647 w 780"/>
              <a:gd name="T85" fmla="*/ 2147483647 h 828"/>
              <a:gd name="T86" fmla="*/ 2147483647 w 780"/>
              <a:gd name="T87" fmla="*/ 2147483647 h 828"/>
              <a:gd name="T88" fmla="*/ 2147483647 w 780"/>
              <a:gd name="T89" fmla="*/ 2147483647 h 828"/>
              <a:gd name="T90" fmla="*/ 2147483647 w 780"/>
              <a:gd name="T91" fmla="*/ 2147483647 h 828"/>
              <a:gd name="T92" fmla="*/ 2147483647 w 780"/>
              <a:gd name="T93" fmla="*/ 2147483647 h 828"/>
              <a:gd name="T94" fmla="*/ 2147483647 w 780"/>
              <a:gd name="T95" fmla="*/ 2147483647 h 828"/>
              <a:gd name="T96" fmla="*/ 2147483647 w 780"/>
              <a:gd name="T97" fmla="*/ 2147483647 h 828"/>
              <a:gd name="T98" fmla="*/ 2147483647 w 780"/>
              <a:gd name="T99" fmla="*/ 2147483647 h 828"/>
              <a:gd name="T100" fmla="*/ 2147483647 w 780"/>
              <a:gd name="T101" fmla="*/ 2147483647 h 828"/>
              <a:gd name="T102" fmla="*/ 2147483647 w 780"/>
              <a:gd name="T103" fmla="*/ 2147483647 h 828"/>
              <a:gd name="T104" fmla="*/ 2147483647 w 780"/>
              <a:gd name="T105" fmla="*/ 2147483647 h 828"/>
              <a:gd name="T106" fmla="*/ 2147483647 w 780"/>
              <a:gd name="T107" fmla="*/ 2147483647 h 828"/>
              <a:gd name="T108" fmla="*/ 2147483647 w 780"/>
              <a:gd name="T109" fmla="*/ 2147483647 h 828"/>
              <a:gd name="T110" fmla="*/ 2147483647 w 780"/>
              <a:gd name="T111" fmla="*/ 2147483647 h 828"/>
              <a:gd name="T112" fmla="*/ 2147483647 w 780"/>
              <a:gd name="T113" fmla="*/ 2147483647 h 82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780"/>
              <a:gd name="T172" fmla="*/ 0 h 828"/>
              <a:gd name="T173" fmla="*/ 780 w 780"/>
              <a:gd name="T174" fmla="*/ 828 h 82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780" h="828">
                <a:moveTo>
                  <a:pt x="570" y="720"/>
                </a:moveTo>
                <a:lnTo>
                  <a:pt x="558" y="714"/>
                </a:lnTo>
                <a:lnTo>
                  <a:pt x="552" y="708"/>
                </a:lnTo>
                <a:lnTo>
                  <a:pt x="540" y="708"/>
                </a:lnTo>
                <a:lnTo>
                  <a:pt x="534" y="714"/>
                </a:lnTo>
                <a:lnTo>
                  <a:pt x="522" y="720"/>
                </a:lnTo>
                <a:lnTo>
                  <a:pt x="516" y="726"/>
                </a:lnTo>
                <a:lnTo>
                  <a:pt x="468" y="726"/>
                </a:lnTo>
                <a:lnTo>
                  <a:pt x="456" y="720"/>
                </a:lnTo>
                <a:lnTo>
                  <a:pt x="444" y="708"/>
                </a:lnTo>
                <a:lnTo>
                  <a:pt x="438" y="708"/>
                </a:lnTo>
                <a:lnTo>
                  <a:pt x="420" y="726"/>
                </a:lnTo>
                <a:lnTo>
                  <a:pt x="402" y="714"/>
                </a:lnTo>
                <a:lnTo>
                  <a:pt x="396" y="714"/>
                </a:lnTo>
                <a:lnTo>
                  <a:pt x="384" y="726"/>
                </a:lnTo>
                <a:lnTo>
                  <a:pt x="384" y="738"/>
                </a:lnTo>
                <a:lnTo>
                  <a:pt x="396" y="750"/>
                </a:lnTo>
                <a:lnTo>
                  <a:pt x="420" y="762"/>
                </a:lnTo>
                <a:lnTo>
                  <a:pt x="426" y="762"/>
                </a:lnTo>
                <a:lnTo>
                  <a:pt x="444" y="780"/>
                </a:lnTo>
                <a:lnTo>
                  <a:pt x="444" y="786"/>
                </a:lnTo>
                <a:lnTo>
                  <a:pt x="456" y="786"/>
                </a:lnTo>
                <a:lnTo>
                  <a:pt x="468" y="798"/>
                </a:lnTo>
                <a:lnTo>
                  <a:pt x="480" y="804"/>
                </a:lnTo>
                <a:lnTo>
                  <a:pt x="498" y="798"/>
                </a:lnTo>
                <a:lnTo>
                  <a:pt x="504" y="804"/>
                </a:lnTo>
                <a:lnTo>
                  <a:pt x="516" y="810"/>
                </a:lnTo>
                <a:lnTo>
                  <a:pt x="522" y="822"/>
                </a:lnTo>
                <a:lnTo>
                  <a:pt x="534" y="828"/>
                </a:lnTo>
                <a:lnTo>
                  <a:pt x="558" y="828"/>
                </a:lnTo>
                <a:lnTo>
                  <a:pt x="570" y="816"/>
                </a:lnTo>
                <a:lnTo>
                  <a:pt x="570" y="792"/>
                </a:lnTo>
                <a:lnTo>
                  <a:pt x="564" y="780"/>
                </a:lnTo>
                <a:lnTo>
                  <a:pt x="564" y="768"/>
                </a:lnTo>
                <a:lnTo>
                  <a:pt x="570" y="750"/>
                </a:lnTo>
                <a:lnTo>
                  <a:pt x="576" y="738"/>
                </a:lnTo>
                <a:lnTo>
                  <a:pt x="582" y="732"/>
                </a:lnTo>
                <a:lnTo>
                  <a:pt x="582" y="714"/>
                </a:lnTo>
                <a:lnTo>
                  <a:pt x="576" y="702"/>
                </a:lnTo>
                <a:lnTo>
                  <a:pt x="570" y="720"/>
                </a:lnTo>
                <a:close/>
                <a:moveTo>
                  <a:pt x="180" y="468"/>
                </a:moveTo>
                <a:lnTo>
                  <a:pt x="156" y="480"/>
                </a:lnTo>
                <a:lnTo>
                  <a:pt x="150" y="486"/>
                </a:lnTo>
                <a:lnTo>
                  <a:pt x="138" y="492"/>
                </a:lnTo>
                <a:lnTo>
                  <a:pt x="132" y="498"/>
                </a:lnTo>
                <a:lnTo>
                  <a:pt x="126" y="498"/>
                </a:lnTo>
                <a:lnTo>
                  <a:pt x="114" y="492"/>
                </a:lnTo>
                <a:lnTo>
                  <a:pt x="102" y="480"/>
                </a:lnTo>
                <a:lnTo>
                  <a:pt x="96" y="498"/>
                </a:lnTo>
                <a:lnTo>
                  <a:pt x="102" y="504"/>
                </a:lnTo>
                <a:lnTo>
                  <a:pt x="114" y="510"/>
                </a:lnTo>
                <a:lnTo>
                  <a:pt x="120" y="522"/>
                </a:lnTo>
                <a:lnTo>
                  <a:pt x="120" y="540"/>
                </a:lnTo>
                <a:lnTo>
                  <a:pt x="114" y="558"/>
                </a:lnTo>
                <a:lnTo>
                  <a:pt x="114" y="570"/>
                </a:lnTo>
                <a:lnTo>
                  <a:pt x="126" y="582"/>
                </a:lnTo>
                <a:lnTo>
                  <a:pt x="114" y="588"/>
                </a:lnTo>
                <a:lnTo>
                  <a:pt x="120" y="636"/>
                </a:lnTo>
                <a:lnTo>
                  <a:pt x="108" y="636"/>
                </a:lnTo>
                <a:lnTo>
                  <a:pt x="126" y="654"/>
                </a:lnTo>
                <a:lnTo>
                  <a:pt x="138" y="654"/>
                </a:lnTo>
                <a:lnTo>
                  <a:pt x="144" y="642"/>
                </a:lnTo>
                <a:lnTo>
                  <a:pt x="156" y="630"/>
                </a:lnTo>
                <a:lnTo>
                  <a:pt x="156" y="618"/>
                </a:lnTo>
                <a:lnTo>
                  <a:pt x="168" y="630"/>
                </a:lnTo>
                <a:lnTo>
                  <a:pt x="180" y="636"/>
                </a:lnTo>
                <a:lnTo>
                  <a:pt x="186" y="636"/>
                </a:lnTo>
                <a:lnTo>
                  <a:pt x="192" y="630"/>
                </a:lnTo>
                <a:lnTo>
                  <a:pt x="198" y="618"/>
                </a:lnTo>
                <a:lnTo>
                  <a:pt x="198" y="594"/>
                </a:lnTo>
                <a:lnTo>
                  <a:pt x="204" y="582"/>
                </a:lnTo>
                <a:lnTo>
                  <a:pt x="204" y="558"/>
                </a:lnTo>
                <a:lnTo>
                  <a:pt x="198" y="552"/>
                </a:lnTo>
                <a:lnTo>
                  <a:pt x="192" y="552"/>
                </a:lnTo>
                <a:lnTo>
                  <a:pt x="192" y="546"/>
                </a:lnTo>
                <a:lnTo>
                  <a:pt x="198" y="540"/>
                </a:lnTo>
                <a:lnTo>
                  <a:pt x="204" y="540"/>
                </a:lnTo>
                <a:lnTo>
                  <a:pt x="210" y="534"/>
                </a:lnTo>
                <a:lnTo>
                  <a:pt x="210" y="522"/>
                </a:lnTo>
                <a:lnTo>
                  <a:pt x="204" y="510"/>
                </a:lnTo>
                <a:lnTo>
                  <a:pt x="204" y="492"/>
                </a:lnTo>
                <a:lnTo>
                  <a:pt x="198" y="480"/>
                </a:lnTo>
                <a:lnTo>
                  <a:pt x="186" y="474"/>
                </a:lnTo>
                <a:lnTo>
                  <a:pt x="180" y="468"/>
                </a:lnTo>
                <a:close/>
                <a:moveTo>
                  <a:pt x="774" y="546"/>
                </a:moveTo>
                <a:lnTo>
                  <a:pt x="768" y="534"/>
                </a:lnTo>
                <a:lnTo>
                  <a:pt x="756" y="528"/>
                </a:lnTo>
                <a:lnTo>
                  <a:pt x="738" y="510"/>
                </a:lnTo>
                <a:lnTo>
                  <a:pt x="678" y="480"/>
                </a:lnTo>
                <a:lnTo>
                  <a:pt x="672" y="480"/>
                </a:lnTo>
                <a:lnTo>
                  <a:pt x="660" y="474"/>
                </a:lnTo>
                <a:lnTo>
                  <a:pt x="648" y="474"/>
                </a:lnTo>
                <a:lnTo>
                  <a:pt x="630" y="468"/>
                </a:lnTo>
                <a:lnTo>
                  <a:pt x="606" y="456"/>
                </a:lnTo>
                <a:lnTo>
                  <a:pt x="606" y="450"/>
                </a:lnTo>
                <a:lnTo>
                  <a:pt x="612" y="438"/>
                </a:lnTo>
                <a:lnTo>
                  <a:pt x="624" y="426"/>
                </a:lnTo>
                <a:lnTo>
                  <a:pt x="624" y="420"/>
                </a:lnTo>
                <a:lnTo>
                  <a:pt x="618" y="414"/>
                </a:lnTo>
                <a:lnTo>
                  <a:pt x="612" y="414"/>
                </a:lnTo>
                <a:lnTo>
                  <a:pt x="594" y="408"/>
                </a:lnTo>
                <a:lnTo>
                  <a:pt x="552" y="408"/>
                </a:lnTo>
                <a:lnTo>
                  <a:pt x="540" y="402"/>
                </a:lnTo>
                <a:lnTo>
                  <a:pt x="534" y="396"/>
                </a:lnTo>
                <a:lnTo>
                  <a:pt x="516" y="384"/>
                </a:lnTo>
                <a:lnTo>
                  <a:pt x="492" y="360"/>
                </a:lnTo>
                <a:lnTo>
                  <a:pt x="480" y="342"/>
                </a:lnTo>
                <a:lnTo>
                  <a:pt x="474" y="336"/>
                </a:lnTo>
                <a:lnTo>
                  <a:pt x="468" y="324"/>
                </a:lnTo>
                <a:lnTo>
                  <a:pt x="468" y="312"/>
                </a:lnTo>
                <a:lnTo>
                  <a:pt x="450" y="276"/>
                </a:lnTo>
                <a:lnTo>
                  <a:pt x="438" y="270"/>
                </a:lnTo>
                <a:lnTo>
                  <a:pt x="432" y="264"/>
                </a:lnTo>
                <a:lnTo>
                  <a:pt x="420" y="258"/>
                </a:lnTo>
                <a:lnTo>
                  <a:pt x="414" y="252"/>
                </a:lnTo>
                <a:lnTo>
                  <a:pt x="378" y="222"/>
                </a:lnTo>
                <a:lnTo>
                  <a:pt x="372" y="210"/>
                </a:lnTo>
                <a:lnTo>
                  <a:pt x="360" y="198"/>
                </a:lnTo>
                <a:lnTo>
                  <a:pt x="360" y="186"/>
                </a:lnTo>
                <a:lnTo>
                  <a:pt x="366" y="180"/>
                </a:lnTo>
                <a:lnTo>
                  <a:pt x="384" y="180"/>
                </a:lnTo>
                <a:lnTo>
                  <a:pt x="384" y="174"/>
                </a:lnTo>
                <a:lnTo>
                  <a:pt x="372" y="162"/>
                </a:lnTo>
                <a:lnTo>
                  <a:pt x="366" y="150"/>
                </a:lnTo>
                <a:lnTo>
                  <a:pt x="366" y="138"/>
                </a:lnTo>
                <a:lnTo>
                  <a:pt x="402" y="120"/>
                </a:lnTo>
                <a:lnTo>
                  <a:pt x="408" y="114"/>
                </a:lnTo>
                <a:lnTo>
                  <a:pt x="414" y="114"/>
                </a:lnTo>
                <a:lnTo>
                  <a:pt x="438" y="108"/>
                </a:lnTo>
                <a:lnTo>
                  <a:pt x="444" y="72"/>
                </a:lnTo>
                <a:lnTo>
                  <a:pt x="432" y="66"/>
                </a:lnTo>
                <a:lnTo>
                  <a:pt x="438" y="60"/>
                </a:lnTo>
                <a:lnTo>
                  <a:pt x="438" y="42"/>
                </a:lnTo>
                <a:lnTo>
                  <a:pt x="384" y="42"/>
                </a:lnTo>
                <a:lnTo>
                  <a:pt x="378" y="24"/>
                </a:lnTo>
                <a:lnTo>
                  <a:pt x="366" y="24"/>
                </a:lnTo>
                <a:lnTo>
                  <a:pt x="366" y="6"/>
                </a:lnTo>
                <a:lnTo>
                  <a:pt x="360" y="0"/>
                </a:lnTo>
                <a:lnTo>
                  <a:pt x="342" y="0"/>
                </a:lnTo>
                <a:lnTo>
                  <a:pt x="336" y="6"/>
                </a:lnTo>
                <a:lnTo>
                  <a:pt x="336" y="12"/>
                </a:lnTo>
                <a:lnTo>
                  <a:pt x="294" y="12"/>
                </a:lnTo>
                <a:lnTo>
                  <a:pt x="282" y="30"/>
                </a:lnTo>
                <a:lnTo>
                  <a:pt x="270" y="24"/>
                </a:lnTo>
                <a:lnTo>
                  <a:pt x="252" y="24"/>
                </a:lnTo>
                <a:lnTo>
                  <a:pt x="246" y="42"/>
                </a:lnTo>
                <a:lnTo>
                  <a:pt x="222" y="42"/>
                </a:lnTo>
                <a:lnTo>
                  <a:pt x="222" y="48"/>
                </a:lnTo>
                <a:lnTo>
                  <a:pt x="234" y="60"/>
                </a:lnTo>
                <a:lnTo>
                  <a:pt x="228" y="72"/>
                </a:lnTo>
                <a:lnTo>
                  <a:pt x="210" y="60"/>
                </a:lnTo>
                <a:lnTo>
                  <a:pt x="192" y="66"/>
                </a:lnTo>
                <a:lnTo>
                  <a:pt x="180" y="48"/>
                </a:lnTo>
                <a:lnTo>
                  <a:pt x="174" y="72"/>
                </a:lnTo>
                <a:lnTo>
                  <a:pt x="162" y="84"/>
                </a:lnTo>
                <a:lnTo>
                  <a:pt x="162" y="102"/>
                </a:lnTo>
                <a:lnTo>
                  <a:pt x="138" y="78"/>
                </a:lnTo>
                <a:lnTo>
                  <a:pt x="132" y="78"/>
                </a:lnTo>
                <a:lnTo>
                  <a:pt x="132" y="72"/>
                </a:lnTo>
                <a:lnTo>
                  <a:pt x="126" y="66"/>
                </a:lnTo>
                <a:lnTo>
                  <a:pt x="126" y="60"/>
                </a:lnTo>
                <a:lnTo>
                  <a:pt x="120" y="54"/>
                </a:lnTo>
                <a:lnTo>
                  <a:pt x="108" y="54"/>
                </a:lnTo>
                <a:lnTo>
                  <a:pt x="102" y="60"/>
                </a:lnTo>
                <a:lnTo>
                  <a:pt x="102" y="78"/>
                </a:lnTo>
                <a:lnTo>
                  <a:pt x="84" y="96"/>
                </a:lnTo>
                <a:lnTo>
                  <a:pt x="78" y="96"/>
                </a:lnTo>
                <a:lnTo>
                  <a:pt x="66" y="84"/>
                </a:lnTo>
                <a:lnTo>
                  <a:pt x="54" y="84"/>
                </a:lnTo>
                <a:lnTo>
                  <a:pt x="42" y="96"/>
                </a:lnTo>
                <a:lnTo>
                  <a:pt x="30" y="96"/>
                </a:lnTo>
                <a:lnTo>
                  <a:pt x="30" y="102"/>
                </a:lnTo>
                <a:lnTo>
                  <a:pt x="24" y="102"/>
                </a:lnTo>
                <a:lnTo>
                  <a:pt x="18" y="108"/>
                </a:lnTo>
                <a:lnTo>
                  <a:pt x="42" y="132"/>
                </a:lnTo>
                <a:lnTo>
                  <a:pt x="42" y="138"/>
                </a:lnTo>
                <a:lnTo>
                  <a:pt x="24" y="156"/>
                </a:lnTo>
                <a:lnTo>
                  <a:pt x="0" y="156"/>
                </a:lnTo>
                <a:lnTo>
                  <a:pt x="12" y="174"/>
                </a:lnTo>
                <a:lnTo>
                  <a:pt x="24" y="174"/>
                </a:lnTo>
                <a:lnTo>
                  <a:pt x="30" y="180"/>
                </a:lnTo>
                <a:lnTo>
                  <a:pt x="30" y="192"/>
                </a:lnTo>
                <a:lnTo>
                  <a:pt x="24" y="198"/>
                </a:lnTo>
                <a:lnTo>
                  <a:pt x="24" y="204"/>
                </a:lnTo>
                <a:lnTo>
                  <a:pt x="18" y="210"/>
                </a:lnTo>
                <a:lnTo>
                  <a:pt x="18" y="216"/>
                </a:lnTo>
                <a:lnTo>
                  <a:pt x="24" y="222"/>
                </a:lnTo>
                <a:lnTo>
                  <a:pt x="36" y="228"/>
                </a:lnTo>
                <a:lnTo>
                  <a:pt x="42" y="228"/>
                </a:lnTo>
                <a:lnTo>
                  <a:pt x="42" y="234"/>
                </a:lnTo>
                <a:lnTo>
                  <a:pt x="66" y="234"/>
                </a:lnTo>
                <a:lnTo>
                  <a:pt x="72" y="240"/>
                </a:lnTo>
                <a:lnTo>
                  <a:pt x="72" y="246"/>
                </a:lnTo>
                <a:lnTo>
                  <a:pt x="54" y="264"/>
                </a:lnTo>
                <a:lnTo>
                  <a:pt x="54" y="270"/>
                </a:lnTo>
                <a:lnTo>
                  <a:pt x="66" y="270"/>
                </a:lnTo>
                <a:lnTo>
                  <a:pt x="90" y="258"/>
                </a:lnTo>
                <a:lnTo>
                  <a:pt x="120" y="228"/>
                </a:lnTo>
                <a:lnTo>
                  <a:pt x="144" y="216"/>
                </a:lnTo>
                <a:lnTo>
                  <a:pt x="156" y="216"/>
                </a:lnTo>
                <a:lnTo>
                  <a:pt x="168" y="222"/>
                </a:lnTo>
                <a:lnTo>
                  <a:pt x="204" y="234"/>
                </a:lnTo>
                <a:lnTo>
                  <a:pt x="216" y="240"/>
                </a:lnTo>
                <a:lnTo>
                  <a:pt x="228" y="252"/>
                </a:lnTo>
                <a:lnTo>
                  <a:pt x="234" y="264"/>
                </a:lnTo>
                <a:lnTo>
                  <a:pt x="234" y="276"/>
                </a:lnTo>
                <a:lnTo>
                  <a:pt x="240" y="282"/>
                </a:lnTo>
                <a:lnTo>
                  <a:pt x="240" y="288"/>
                </a:lnTo>
                <a:lnTo>
                  <a:pt x="252" y="300"/>
                </a:lnTo>
                <a:lnTo>
                  <a:pt x="252" y="306"/>
                </a:lnTo>
                <a:lnTo>
                  <a:pt x="246" y="318"/>
                </a:lnTo>
                <a:lnTo>
                  <a:pt x="246" y="324"/>
                </a:lnTo>
                <a:lnTo>
                  <a:pt x="258" y="336"/>
                </a:lnTo>
                <a:lnTo>
                  <a:pt x="282" y="348"/>
                </a:lnTo>
                <a:lnTo>
                  <a:pt x="288" y="354"/>
                </a:lnTo>
                <a:lnTo>
                  <a:pt x="294" y="354"/>
                </a:lnTo>
                <a:lnTo>
                  <a:pt x="300" y="372"/>
                </a:lnTo>
                <a:lnTo>
                  <a:pt x="330" y="372"/>
                </a:lnTo>
                <a:lnTo>
                  <a:pt x="348" y="390"/>
                </a:lnTo>
                <a:lnTo>
                  <a:pt x="354" y="402"/>
                </a:lnTo>
                <a:lnTo>
                  <a:pt x="366" y="414"/>
                </a:lnTo>
                <a:lnTo>
                  <a:pt x="378" y="420"/>
                </a:lnTo>
                <a:lnTo>
                  <a:pt x="384" y="432"/>
                </a:lnTo>
                <a:lnTo>
                  <a:pt x="420" y="468"/>
                </a:lnTo>
                <a:lnTo>
                  <a:pt x="456" y="468"/>
                </a:lnTo>
                <a:lnTo>
                  <a:pt x="462" y="474"/>
                </a:lnTo>
                <a:lnTo>
                  <a:pt x="468" y="486"/>
                </a:lnTo>
                <a:lnTo>
                  <a:pt x="492" y="498"/>
                </a:lnTo>
                <a:lnTo>
                  <a:pt x="510" y="504"/>
                </a:lnTo>
                <a:lnTo>
                  <a:pt x="528" y="504"/>
                </a:lnTo>
                <a:lnTo>
                  <a:pt x="540" y="510"/>
                </a:lnTo>
                <a:lnTo>
                  <a:pt x="546" y="510"/>
                </a:lnTo>
                <a:lnTo>
                  <a:pt x="552" y="522"/>
                </a:lnTo>
                <a:lnTo>
                  <a:pt x="552" y="534"/>
                </a:lnTo>
                <a:lnTo>
                  <a:pt x="564" y="558"/>
                </a:lnTo>
                <a:lnTo>
                  <a:pt x="570" y="564"/>
                </a:lnTo>
                <a:lnTo>
                  <a:pt x="582" y="564"/>
                </a:lnTo>
                <a:lnTo>
                  <a:pt x="594" y="558"/>
                </a:lnTo>
                <a:lnTo>
                  <a:pt x="600" y="558"/>
                </a:lnTo>
                <a:lnTo>
                  <a:pt x="600" y="570"/>
                </a:lnTo>
                <a:lnTo>
                  <a:pt x="606" y="582"/>
                </a:lnTo>
                <a:lnTo>
                  <a:pt x="606" y="606"/>
                </a:lnTo>
                <a:lnTo>
                  <a:pt x="612" y="618"/>
                </a:lnTo>
                <a:lnTo>
                  <a:pt x="630" y="636"/>
                </a:lnTo>
                <a:lnTo>
                  <a:pt x="630" y="666"/>
                </a:lnTo>
                <a:lnTo>
                  <a:pt x="612" y="666"/>
                </a:lnTo>
                <a:lnTo>
                  <a:pt x="612" y="690"/>
                </a:lnTo>
                <a:lnTo>
                  <a:pt x="606" y="696"/>
                </a:lnTo>
                <a:lnTo>
                  <a:pt x="600" y="708"/>
                </a:lnTo>
                <a:lnTo>
                  <a:pt x="594" y="714"/>
                </a:lnTo>
                <a:lnTo>
                  <a:pt x="594" y="732"/>
                </a:lnTo>
                <a:lnTo>
                  <a:pt x="606" y="732"/>
                </a:lnTo>
                <a:lnTo>
                  <a:pt x="618" y="726"/>
                </a:lnTo>
                <a:lnTo>
                  <a:pt x="624" y="726"/>
                </a:lnTo>
                <a:lnTo>
                  <a:pt x="636" y="702"/>
                </a:lnTo>
                <a:lnTo>
                  <a:pt x="654" y="696"/>
                </a:lnTo>
                <a:lnTo>
                  <a:pt x="654" y="666"/>
                </a:lnTo>
                <a:lnTo>
                  <a:pt x="666" y="654"/>
                </a:lnTo>
                <a:lnTo>
                  <a:pt x="678" y="654"/>
                </a:lnTo>
                <a:lnTo>
                  <a:pt x="684" y="648"/>
                </a:lnTo>
                <a:lnTo>
                  <a:pt x="696" y="648"/>
                </a:lnTo>
                <a:lnTo>
                  <a:pt x="696" y="636"/>
                </a:lnTo>
                <a:lnTo>
                  <a:pt x="690" y="630"/>
                </a:lnTo>
                <a:lnTo>
                  <a:pt x="690" y="618"/>
                </a:lnTo>
                <a:lnTo>
                  <a:pt x="678" y="606"/>
                </a:lnTo>
                <a:lnTo>
                  <a:pt x="666" y="606"/>
                </a:lnTo>
                <a:lnTo>
                  <a:pt x="648" y="588"/>
                </a:lnTo>
                <a:lnTo>
                  <a:pt x="654" y="582"/>
                </a:lnTo>
                <a:lnTo>
                  <a:pt x="660" y="570"/>
                </a:lnTo>
                <a:lnTo>
                  <a:pt x="666" y="552"/>
                </a:lnTo>
                <a:lnTo>
                  <a:pt x="672" y="540"/>
                </a:lnTo>
                <a:lnTo>
                  <a:pt x="684" y="528"/>
                </a:lnTo>
                <a:lnTo>
                  <a:pt x="690" y="534"/>
                </a:lnTo>
                <a:lnTo>
                  <a:pt x="702" y="534"/>
                </a:lnTo>
                <a:lnTo>
                  <a:pt x="708" y="540"/>
                </a:lnTo>
                <a:lnTo>
                  <a:pt x="738" y="540"/>
                </a:lnTo>
                <a:lnTo>
                  <a:pt x="738" y="552"/>
                </a:lnTo>
                <a:lnTo>
                  <a:pt x="744" y="558"/>
                </a:lnTo>
                <a:lnTo>
                  <a:pt x="744" y="564"/>
                </a:lnTo>
                <a:lnTo>
                  <a:pt x="750" y="576"/>
                </a:lnTo>
                <a:lnTo>
                  <a:pt x="762" y="576"/>
                </a:lnTo>
                <a:lnTo>
                  <a:pt x="774" y="570"/>
                </a:lnTo>
                <a:lnTo>
                  <a:pt x="780" y="564"/>
                </a:lnTo>
                <a:lnTo>
                  <a:pt x="780" y="558"/>
                </a:lnTo>
                <a:lnTo>
                  <a:pt x="774" y="54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19" name="Israel"/>
          <p:cNvSpPr>
            <a:spLocks/>
          </p:cNvSpPr>
          <p:nvPr/>
        </p:nvSpPr>
        <p:spPr bwMode="gray">
          <a:xfrm>
            <a:off x="4968146" y="3175668"/>
            <a:ext cx="41275" cy="128587"/>
          </a:xfrm>
          <a:custGeom>
            <a:avLst/>
            <a:gdLst>
              <a:gd name="T0" fmla="*/ 0 w 102"/>
              <a:gd name="T1" fmla="*/ 2147483647 h 324"/>
              <a:gd name="T2" fmla="*/ 2147483647 w 102"/>
              <a:gd name="T3" fmla="*/ 2147483647 h 324"/>
              <a:gd name="T4" fmla="*/ 2147483647 w 102"/>
              <a:gd name="T5" fmla="*/ 2147483647 h 324"/>
              <a:gd name="T6" fmla="*/ 2147483647 w 102"/>
              <a:gd name="T7" fmla="*/ 2147483647 h 324"/>
              <a:gd name="T8" fmla="*/ 2147483647 w 102"/>
              <a:gd name="T9" fmla="*/ 2147483647 h 324"/>
              <a:gd name="T10" fmla="*/ 2147483647 w 102"/>
              <a:gd name="T11" fmla="*/ 2147483647 h 324"/>
              <a:gd name="T12" fmla="*/ 2147483647 w 102"/>
              <a:gd name="T13" fmla="*/ 2147483647 h 324"/>
              <a:gd name="T14" fmla="*/ 2147483647 w 102"/>
              <a:gd name="T15" fmla="*/ 2147483647 h 324"/>
              <a:gd name="T16" fmla="*/ 2147483647 w 102"/>
              <a:gd name="T17" fmla="*/ 2147483647 h 324"/>
              <a:gd name="T18" fmla="*/ 2147483647 w 102"/>
              <a:gd name="T19" fmla="*/ 2147483647 h 324"/>
              <a:gd name="T20" fmla="*/ 2147483647 w 102"/>
              <a:gd name="T21" fmla="*/ 2147483647 h 324"/>
              <a:gd name="T22" fmla="*/ 2147483647 w 102"/>
              <a:gd name="T23" fmla="*/ 2147483647 h 324"/>
              <a:gd name="T24" fmla="*/ 2147483647 w 102"/>
              <a:gd name="T25" fmla="*/ 2147483647 h 324"/>
              <a:gd name="T26" fmla="*/ 2147483647 w 102"/>
              <a:gd name="T27" fmla="*/ 2147483647 h 324"/>
              <a:gd name="T28" fmla="*/ 2147483647 w 102"/>
              <a:gd name="T29" fmla="*/ 2147483647 h 324"/>
              <a:gd name="T30" fmla="*/ 2147483647 w 102"/>
              <a:gd name="T31" fmla="*/ 2147483647 h 324"/>
              <a:gd name="T32" fmla="*/ 2147483647 w 102"/>
              <a:gd name="T33" fmla="*/ 2147483647 h 324"/>
              <a:gd name="T34" fmla="*/ 2147483647 w 102"/>
              <a:gd name="T35" fmla="*/ 2147483647 h 324"/>
              <a:gd name="T36" fmla="*/ 2147483647 w 102"/>
              <a:gd name="T37" fmla="*/ 2147483647 h 324"/>
              <a:gd name="T38" fmla="*/ 2147483647 w 102"/>
              <a:gd name="T39" fmla="*/ 2147483647 h 324"/>
              <a:gd name="T40" fmla="*/ 2147483647 w 102"/>
              <a:gd name="T41" fmla="*/ 2147483647 h 324"/>
              <a:gd name="T42" fmla="*/ 2147483647 w 102"/>
              <a:gd name="T43" fmla="*/ 2147483647 h 324"/>
              <a:gd name="T44" fmla="*/ 2147483647 w 102"/>
              <a:gd name="T45" fmla="*/ 2147483647 h 324"/>
              <a:gd name="T46" fmla="*/ 2147483647 w 102"/>
              <a:gd name="T47" fmla="*/ 2147483647 h 324"/>
              <a:gd name="T48" fmla="*/ 2147483647 w 102"/>
              <a:gd name="T49" fmla="*/ 0 h 324"/>
              <a:gd name="T50" fmla="*/ 2147483647 w 102"/>
              <a:gd name="T51" fmla="*/ 2147483647 h 324"/>
              <a:gd name="T52" fmla="*/ 2147483647 w 102"/>
              <a:gd name="T53" fmla="*/ 2147483647 h 324"/>
              <a:gd name="T54" fmla="*/ 2147483647 w 102"/>
              <a:gd name="T55" fmla="*/ 2147483647 h 324"/>
              <a:gd name="T56" fmla="*/ 2147483647 w 102"/>
              <a:gd name="T57" fmla="*/ 2147483647 h 324"/>
              <a:gd name="T58" fmla="*/ 2147483647 w 102"/>
              <a:gd name="T59" fmla="*/ 2147483647 h 324"/>
              <a:gd name="T60" fmla="*/ 2147483647 w 102"/>
              <a:gd name="T61" fmla="*/ 2147483647 h 324"/>
              <a:gd name="T62" fmla="*/ 2147483647 w 102"/>
              <a:gd name="T63" fmla="*/ 2147483647 h 324"/>
              <a:gd name="T64" fmla="*/ 2147483647 w 102"/>
              <a:gd name="T65" fmla="*/ 2147483647 h 324"/>
              <a:gd name="T66" fmla="*/ 2147483647 w 102"/>
              <a:gd name="T67" fmla="*/ 2147483647 h 324"/>
              <a:gd name="T68" fmla="*/ 2147483647 w 102"/>
              <a:gd name="T69" fmla="*/ 2147483647 h 324"/>
              <a:gd name="T70" fmla="*/ 2147483647 w 102"/>
              <a:gd name="T71" fmla="*/ 2147483647 h 324"/>
              <a:gd name="T72" fmla="*/ 2147483647 w 102"/>
              <a:gd name="T73" fmla="*/ 2147483647 h 324"/>
              <a:gd name="T74" fmla="*/ 2147483647 w 102"/>
              <a:gd name="T75" fmla="*/ 2147483647 h 324"/>
              <a:gd name="T76" fmla="*/ 2147483647 w 102"/>
              <a:gd name="T77" fmla="*/ 2147483647 h 324"/>
              <a:gd name="T78" fmla="*/ 0 w 102"/>
              <a:gd name="T79" fmla="*/ 2147483647 h 324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02"/>
              <a:gd name="T121" fmla="*/ 0 h 324"/>
              <a:gd name="T122" fmla="*/ 102 w 102"/>
              <a:gd name="T123" fmla="*/ 324 h 324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02" h="324">
                <a:moveTo>
                  <a:pt x="0" y="168"/>
                </a:moveTo>
                <a:lnTo>
                  <a:pt x="54" y="312"/>
                </a:lnTo>
                <a:lnTo>
                  <a:pt x="60" y="324"/>
                </a:lnTo>
                <a:lnTo>
                  <a:pt x="60" y="306"/>
                </a:lnTo>
                <a:lnTo>
                  <a:pt x="66" y="294"/>
                </a:lnTo>
                <a:lnTo>
                  <a:pt x="66" y="234"/>
                </a:lnTo>
                <a:lnTo>
                  <a:pt x="72" y="228"/>
                </a:lnTo>
                <a:lnTo>
                  <a:pt x="78" y="216"/>
                </a:lnTo>
                <a:lnTo>
                  <a:pt x="84" y="210"/>
                </a:lnTo>
                <a:lnTo>
                  <a:pt x="90" y="198"/>
                </a:lnTo>
                <a:lnTo>
                  <a:pt x="90" y="186"/>
                </a:lnTo>
                <a:lnTo>
                  <a:pt x="78" y="174"/>
                </a:lnTo>
                <a:lnTo>
                  <a:pt x="78" y="162"/>
                </a:lnTo>
                <a:lnTo>
                  <a:pt x="72" y="156"/>
                </a:lnTo>
                <a:lnTo>
                  <a:pt x="66" y="162"/>
                </a:lnTo>
                <a:lnTo>
                  <a:pt x="66" y="168"/>
                </a:lnTo>
                <a:lnTo>
                  <a:pt x="60" y="168"/>
                </a:lnTo>
                <a:lnTo>
                  <a:pt x="54" y="174"/>
                </a:lnTo>
                <a:lnTo>
                  <a:pt x="48" y="168"/>
                </a:lnTo>
                <a:lnTo>
                  <a:pt x="48" y="96"/>
                </a:lnTo>
                <a:lnTo>
                  <a:pt x="66" y="78"/>
                </a:lnTo>
                <a:lnTo>
                  <a:pt x="84" y="78"/>
                </a:lnTo>
                <a:lnTo>
                  <a:pt x="90" y="60"/>
                </a:lnTo>
                <a:lnTo>
                  <a:pt x="84" y="18"/>
                </a:lnTo>
                <a:lnTo>
                  <a:pt x="102" y="0"/>
                </a:lnTo>
                <a:lnTo>
                  <a:pt x="78" y="6"/>
                </a:lnTo>
                <a:lnTo>
                  <a:pt x="78" y="18"/>
                </a:lnTo>
                <a:lnTo>
                  <a:pt x="72" y="30"/>
                </a:lnTo>
                <a:lnTo>
                  <a:pt x="66" y="36"/>
                </a:lnTo>
                <a:lnTo>
                  <a:pt x="60" y="36"/>
                </a:lnTo>
                <a:lnTo>
                  <a:pt x="54" y="30"/>
                </a:lnTo>
                <a:lnTo>
                  <a:pt x="42" y="54"/>
                </a:lnTo>
                <a:lnTo>
                  <a:pt x="30" y="60"/>
                </a:lnTo>
                <a:lnTo>
                  <a:pt x="36" y="72"/>
                </a:lnTo>
                <a:lnTo>
                  <a:pt x="36" y="84"/>
                </a:lnTo>
                <a:lnTo>
                  <a:pt x="42" y="90"/>
                </a:lnTo>
                <a:lnTo>
                  <a:pt x="42" y="96"/>
                </a:lnTo>
                <a:lnTo>
                  <a:pt x="18" y="138"/>
                </a:lnTo>
                <a:lnTo>
                  <a:pt x="18" y="156"/>
                </a:lnTo>
                <a:lnTo>
                  <a:pt x="0" y="16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0" name="Iceland"/>
          <p:cNvSpPr>
            <a:spLocks/>
          </p:cNvSpPr>
          <p:nvPr/>
        </p:nvSpPr>
        <p:spPr bwMode="gray">
          <a:xfrm>
            <a:off x="3560033" y="2148555"/>
            <a:ext cx="230188" cy="88900"/>
          </a:xfrm>
          <a:custGeom>
            <a:avLst/>
            <a:gdLst>
              <a:gd name="T0" fmla="*/ 2147483647 w 570"/>
              <a:gd name="T1" fmla="*/ 2147483647 h 222"/>
              <a:gd name="T2" fmla="*/ 2147483647 w 570"/>
              <a:gd name="T3" fmla="*/ 2147483647 h 222"/>
              <a:gd name="T4" fmla="*/ 2147483647 w 570"/>
              <a:gd name="T5" fmla="*/ 2147483647 h 222"/>
              <a:gd name="T6" fmla="*/ 2147483647 w 570"/>
              <a:gd name="T7" fmla="*/ 2147483647 h 222"/>
              <a:gd name="T8" fmla="*/ 2147483647 w 570"/>
              <a:gd name="T9" fmla="*/ 2147483647 h 222"/>
              <a:gd name="T10" fmla="*/ 2147483647 w 570"/>
              <a:gd name="T11" fmla="*/ 2147483647 h 222"/>
              <a:gd name="T12" fmla="*/ 2147483647 w 570"/>
              <a:gd name="T13" fmla="*/ 2147483647 h 222"/>
              <a:gd name="T14" fmla="*/ 2147483647 w 570"/>
              <a:gd name="T15" fmla="*/ 2147483647 h 222"/>
              <a:gd name="T16" fmla="*/ 2147483647 w 570"/>
              <a:gd name="T17" fmla="*/ 2147483647 h 222"/>
              <a:gd name="T18" fmla="*/ 2147483647 w 570"/>
              <a:gd name="T19" fmla="*/ 2147483647 h 222"/>
              <a:gd name="T20" fmla="*/ 2147483647 w 570"/>
              <a:gd name="T21" fmla="*/ 2147483647 h 222"/>
              <a:gd name="T22" fmla="*/ 2147483647 w 570"/>
              <a:gd name="T23" fmla="*/ 2147483647 h 222"/>
              <a:gd name="T24" fmla="*/ 2147483647 w 570"/>
              <a:gd name="T25" fmla="*/ 2147483647 h 222"/>
              <a:gd name="T26" fmla="*/ 2147483647 w 570"/>
              <a:gd name="T27" fmla="*/ 2147483647 h 222"/>
              <a:gd name="T28" fmla="*/ 2147483647 w 570"/>
              <a:gd name="T29" fmla="*/ 2147483647 h 222"/>
              <a:gd name="T30" fmla="*/ 2147483647 w 570"/>
              <a:gd name="T31" fmla="*/ 2147483647 h 222"/>
              <a:gd name="T32" fmla="*/ 2147483647 w 570"/>
              <a:gd name="T33" fmla="*/ 2147483647 h 222"/>
              <a:gd name="T34" fmla="*/ 2147483647 w 570"/>
              <a:gd name="T35" fmla="*/ 2147483647 h 222"/>
              <a:gd name="T36" fmla="*/ 2147483647 w 570"/>
              <a:gd name="T37" fmla="*/ 2147483647 h 222"/>
              <a:gd name="T38" fmla="*/ 2147483647 w 570"/>
              <a:gd name="T39" fmla="*/ 2147483647 h 222"/>
              <a:gd name="T40" fmla="*/ 2147483647 w 570"/>
              <a:gd name="T41" fmla="*/ 2147483647 h 222"/>
              <a:gd name="T42" fmla="*/ 2147483647 w 570"/>
              <a:gd name="T43" fmla="*/ 2147483647 h 222"/>
              <a:gd name="T44" fmla="*/ 2147483647 w 570"/>
              <a:gd name="T45" fmla="*/ 2147483647 h 222"/>
              <a:gd name="T46" fmla="*/ 2147483647 w 570"/>
              <a:gd name="T47" fmla="*/ 2147483647 h 222"/>
              <a:gd name="T48" fmla="*/ 2147483647 w 570"/>
              <a:gd name="T49" fmla="*/ 2147483647 h 222"/>
              <a:gd name="T50" fmla="*/ 2147483647 w 570"/>
              <a:gd name="T51" fmla="*/ 2147483647 h 222"/>
              <a:gd name="T52" fmla="*/ 2147483647 w 570"/>
              <a:gd name="T53" fmla="*/ 2147483647 h 222"/>
              <a:gd name="T54" fmla="*/ 2147483647 w 570"/>
              <a:gd name="T55" fmla="*/ 2147483647 h 222"/>
              <a:gd name="T56" fmla="*/ 2147483647 w 570"/>
              <a:gd name="T57" fmla="*/ 2147483647 h 222"/>
              <a:gd name="T58" fmla="*/ 2147483647 w 570"/>
              <a:gd name="T59" fmla="*/ 2147483647 h 222"/>
              <a:gd name="T60" fmla="*/ 2147483647 w 570"/>
              <a:gd name="T61" fmla="*/ 2147483647 h 222"/>
              <a:gd name="T62" fmla="*/ 2147483647 w 570"/>
              <a:gd name="T63" fmla="*/ 2147483647 h 222"/>
              <a:gd name="T64" fmla="*/ 2147483647 w 570"/>
              <a:gd name="T65" fmla="*/ 2147483647 h 222"/>
              <a:gd name="T66" fmla="*/ 0 w 570"/>
              <a:gd name="T67" fmla="*/ 2147483647 h 222"/>
              <a:gd name="T68" fmla="*/ 2147483647 w 570"/>
              <a:gd name="T69" fmla="*/ 2147483647 h 222"/>
              <a:gd name="T70" fmla="*/ 2147483647 w 570"/>
              <a:gd name="T71" fmla="*/ 2147483647 h 222"/>
              <a:gd name="T72" fmla="*/ 2147483647 w 570"/>
              <a:gd name="T73" fmla="*/ 2147483647 h 222"/>
              <a:gd name="T74" fmla="*/ 2147483647 w 570"/>
              <a:gd name="T75" fmla="*/ 2147483647 h 222"/>
              <a:gd name="T76" fmla="*/ 2147483647 w 570"/>
              <a:gd name="T77" fmla="*/ 2147483647 h 222"/>
              <a:gd name="T78" fmla="*/ 2147483647 w 570"/>
              <a:gd name="T79" fmla="*/ 2147483647 h 222"/>
              <a:gd name="T80" fmla="*/ 2147483647 w 570"/>
              <a:gd name="T81" fmla="*/ 2147483647 h 222"/>
              <a:gd name="T82" fmla="*/ 2147483647 w 570"/>
              <a:gd name="T83" fmla="*/ 2147483647 h 222"/>
              <a:gd name="T84" fmla="*/ 2147483647 w 570"/>
              <a:gd name="T85" fmla="*/ 2147483647 h 222"/>
              <a:gd name="T86" fmla="*/ 2147483647 w 570"/>
              <a:gd name="T87" fmla="*/ 2147483647 h 222"/>
              <a:gd name="T88" fmla="*/ 2147483647 w 570"/>
              <a:gd name="T89" fmla="*/ 2147483647 h 222"/>
              <a:gd name="T90" fmla="*/ 2147483647 w 570"/>
              <a:gd name="T91" fmla="*/ 2147483647 h 222"/>
              <a:gd name="T92" fmla="*/ 2147483647 w 570"/>
              <a:gd name="T93" fmla="*/ 2147483647 h 22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570"/>
              <a:gd name="T142" fmla="*/ 0 h 222"/>
              <a:gd name="T143" fmla="*/ 570 w 570"/>
              <a:gd name="T144" fmla="*/ 222 h 22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570" h="222">
                <a:moveTo>
                  <a:pt x="252" y="222"/>
                </a:moveTo>
                <a:lnTo>
                  <a:pt x="270" y="216"/>
                </a:lnTo>
                <a:lnTo>
                  <a:pt x="306" y="216"/>
                </a:lnTo>
                <a:lnTo>
                  <a:pt x="312" y="204"/>
                </a:lnTo>
                <a:lnTo>
                  <a:pt x="312" y="192"/>
                </a:lnTo>
                <a:lnTo>
                  <a:pt x="324" y="198"/>
                </a:lnTo>
                <a:lnTo>
                  <a:pt x="330" y="198"/>
                </a:lnTo>
                <a:lnTo>
                  <a:pt x="342" y="204"/>
                </a:lnTo>
                <a:lnTo>
                  <a:pt x="348" y="204"/>
                </a:lnTo>
                <a:lnTo>
                  <a:pt x="360" y="192"/>
                </a:lnTo>
                <a:lnTo>
                  <a:pt x="360" y="186"/>
                </a:lnTo>
                <a:lnTo>
                  <a:pt x="372" y="186"/>
                </a:lnTo>
                <a:lnTo>
                  <a:pt x="378" y="192"/>
                </a:lnTo>
                <a:lnTo>
                  <a:pt x="390" y="192"/>
                </a:lnTo>
                <a:lnTo>
                  <a:pt x="414" y="180"/>
                </a:lnTo>
                <a:lnTo>
                  <a:pt x="432" y="168"/>
                </a:lnTo>
                <a:lnTo>
                  <a:pt x="456" y="156"/>
                </a:lnTo>
                <a:lnTo>
                  <a:pt x="474" y="156"/>
                </a:lnTo>
                <a:lnTo>
                  <a:pt x="480" y="162"/>
                </a:lnTo>
                <a:lnTo>
                  <a:pt x="492" y="162"/>
                </a:lnTo>
                <a:lnTo>
                  <a:pt x="504" y="156"/>
                </a:lnTo>
                <a:lnTo>
                  <a:pt x="510" y="144"/>
                </a:lnTo>
                <a:lnTo>
                  <a:pt x="510" y="138"/>
                </a:lnTo>
                <a:lnTo>
                  <a:pt x="516" y="126"/>
                </a:lnTo>
                <a:lnTo>
                  <a:pt x="528" y="126"/>
                </a:lnTo>
                <a:lnTo>
                  <a:pt x="552" y="114"/>
                </a:lnTo>
                <a:lnTo>
                  <a:pt x="564" y="102"/>
                </a:lnTo>
                <a:lnTo>
                  <a:pt x="570" y="102"/>
                </a:lnTo>
                <a:lnTo>
                  <a:pt x="552" y="102"/>
                </a:lnTo>
                <a:lnTo>
                  <a:pt x="570" y="84"/>
                </a:lnTo>
                <a:lnTo>
                  <a:pt x="570" y="78"/>
                </a:lnTo>
                <a:lnTo>
                  <a:pt x="564" y="72"/>
                </a:lnTo>
                <a:lnTo>
                  <a:pt x="552" y="66"/>
                </a:lnTo>
                <a:lnTo>
                  <a:pt x="540" y="66"/>
                </a:lnTo>
                <a:lnTo>
                  <a:pt x="534" y="72"/>
                </a:lnTo>
                <a:lnTo>
                  <a:pt x="528" y="72"/>
                </a:lnTo>
                <a:lnTo>
                  <a:pt x="534" y="60"/>
                </a:lnTo>
                <a:lnTo>
                  <a:pt x="504" y="60"/>
                </a:lnTo>
                <a:lnTo>
                  <a:pt x="522" y="36"/>
                </a:lnTo>
                <a:lnTo>
                  <a:pt x="504" y="36"/>
                </a:lnTo>
                <a:lnTo>
                  <a:pt x="510" y="18"/>
                </a:lnTo>
                <a:lnTo>
                  <a:pt x="480" y="24"/>
                </a:lnTo>
                <a:lnTo>
                  <a:pt x="474" y="18"/>
                </a:lnTo>
                <a:lnTo>
                  <a:pt x="462" y="12"/>
                </a:lnTo>
                <a:lnTo>
                  <a:pt x="456" y="6"/>
                </a:lnTo>
                <a:lnTo>
                  <a:pt x="444" y="0"/>
                </a:lnTo>
                <a:lnTo>
                  <a:pt x="432" y="0"/>
                </a:lnTo>
                <a:lnTo>
                  <a:pt x="432" y="24"/>
                </a:lnTo>
                <a:lnTo>
                  <a:pt x="414" y="30"/>
                </a:lnTo>
                <a:lnTo>
                  <a:pt x="408" y="30"/>
                </a:lnTo>
                <a:lnTo>
                  <a:pt x="402" y="24"/>
                </a:lnTo>
                <a:lnTo>
                  <a:pt x="378" y="24"/>
                </a:lnTo>
                <a:lnTo>
                  <a:pt x="372" y="30"/>
                </a:lnTo>
                <a:lnTo>
                  <a:pt x="366" y="42"/>
                </a:lnTo>
                <a:lnTo>
                  <a:pt x="360" y="36"/>
                </a:lnTo>
                <a:lnTo>
                  <a:pt x="348" y="30"/>
                </a:lnTo>
                <a:lnTo>
                  <a:pt x="342" y="24"/>
                </a:lnTo>
                <a:lnTo>
                  <a:pt x="336" y="24"/>
                </a:lnTo>
                <a:lnTo>
                  <a:pt x="330" y="30"/>
                </a:lnTo>
                <a:lnTo>
                  <a:pt x="330" y="60"/>
                </a:lnTo>
                <a:lnTo>
                  <a:pt x="324" y="48"/>
                </a:lnTo>
                <a:lnTo>
                  <a:pt x="318" y="42"/>
                </a:lnTo>
                <a:lnTo>
                  <a:pt x="306" y="36"/>
                </a:lnTo>
                <a:lnTo>
                  <a:pt x="300" y="24"/>
                </a:lnTo>
                <a:lnTo>
                  <a:pt x="288" y="24"/>
                </a:lnTo>
                <a:lnTo>
                  <a:pt x="288" y="30"/>
                </a:lnTo>
                <a:lnTo>
                  <a:pt x="270" y="30"/>
                </a:lnTo>
                <a:lnTo>
                  <a:pt x="264" y="36"/>
                </a:lnTo>
                <a:lnTo>
                  <a:pt x="264" y="54"/>
                </a:lnTo>
                <a:lnTo>
                  <a:pt x="252" y="54"/>
                </a:lnTo>
                <a:lnTo>
                  <a:pt x="240" y="42"/>
                </a:lnTo>
                <a:lnTo>
                  <a:pt x="228" y="36"/>
                </a:lnTo>
                <a:lnTo>
                  <a:pt x="222" y="30"/>
                </a:lnTo>
                <a:lnTo>
                  <a:pt x="216" y="30"/>
                </a:lnTo>
                <a:lnTo>
                  <a:pt x="216" y="48"/>
                </a:lnTo>
                <a:lnTo>
                  <a:pt x="210" y="60"/>
                </a:lnTo>
                <a:lnTo>
                  <a:pt x="210" y="72"/>
                </a:lnTo>
                <a:lnTo>
                  <a:pt x="204" y="72"/>
                </a:lnTo>
                <a:lnTo>
                  <a:pt x="192" y="60"/>
                </a:lnTo>
                <a:lnTo>
                  <a:pt x="186" y="60"/>
                </a:lnTo>
                <a:lnTo>
                  <a:pt x="162" y="84"/>
                </a:lnTo>
                <a:lnTo>
                  <a:pt x="162" y="90"/>
                </a:lnTo>
                <a:lnTo>
                  <a:pt x="156" y="84"/>
                </a:lnTo>
                <a:lnTo>
                  <a:pt x="144" y="60"/>
                </a:lnTo>
                <a:lnTo>
                  <a:pt x="162" y="42"/>
                </a:lnTo>
                <a:lnTo>
                  <a:pt x="162" y="36"/>
                </a:lnTo>
                <a:lnTo>
                  <a:pt x="156" y="30"/>
                </a:lnTo>
                <a:lnTo>
                  <a:pt x="108" y="6"/>
                </a:lnTo>
                <a:lnTo>
                  <a:pt x="96" y="6"/>
                </a:lnTo>
                <a:lnTo>
                  <a:pt x="96" y="36"/>
                </a:lnTo>
                <a:lnTo>
                  <a:pt x="90" y="36"/>
                </a:lnTo>
                <a:lnTo>
                  <a:pt x="84" y="30"/>
                </a:lnTo>
                <a:lnTo>
                  <a:pt x="78" y="30"/>
                </a:lnTo>
                <a:lnTo>
                  <a:pt x="66" y="24"/>
                </a:lnTo>
                <a:lnTo>
                  <a:pt x="54" y="24"/>
                </a:lnTo>
                <a:lnTo>
                  <a:pt x="42" y="30"/>
                </a:lnTo>
                <a:lnTo>
                  <a:pt x="30" y="42"/>
                </a:lnTo>
                <a:lnTo>
                  <a:pt x="48" y="54"/>
                </a:lnTo>
                <a:lnTo>
                  <a:pt x="30" y="54"/>
                </a:lnTo>
                <a:lnTo>
                  <a:pt x="18" y="60"/>
                </a:lnTo>
                <a:lnTo>
                  <a:pt x="12" y="66"/>
                </a:lnTo>
                <a:lnTo>
                  <a:pt x="0" y="66"/>
                </a:lnTo>
                <a:lnTo>
                  <a:pt x="6" y="72"/>
                </a:lnTo>
                <a:lnTo>
                  <a:pt x="18" y="78"/>
                </a:lnTo>
                <a:lnTo>
                  <a:pt x="30" y="78"/>
                </a:lnTo>
                <a:lnTo>
                  <a:pt x="54" y="66"/>
                </a:lnTo>
                <a:lnTo>
                  <a:pt x="66" y="66"/>
                </a:lnTo>
                <a:lnTo>
                  <a:pt x="72" y="60"/>
                </a:lnTo>
                <a:lnTo>
                  <a:pt x="78" y="60"/>
                </a:lnTo>
                <a:lnTo>
                  <a:pt x="126" y="72"/>
                </a:lnTo>
                <a:lnTo>
                  <a:pt x="90" y="90"/>
                </a:lnTo>
                <a:lnTo>
                  <a:pt x="102" y="90"/>
                </a:lnTo>
                <a:lnTo>
                  <a:pt x="108" y="96"/>
                </a:lnTo>
                <a:lnTo>
                  <a:pt x="114" y="96"/>
                </a:lnTo>
                <a:lnTo>
                  <a:pt x="120" y="102"/>
                </a:lnTo>
                <a:lnTo>
                  <a:pt x="114" y="102"/>
                </a:lnTo>
                <a:lnTo>
                  <a:pt x="108" y="108"/>
                </a:lnTo>
                <a:lnTo>
                  <a:pt x="6" y="108"/>
                </a:lnTo>
                <a:lnTo>
                  <a:pt x="0" y="114"/>
                </a:lnTo>
                <a:lnTo>
                  <a:pt x="12" y="120"/>
                </a:lnTo>
                <a:lnTo>
                  <a:pt x="60" y="120"/>
                </a:lnTo>
                <a:lnTo>
                  <a:pt x="84" y="132"/>
                </a:lnTo>
                <a:lnTo>
                  <a:pt x="90" y="138"/>
                </a:lnTo>
                <a:lnTo>
                  <a:pt x="126" y="132"/>
                </a:lnTo>
                <a:lnTo>
                  <a:pt x="108" y="150"/>
                </a:lnTo>
                <a:lnTo>
                  <a:pt x="120" y="156"/>
                </a:lnTo>
                <a:lnTo>
                  <a:pt x="114" y="162"/>
                </a:lnTo>
                <a:lnTo>
                  <a:pt x="114" y="168"/>
                </a:lnTo>
                <a:lnTo>
                  <a:pt x="108" y="174"/>
                </a:lnTo>
                <a:lnTo>
                  <a:pt x="90" y="174"/>
                </a:lnTo>
                <a:lnTo>
                  <a:pt x="78" y="180"/>
                </a:lnTo>
                <a:lnTo>
                  <a:pt x="54" y="180"/>
                </a:lnTo>
                <a:lnTo>
                  <a:pt x="54" y="186"/>
                </a:lnTo>
                <a:lnTo>
                  <a:pt x="66" y="192"/>
                </a:lnTo>
                <a:lnTo>
                  <a:pt x="120" y="192"/>
                </a:lnTo>
                <a:lnTo>
                  <a:pt x="132" y="186"/>
                </a:lnTo>
                <a:lnTo>
                  <a:pt x="138" y="180"/>
                </a:lnTo>
                <a:lnTo>
                  <a:pt x="168" y="198"/>
                </a:lnTo>
                <a:lnTo>
                  <a:pt x="180" y="186"/>
                </a:lnTo>
                <a:lnTo>
                  <a:pt x="180" y="198"/>
                </a:lnTo>
                <a:lnTo>
                  <a:pt x="228" y="222"/>
                </a:lnTo>
                <a:lnTo>
                  <a:pt x="252" y="22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1" name="Ireland"/>
          <p:cNvSpPr>
            <a:spLocks/>
          </p:cNvSpPr>
          <p:nvPr/>
        </p:nvSpPr>
        <p:spPr bwMode="gray">
          <a:xfrm>
            <a:off x="3802921" y="2480343"/>
            <a:ext cx="112712" cy="119062"/>
          </a:xfrm>
          <a:custGeom>
            <a:avLst/>
            <a:gdLst>
              <a:gd name="T0" fmla="*/ 2147483647 w 282"/>
              <a:gd name="T1" fmla="*/ 2147483647 h 300"/>
              <a:gd name="T2" fmla="*/ 2147483647 w 282"/>
              <a:gd name="T3" fmla="*/ 2147483647 h 300"/>
              <a:gd name="T4" fmla="*/ 2147483647 w 282"/>
              <a:gd name="T5" fmla="*/ 2147483647 h 300"/>
              <a:gd name="T6" fmla="*/ 2147483647 w 282"/>
              <a:gd name="T7" fmla="*/ 2147483647 h 300"/>
              <a:gd name="T8" fmla="*/ 2147483647 w 282"/>
              <a:gd name="T9" fmla="*/ 2147483647 h 300"/>
              <a:gd name="T10" fmla="*/ 2147483647 w 282"/>
              <a:gd name="T11" fmla="*/ 2147483647 h 300"/>
              <a:gd name="T12" fmla="*/ 2147483647 w 282"/>
              <a:gd name="T13" fmla="*/ 2147483647 h 300"/>
              <a:gd name="T14" fmla="*/ 2147483647 w 282"/>
              <a:gd name="T15" fmla="*/ 2147483647 h 300"/>
              <a:gd name="T16" fmla="*/ 2147483647 w 282"/>
              <a:gd name="T17" fmla="*/ 2147483647 h 300"/>
              <a:gd name="T18" fmla="*/ 2147483647 w 282"/>
              <a:gd name="T19" fmla="*/ 2147483647 h 300"/>
              <a:gd name="T20" fmla="*/ 2147483647 w 282"/>
              <a:gd name="T21" fmla="*/ 2147483647 h 300"/>
              <a:gd name="T22" fmla="*/ 2147483647 w 282"/>
              <a:gd name="T23" fmla="*/ 2147483647 h 300"/>
              <a:gd name="T24" fmla="*/ 2147483647 w 282"/>
              <a:gd name="T25" fmla="*/ 0 h 300"/>
              <a:gd name="T26" fmla="*/ 2147483647 w 282"/>
              <a:gd name="T27" fmla="*/ 2147483647 h 300"/>
              <a:gd name="T28" fmla="*/ 2147483647 w 282"/>
              <a:gd name="T29" fmla="*/ 2147483647 h 300"/>
              <a:gd name="T30" fmla="*/ 2147483647 w 282"/>
              <a:gd name="T31" fmla="*/ 2147483647 h 300"/>
              <a:gd name="T32" fmla="*/ 2147483647 w 282"/>
              <a:gd name="T33" fmla="*/ 2147483647 h 300"/>
              <a:gd name="T34" fmla="*/ 2147483647 w 282"/>
              <a:gd name="T35" fmla="*/ 2147483647 h 300"/>
              <a:gd name="T36" fmla="*/ 2147483647 w 282"/>
              <a:gd name="T37" fmla="*/ 2147483647 h 300"/>
              <a:gd name="T38" fmla="*/ 2147483647 w 282"/>
              <a:gd name="T39" fmla="*/ 2147483647 h 300"/>
              <a:gd name="T40" fmla="*/ 2147483647 w 282"/>
              <a:gd name="T41" fmla="*/ 2147483647 h 300"/>
              <a:gd name="T42" fmla="*/ 2147483647 w 282"/>
              <a:gd name="T43" fmla="*/ 2147483647 h 300"/>
              <a:gd name="T44" fmla="*/ 2147483647 w 282"/>
              <a:gd name="T45" fmla="*/ 2147483647 h 300"/>
              <a:gd name="T46" fmla="*/ 2147483647 w 282"/>
              <a:gd name="T47" fmla="*/ 2147483647 h 300"/>
              <a:gd name="T48" fmla="*/ 2147483647 w 282"/>
              <a:gd name="T49" fmla="*/ 2147483647 h 300"/>
              <a:gd name="T50" fmla="*/ 2147483647 w 282"/>
              <a:gd name="T51" fmla="*/ 2147483647 h 300"/>
              <a:gd name="T52" fmla="*/ 2147483647 w 282"/>
              <a:gd name="T53" fmla="*/ 2147483647 h 300"/>
              <a:gd name="T54" fmla="*/ 2147483647 w 282"/>
              <a:gd name="T55" fmla="*/ 2147483647 h 300"/>
              <a:gd name="T56" fmla="*/ 2147483647 w 282"/>
              <a:gd name="T57" fmla="*/ 2147483647 h 300"/>
              <a:gd name="T58" fmla="*/ 2147483647 w 282"/>
              <a:gd name="T59" fmla="*/ 2147483647 h 300"/>
              <a:gd name="T60" fmla="*/ 2147483647 w 282"/>
              <a:gd name="T61" fmla="*/ 2147483647 h 300"/>
              <a:gd name="T62" fmla="*/ 2147483647 w 282"/>
              <a:gd name="T63" fmla="*/ 2147483647 h 300"/>
              <a:gd name="T64" fmla="*/ 2147483647 w 282"/>
              <a:gd name="T65" fmla="*/ 2147483647 h 300"/>
              <a:gd name="T66" fmla="*/ 2147483647 w 282"/>
              <a:gd name="T67" fmla="*/ 2147483647 h 300"/>
              <a:gd name="T68" fmla="*/ 2147483647 w 282"/>
              <a:gd name="T69" fmla="*/ 2147483647 h 300"/>
              <a:gd name="T70" fmla="*/ 2147483647 w 282"/>
              <a:gd name="T71" fmla="*/ 2147483647 h 300"/>
              <a:gd name="T72" fmla="*/ 2147483647 w 282"/>
              <a:gd name="T73" fmla="*/ 2147483647 h 300"/>
              <a:gd name="T74" fmla="*/ 2147483647 w 282"/>
              <a:gd name="T75" fmla="*/ 2147483647 h 300"/>
              <a:gd name="T76" fmla="*/ 2147483647 w 282"/>
              <a:gd name="T77" fmla="*/ 2147483647 h 300"/>
              <a:gd name="T78" fmla="*/ 2147483647 w 282"/>
              <a:gd name="T79" fmla="*/ 2147483647 h 300"/>
              <a:gd name="T80" fmla="*/ 0 w 282"/>
              <a:gd name="T81" fmla="*/ 2147483647 h 300"/>
              <a:gd name="T82" fmla="*/ 2147483647 w 282"/>
              <a:gd name="T83" fmla="*/ 2147483647 h 300"/>
              <a:gd name="T84" fmla="*/ 2147483647 w 282"/>
              <a:gd name="T85" fmla="*/ 2147483647 h 300"/>
              <a:gd name="T86" fmla="*/ 2147483647 w 282"/>
              <a:gd name="T87" fmla="*/ 2147483647 h 300"/>
              <a:gd name="T88" fmla="*/ 2147483647 w 282"/>
              <a:gd name="T89" fmla="*/ 2147483647 h 300"/>
              <a:gd name="T90" fmla="*/ 2147483647 w 282"/>
              <a:gd name="T91" fmla="*/ 2147483647 h 300"/>
              <a:gd name="T92" fmla="*/ 2147483647 w 282"/>
              <a:gd name="T93" fmla="*/ 2147483647 h 300"/>
              <a:gd name="T94" fmla="*/ 2147483647 w 282"/>
              <a:gd name="T95" fmla="*/ 2147483647 h 300"/>
              <a:gd name="T96" fmla="*/ 2147483647 w 282"/>
              <a:gd name="T97" fmla="*/ 2147483647 h 300"/>
              <a:gd name="T98" fmla="*/ 2147483647 w 282"/>
              <a:gd name="T99" fmla="*/ 2147483647 h 300"/>
              <a:gd name="T100" fmla="*/ 2147483647 w 282"/>
              <a:gd name="T101" fmla="*/ 2147483647 h 300"/>
              <a:gd name="T102" fmla="*/ 2147483647 w 282"/>
              <a:gd name="T103" fmla="*/ 2147483647 h 300"/>
              <a:gd name="T104" fmla="*/ 2147483647 w 282"/>
              <a:gd name="T105" fmla="*/ 2147483647 h 300"/>
              <a:gd name="T106" fmla="*/ 2147483647 w 282"/>
              <a:gd name="T107" fmla="*/ 2147483647 h 300"/>
              <a:gd name="T108" fmla="*/ 2147483647 w 282"/>
              <a:gd name="T109" fmla="*/ 2147483647 h 300"/>
              <a:gd name="T110" fmla="*/ 2147483647 w 282"/>
              <a:gd name="T111" fmla="*/ 2147483647 h 30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82"/>
              <a:gd name="T169" fmla="*/ 0 h 300"/>
              <a:gd name="T170" fmla="*/ 282 w 282"/>
              <a:gd name="T171" fmla="*/ 300 h 30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82" h="300">
                <a:moveTo>
                  <a:pt x="276" y="156"/>
                </a:moveTo>
                <a:lnTo>
                  <a:pt x="276" y="144"/>
                </a:lnTo>
                <a:lnTo>
                  <a:pt x="270" y="132"/>
                </a:lnTo>
                <a:lnTo>
                  <a:pt x="264" y="126"/>
                </a:lnTo>
                <a:lnTo>
                  <a:pt x="264" y="114"/>
                </a:lnTo>
                <a:lnTo>
                  <a:pt x="258" y="108"/>
                </a:lnTo>
                <a:lnTo>
                  <a:pt x="258" y="102"/>
                </a:lnTo>
                <a:lnTo>
                  <a:pt x="276" y="102"/>
                </a:lnTo>
                <a:lnTo>
                  <a:pt x="282" y="96"/>
                </a:lnTo>
                <a:lnTo>
                  <a:pt x="246" y="90"/>
                </a:lnTo>
                <a:lnTo>
                  <a:pt x="228" y="66"/>
                </a:lnTo>
                <a:lnTo>
                  <a:pt x="204" y="90"/>
                </a:lnTo>
                <a:lnTo>
                  <a:pt x="192" y="90"/>
                </a:lnTo>
                <a:lnTo>
                  <a:pt x="168" y="78"/>
                </a:lnTo>
                <a:lnTo>
                  <a:pt x="162" y="72"/>
                </a:lnTo>
                <a:lnTo>
                  <a:pt x="174" y="60"/>
                </a:lnTo>
                <a:lnTo>
                  <a:pt x="180" y="60"/>
                </a:lnTo>
                <a:lnTo>
                  <a:pt x="186" y="54"/>
                </a:lnTo>
                <a:lnTo>
                  <a:pt x="192" y="54"/>
                </a:lnTo>
                <a:lnTo>
                  <a:pt x="192" y="42"/>
                </a:lnTo>
                <a:lnTo>
                  <a:pt x="234" y="18"/>
                </a:lnTo>
                <a:lnTo>
                  <a:pt x="240" y="12"/>
                </a:lnTo>
                <a:lnTo>
                  <a:pt x="240" y="6"/>
                </a:lnTo>
                <a:lnTo>
                  <a:pt x="234" y="6"/>
                </a:lnTo>
                <a:lnTo>
                  <a:pt x="228" y="0"/>
                </a:lnTo>
                <a:lnTo>
                  <a:pt x="222" y="0"/>
                </a:lnTo>
                <a:lnTo>
                  <a:pt x="210" y="6"/>
                </a:lnTo>
                <a:lnTo>
                  <a:pt x="204" y="18"/>
                </a:lnTo>
                <a:lnTo>
                  <a:pt x="198" y="6"/>
                </a:lnTo>
                <a:lnTo>
                  <a:pt x="174" y="6"/>
                </a:lnTo>
                <a:lnTo>
                  <a:pt x="162" y="12"/>
                </a:lnTo>
                <a:lnTo>
                  <a:pt x="156" y="12"/>
                </a:lnTo>
                <a:lnTo>
                  <a:pt x="150" y="18"/>
                </a:lnTo>
                <a:lnTo>
                  <a:pt x="150" y="30"/>
                </a:lnTo>
                <a:lnTo>
                  <a:pt x="144" y="36"/>
                </a:lnTo>
                <a:lnTo>
                  <a:pt x="144" y="42"/>
                </a:lnTo>
                <a:lnTo>
                  <a:pt x="126" y="42"/>
                </a:lnTo>
                <a:lnTo>
                  <a:pt x="120" y="48"/>
                </a:lnTo>
                <a:lnTo>
                  <a:pt x="120" y="54"/>
                </a:lnTo>
                <a:lnTo>
                  <a:pt x="138" y="54"/>
                </a:lnTo>
                <a:lnTo>
                  <a:pt x="144" y="60"/>
                </a:lnTo>
                <a:lnTo>
                  <a:pt x="150" y="60"/>
                </a:lnTo>
                <a:lnTo>
                  <a:pt x="150" y="66"/>
                </a:lnTo>
                <a:lnTo>
                  <a:pt x="144" y="72"/>
                </a:lnTo>
                <a:lnTo>
                  <a:pt x="132" y="72"/>
                </a:lnTo>
                <a:lnTo>
                  <a:pt x="132" y="78"/>
                </a:lnTo>
                <a:lnTo>
                  <a:pt x="126" y="84"/>
                </a:lnTo>
                <a:lnTo>
                  <a:pt x="102" y="84"/>
                </a:lnTo>
                <a:lnTo>
                  <a:pt x="102" y="90"/>
                </a:lnTo>
                <a:lnTo>
                  <a:pt x="90" y="78"/>
                </a:lnTo>
                <a:lnTo>
                  <a:pt x="42" y="78"/>
                </a:lnTo>
                <a:lnTo>
                  <a:pt x="42" y="102"/>
                </a:lnTo>
                <a:lnTo>
                  <a:pt x="54" y="102"/>
                </a:lnTo>
                <a:lnTo>
                  <a:pt x="54" y="108"/>
                </a:lnTo>
                <a:lnTo>
                  <a:pt x="60" y="114"/>
                </a:lnTo>
                <a:lnTo>
                  <a:pt x="42" y="126"/>
                </a:lnTo>
                <a:lnTo>
                  <a:pt x="36" y="126"/>
                </a:lnTo>
                <a:lnTo>
                  <a:pt x="30" y="132"/>
                </a:lnTo>
                <a:lnTo>
                  <a:pt x="30" y="138"/>
                </a:lnTo>
                <a:lnTo>
                  <a:pt x="42" y="150"/>
                </a:lnTo>
                <a:lnTo>
                  <a:pt x="54" y="156"/>
                </a:lnTo>
                <a:lnTo>
                  <a:pt x="60" y="162"/>
                </a:lnTo>
                <a:lnTo>
                  <a:pt x="72" y="162"/>
                </a:lnTo>
                <a:lnTo>
                  <a:pt x="78" y="156"/>
                </a:lnTo>
                <a:lnTo>
                  <a:pt x="96" y="156"/>
                </a:lnTo>
                <a:lnTo>
                  <a:pt x="96" y="168"/>
                </a:lnTo>
                <a:lnTo>
                  <a:pt x="90" y="174"/>
                </a:lnTo>
                <a:lnTo>
                  <a:pt x="72" y="174"/>
                </a:lnTo>
                <a:lnTo>
                  <a:pt x="72" y="192"/>
                </a:lnTo>
                <a:lnTo>
                  <a:pt x="54" y="192"/>
                </a:lnTo>
                <a:lnTo>
                  <a:pt x="48" y="198"/>
                </a:lnTo>
                <a:lnTo>
                  <a:pt x="48" y="210"/>
                </a:lnTo>
                <a:lnTo>
                  <a:pt x="42" y="222"/>
                </a:lnTo>
                <a:lnTo>
                  <a:pt x="42" y="234"/>
                </a:lnTo>
                <a:lnTo>
                  <a:pt x="18" y="234"/>
                </a:lnTo>
                <a:lnTo>
                  <a:pt x="12" y="240"/>
                </a:lnTo>
                <a:lnTo>
                  <a:pt x="6" y="240"/>
                </a:lnTo>
                <a:lnTo>
                  <a:pt x="6" y="246"/>
                </a:lnTo>
                <a:lnTo>
                  <a:pt x="12" y="246"/>
                </a:lnTo>
                <a:lnTo>
                  <a:pt x="18" y="252"/>
                </a:lnTo>
                <a:lnTo>
                  <a:pt x="6" y="252"/>
                </a:lnTo>
                <a:lnTo>
                  <a:pt x="0" y="258"/>
                </a:lnTo>
                <a:lnTo>
                  <a:pt x="0" y="270"/>
                </a:lnTo>
                <a:lnTo>
                  <a:pt x="42" y="270"/>
                </a:lnTo>
                <a:lnTo>
                  <a:pt x="24" y="288"/>
                </a:lnTo>
                <a:lnTo>
                  <a:pt x="30" y="282"/>
                </a:lnTo>
                <a:lnTo>
                  <a:pt x="48" y="282"/>
                </a:lnTo>
                <a:lnTo>
                  <a:pt x="48" y="288"/>
                </a:lnTo>
                <a:lnTo>
                  <a:pt x="42" y="288"/>
                </a:lnTo>
                <a:lnTo>
                  <a:pt x="36" y="294"/>
                </a:lnTo>
                <a:lnTo>
                  <a:pt x="30" y="294"/>
                </a:lnTo>
                <a:lnTo>
                  <a:pt x="36" y="300"/>
                </a:lnTo>
                <a:lnTo>
                  <a:pt x="60" y="300"/>
                </a:lnTo>
                <a:lnTo>
                  <a:pt x="96" y="288"/>
                </a:lnTo>
                <a:lnTo>
                  <a:pt x="108" y="282"/>
                </a:lnTo>
                <a:lnTo>
                  <a:pt x="120" y="270"/>
                </a:lnTo>
                <a:lnTo>
                  <a:pt x="120" y="264"/>
                </a:lnTo>
                <a:lnTo>
                  <a:pt x="132" y="270"/>
                </a:lnTo>
                <a:lnTo>
                  <a:pt x="138" y="270"/>
                </a:lnTo>
                <a:lnTo>
                  <a:pt x="150" y="264"/>
                </a:lnTo>
                <a:lnTo>
                  <a:pt x="162" y="252"/>
                </a:lnTo>
                <a:lnTo>
                  <a:pt x="180" y="246"/>
                </a:lnTo>
                <a:lnTo>
                  <a:pt x="204" y="246"/>
                </a:lnTo>
                <a:lnTo>
                  <a:pt x="210" y="240"/>
                </a:lnTo>
                <a:lnTo>
                  <a:pt x="252" y="240"/>
                </a:lnTo>
                <a:lnTo>
                  <a:pt x="246" y="222"/>
                </a:lnTo>
                <a:lnTo>
                  <a:pt x="264" y="222"/>
                </a:lnTo>
                <a:lnTo>
                  <a:pt x="264" y="198"/>
                </a:lnTo>
                <a:lnTo>
                  <a:pt x="270" y="192"/>
                </a:lnTo>
                <a:lnTo>
                  <a:pt x="270" y="180"/>
                </a:lnTo>
                <a:lnTo>
                  <a:pt x="276" y="168"/>
                </a:lnTo>
                <a:lnTo>
                  <a:pt x="276" y="15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2" name="Iran"/>
          <p:cNvSpPr>
            <a:spLocks/>
          </p:cNvSpPr>
          <p:nvPr/>
        </p:nvSpPr>
        <p:spPr bwMode="gray">
          <a:xfrm>
            <a:off x="5203096" y="2969293"/>
            <a:ext cx="579437" cy="474662"/>
          </a:xfrm>
          <a:custGeom>
            <a:avLst/>
            <a:gdLst>
              <a:gd name="T0" fmla="*/ 2147483647 w 1440"/>
              <a:gd name="T1" fmla="*/ 2147483647 h 1182"/>
              <a:gd name="T2" fmla="*/ 2147483647 w 1440"/>
              <a:gd name="T3" fmla="*/ 2147483647 h 1182"/>
              <a:gd name="T4" fmla="*/ 2147483647 w 1440"/>
              <a:gd name="T5" fmla="*/ 2147483647 h 1182"/>
              <a:gd name="T6" fmla="*/ 2147483647 w 1440"/>
              <a:gd name="T7" fmla="*/ 2147483647 h 1182"/>
              <a:gd name="T8" fmla="*/ 2147483647 w 1440"/>
              <a:gd name="T9" fmla="*/ 2147483647 h 1182"/>
              <a:gd name="T10" fmla="*/ 2147483647 w 1440"/>
              <a:gd name="T11" fmla="*/ 2147483647 h 1182"/>
              <a:gd name="T12" fmla="*/ 2147483647 w 1440"/>
              <a:gd name="T13" fmla="*/ 2147483647 h 1182"/>
              <a:gd name="T14" fmla="*/ 2147483647 w 1440"/>
              <a:gd name="T15" fmla="*/ 2147483647 h 1182"/>
              <a:gd name="T16" fmla="*/ 2147483647 w 1440"/>
              <a:gd name="T17" fmla="*/ 2147483647 h 1182"/>
              <a:gd name="T18" fmla="*/ 2147483647 w 1440"/>
              <a:gd name="T19" fmla="*/ 2147483647 h 1182"/>
              <a:gd name="T20" fmla="*/ 2147483647 w 1440"/>
              <a:gd name="T21" fmla="*/ 2147483647 h 1182"/>
              <a:gd name="T22" fmla="*/ 2147483647 w 1440"/>
              <a:gd name="T23" fmla="*/ 2147483647 h 1182"/>
              <a:gd name="T24" fmla="*/ 2147483647 w 1440"/>
              <a:gd name="T25" fmla="*/ 2147483647 h 1182"/>
              <a:gd name="T26" fmla="*/ 2147483647 w 1440"/>
              <a:gd name="T27" fmla="*/ 2147483647 h 1182"/>
              <a:gd name="T28" fmla="*/ 2147483647 w 1440"/>
              <a:gd name="T29" fmla="*/ 2147483647 h 1182"/>
              <a:gd name="T30" fmla="*/ 2147483647 w 1440"/>
              <a:gd name="T31" fmla="*/ 2147483647 h 1182"/>
              <a:gd name="T32" fmla="*/ 2147483647 w 1440"/>
              <a:gd name="T33" fmla="*/ 2147483647 h 1182"/>
              <a:gd name="T34" fmla="*/ 2147483647 w 1440"/>
              <a:gd name="T35" fmla="*/ 2147483647 h 1182"/>
              <a:gd name="T36" fmla="*/ 2147483647 w 1440"/>
              <a:gd name="T37" fmla="*/ 2147483647 h 1182"/>
              <a:gd name="T38" fmla="*/ 2147483647 w 1440"/>
              <a:gd name="T39" fmla="*/ 2147483647 h 1182"/>
              <a:gd name="T40" fmla="*/ 2147483647 w 1440"/>
              <a:gd name="T41" fmla="*/ 2147483647 h 1182"/>
              <a:gd name="T42" fmla="*/ 2147483647 w 1440"/>
              <a:gd name="T43" fmla="*/ 2147483647 h 1182"/>
              <a:gd name="T44" fmla="*/ 2147483647 w 1440"/>
              <a:gd name="T45" fmla="*/ 2147483647 h 1182"/>
              <a:gd name="T46" fmla="*/ 2147483647 w 1440"/>
              <a:gd name="T47" fmla="*/ 2147483647 h 1182"/>
              <a:gd name="T48" fmla="*/ 2147483647 w 1440"/>
              <a:gd name="T49" fmla="*/ 2147483647 h 1182"/>
              <a:gd name="T50" fmla="*/ 2147483647 w 1440"/>
              <a:gd name="T51" fmla="*/ 2147483647 h 1182"/>
              <a:gd name="T52" fmla="*/ 2147483647 w 1440"/>
              <a:gd name="T53" fmla="*/ 2147483647 h 1182"/>
              <a:gd name="T54" fmla="*/ 2147483647 w 1440"/>
              <a:gd name="T55" fmla="*/ 2147483647 h 1182"/>
              <a:gd name="T56" fmla="*/ 2147483647 w 1440"/>
              <a:gd name="T57" fmla="*/ 2147483647 h 1182"/>
              <a:gd name="T58" fmla="*/ 2147483647 w 1440"/>
              <a:gd name="T59" fmla="*/ 2147483647 h 1182"/>
              <a:gd name="T60" fmla="*/ 2147483647 w 1440"/>
              <a:gd name="T61" fmla="*/ 0 h 1182"/>
              <a:gd name="T62" fmla="*/ 2147483647 w 1440"/>
              <a:gd name="T63" fmla="*/ 2147483647 h 1182"/>
              <a:gd name="T64" fmla="*/ 2147483647 w 1440"/>
              <a:gd name="T65" fmla="*/ 2147483647 h 1182"/>
              <a:gd name="T66" fmla="*/ 2147483647 w 1440"/>
              <a:gd name="T67" fmla="*/ 2147483647 h 1182"/>
              <a:gd name="T68" fmla="*/ 2147483647 w 1440"/>
              <a:gd name="T69" fmla="*/ 2147483647 h 1182"/>
              <a:gd name="T70" fmla="*/ 2147483647 w 1440"/>
              <a:gd name="T71" fmla="*/ 2147483647 h 1182"/>
              <a:gd name="T72" fmla="*/ 2147483647 w 1440"/>
              <a:gd name="T73" fmla="*/ 2147483647 h 1182"/>
              <a:gd name="T74" fmla="*/ 2147483647 w 1440"/>
              <a:gd name="T75" fmla="*/ 2147483647 h 1182"/>
              <a:gd name="T76" fmla="*/ 2147483647 w 1440"/>
              <a:gd name="T77" fmla="*/ 2147483647 h 1182"/>
              <a:gd name="T78" fmla="*/ 2147483647 w 1440"/>
              <a:gd name="T79" fmla="*/ 2147483647 h 1182"/>
              <a:gd name="T80" fmla="*/ 2147483647 w 1440"/>
              <a:gd name="T81" fmla="*/ 2147483647 h 1182"/>
              <a:gd name="T82" fmla="*/ 2147483647 w 1440"/>
              <a:gd name="T83" fmla="*/ 2147483647 h 1182"/>
              <a:gd name="T84" fmla="*/ 2147483647 w 1440"/>
              <a:gd name="T85" fmla="*/ 2147483647 h 1182"/>
              <a:gd name="T86" fmla="*/ 2147483647 w 1440"/>
              <a:gd name="T87" fmla="*/ 2147483647 h 1182"/>
              <a:gd name="T88" fmla="*/ 2147483647 w 1440"/>
              <a:gd name="T89" fmla="*/ 2147483647 h 1182"/>
              <a:gd name="T90" fmla="*/ 2147483647 w 1440"/>
              <a:gd name="T91" fmla="*/ 2147483647 h 1182"/>
              <a:gd name="T92" fmla="*/ 2147483647 w 1440"/>
              <a:gd name="T93" fmla="*/ 2147483647 h 1182"/>
              <a:gd name="T94" fmla="*/ 2147483647 w 1440"/>
              <a:gd name="T95" fmla="*/ 2147483647 h 1182"/>
              <a:gd name="T96" fmla="*/ 2147483647 w 1440"/>
              <a:gd name="T97" fmla="*/ 2147483647 h 1182"/>
              <a:gd name="T98" fmla="*/ 2147483647 w 1440"/>
              <a:gd name="T99" fmla="*/ 2147483647 h 1182"/>
              <a:gd name="T100" fmla="*/ 2147483647 w 1440"/>
              <a:gd name="T101" fmla="*/ 2147483647 h 1182"/>
              <a:gd name="T102" fmla="*/ 2147483647 w 1440"/>
              <a:gd name="T103" fmla="*/ 2147483647 h 1182"/>
              <a:gd name="T104" fmla="*/ 2147483647 w 1440"/>
              <a:gd name="T105" fmla="*/ 2147483647 h 1182"/>
              <a:gd name="T106" fmla="*/ 2147483647 w 1440"/>
              <a:gd name="T107" fmla="*/ 2147483647 h 1182"/>
              <a:gd name="T108" fmla="*/ 2147483647 w 1440"/>
              <a:gd name="T109" fmla="*/ 2147483647 h 1182"/>
              <a:gd name="T110" fmla="*/ 2147483647 w 1440"/>
              <a:gd name="T111" fmla="*/ 2147483647 h 118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0"/>
              <a:gd name="T169" fmla="*/ 0 h 1182"/>
              <a:gd name="T170" fmla="*/ 1440 w 1440"/>
              <a:gd name="T171" fmla="*/ 1182 h 118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0" h="1182">
                <a:moveTo>
                  <a:pt x="1338" y="1176"/>
                </a:moveTo>
                <a:lnTo>
                  <a:pt x="1338" y="1170"/>
                </a:lnTo>
                <a:lnTo>
                  <a:pt x="1332" y="1158"/>
                </a:lnTo>
                <a:lnTo>
                  <a:pt x="1332" y="1128"/>
                </a:lnTo>
                <a:lnTo>
                  <a:pt x="1344" y="1116"/>
                </a:lnTo>
                <a:lnTo>
                  <a:pt x="1344" y="1110"/>
                </a:lnTo>
                <a:lnTo>
                  <a:pt x="1350" y="1104"/>
                </a:lnTo>
                <a:lnTo>
                  <a:pt x="1356" y="1086"/>
                </a:lnTo>
                <a:lnTo>
                  <a:pt x="1368" y="1086"/>
                </a:lnTo>
                <a:lnTo>
                  <a:pt x="1374" y="1080"/>
                </a:lnTo>
                <a:lnTo>
                  <a:pt x="1374" y="1074"/>
                </a:lnTo>
                <a:lnTo>
                  <a:pt x="1380" y="1074"/>
                </a:lnTo>
                <a:lnTo>
                  <a:pt x="1380" y="1068"/>
                </a:lnTo>
                <a:lnTo>
                  <a:pt x="1386" y="1062"/>
                </a:lnTo>
                <a:lnTo>
                  <a:pt x="1398" y="1056"/>
                </a:lnTo>
                <a:lnTo>
                  <a:pt x="1428" y="1056"/>
                </a:lnTo>
                <a:lnTo>
                  <a:pt x="1428" y="1062"/>
                </a:lnTo>
                <a:lnTo>
                  <a:pt x="1434" y="1062"/>
                </a:lnTo>
                <a:lnTo>
                  <a:pt x="1440" y="1056"/>
                </a:lnTo>
                <a:lnTo>
                  <a:pt x="1440" y="1044"/>
                </a:lnTo>
                <a:lnTo>
                  <a:pt x="1434" y="1026"/>
                </a:lnTo>
                <a:lnTo>
                  <a:pt x="1428" y="1014"/>
                </a:lnTo>
                <a:lnTo>
                  <a:pt x="1422" y="1008"/>
                </a:lnTo>
                <a:lnTo>
                  <a:pt x="1404" y="1008"/>
                </a:lnTo>
                <a:lnTo>
                  <a:pt x="1404" y="996"/>
                </a:lnTo>
                <a:lnTo>
                  <a:pt x="1398" y="984"/>
                </a:lnTo>
                <a:lnTo>
                  <a:pt x="1398" y="960"/>
                </a:lnTo>
                <a:lnTo>
                  <a:pt x="1392" y="960"/>
                </a:lnTo>
                <a:lnTo>
                  <a:pt x="1398" y="930"/>
                </a:lnTo>
                <a:lnTo>
                  <a:pt x="1374" y="930"/>
                </a:lnTo>
                <a:lnTo>
                  <a:pt x="1362" y="912"/>
                </a:lnTo>
                <a:lnTo>
                  <a:pt x="1350" y="918"/>
                </a:lnTo>
                <a:lnTo>
                  <a:pt x="1332" y="918"/>
                </a:lnTo>
                <a:lnTo>
                  <a:pt x="1326" y="912"/>
                </a:lnTo>
                <a:lnTo>
                  <a:pt x="1314" y="894"/>
                </a:lnTo>
                <a:lnTo>
                  <a:pt x="1308" y="876"/>
                </a:lnTo>
                <a:lnTo>
                  <a:pt x="1296" y="864"/>
                </a:lnTo>
                <a:lnTo>
                  <a:pt x="1284" y="846"/>
                </a:lnTo>
                <a:lnTo>
                  <a:pt x="1278" y="840"/>
                </a:lnTo>
                <a:lnTo>
                  <a:pt x="1272" y="828"/>
                </a:lnTo>
                <a:lnTo>
                  <a:pt x="1248" y="804"/>
                </a:lnTo>
                <a:lnTo>
                  <a:pt x="1242" y="804"/>
                </a:lnTo>
                <a:lnTo>
                  <a:pt x="1242" y="792"/>
                </a:lnTo>
                <a:lnTo>
                  <a:pt x="1260" y="774"/>
                </a:lnTo>
                <a:lnTo>
                  <a:pt x="1266" y="762"/>
                </a:lnTo>
                <a:lnTo>
                  <a:pt x="1272" y="756"/>
                </a:lnTo>
                <a:lnTo>
                  <a:pt x="1296" y="708"/>
                </a:lnTo>
                <a:lnTo>
                  <a:pt x="1284" y="684"/>
                </a:lnTo>
                <a:lnTo>
                  <a:pt x="1278" y="678"/>
                </a:lnTo>
                <a:lnTo>
                  <a:pt x="1242" y="678"/>
                </a:lnTo>
                <a:lnTo>
                  <a:pt x="1230" y="672"/>
                </a:lnTo>
                <a:lnTo>
                  <a:pt x="1224" y="672"/>
                </a:lnTo>
                <a:lnTo>
                  <a:pt x="1218" y="666"/>
                </a:lnTo>
                <a:lnTo>
                  <a:pt x="1218" y="612"/>
                </a:lnTo>
                <a:lnTo>
                  <a:pt x="1212" y="606"/>
                </a:lnTo>
                <a:lnTo>
                  <a:pt x="1200" y="582"/>
                </a:lnTo>
                <a:lnTo>
                  <a:pt x="1188" y="564"/>
                </a:lnTo>
                <a:lnTo>
                  <a:pt x="1176" y="540"/>
                </a:lnTo>
                <a:lnTo>
                  <a:pt x="1182" y="528"/>
                </a:lnTo>
                <a:lnTo>
                  <a:pt x="1200" y="510"/>
                </a:lnTo>
                <a:lnTo>
                  <a:pt x="1200" y="504"/>
                </a:lnTo>
                <a:lnTo>
                  <a:pt x="1194" y="498"/>
                </a:lnTo>
                <a:lnTo>
                  <a:pt x="1170" y="498"/>
                </a:lnTo>
                <a:lnTo>
                  <a:pt x="1170" y="468"/>
                </a:lnTo>
                <a:lnTo>
                  <a:pt x="1158" y="456"/>
                </a:lnTo>
                <a:lnTo>
                  <a:pt x="1158" y="450"/>
                </a:lnTo>
                <a:lnTo>
                  <a:pt x="1164" y="444"/>
                </a:lnTo>
                <a:lnTo>
                  <a:pt x="1176" y="438"/>
                </a:lnTo>
                <a:lnTo>
                  <a:pt x="1182" y="432"/>
                </a:lnTo>
                <a:lnTo>
                  <a:pt x="1188" y="432"/>
                </a:lnTo>
                <a:lnTo>
                  <a:pt x="1176" y="414"/>
                </a:lnTo>
                <a:lnTo>
                  <a:pt x="1200" y="408"/>
                </a:lnTo>
                <a:lnTo>
                  <a:pt x="1200" y="402"/>
                </a:lnTo>
                <a:lnTo>
                  <a:pt x="1194" y="396"/>
                </a:lnTo>
                <a:lnTo>
                  <a:pt x="1194" y="372"/>
                </a:lnTo>
                <a:lnTo>
                  <a:pt x="1188" y="360"/>
                </a:lnTo>
                <a:lnTo>
                  <a:pt x="1188" y="354"/>
                </a:lnTo>
                <a:lnTo>
                  <a:pt x="1194" y="342"/>
                </a:lnTo>
                <a:lnTo>
                  <a:pt x="1200" y="336"/>
                </a:lnTo>
                <a:lnTo>
                  <a:pt x="1188" y="306"/>
                </a:lnTo>
                <a:lnTo>
                  <a:pt x="1194" y="282"/>
                </a:lnTo>
                <a:lnTo>
                  <a:pt x="1182" y="282"/>
                </a:lnTo>
                <a:lnTo>
                  <a:pt x="1182" y="246"/>
                </a:lnTo>
                <a:lnTo>
                  <a:pt x="1116" y="252"/>
                </a:lnTo>
                <a:lnTo>
                  <a:pt x="1110" y="246"/>
                </a:lnTo>
                <a:lnTo>
                  <a:pt x="1104" y="234"/>
                </a:lnTo>
                <a:lnTo>
                  <a:pt x="1092" y="228"/>
                </a:lnTo>
                <a:lnTo>
                  <a:pt x="1080" y="216"/>
                </a:lnTo>
                <a:lnTo>
                  <a:pt x="1068" y="216"/>
                </a:lnTo>
                <a:lnTo>
                  <a:pt x="1062" y="210"/>
                </a:lnTo>
                <a:lnTo>
                  <a:pt x="1056" y="210"/>
                </a:lnTo>
                <a:lnTo>
                  <a:pt x="1050" y="204"/>
                </a:lnTo>
                <a:lnTo>
                  <a:pt x="1044" y="192"/>
                </a:lnTo>
                <a:lnTo>
                  <a:pt x="1044" y="186"/>
                </a:lnTo>
                <a:lnTo>
                  <a:pt x="1038" y="180"/>
                </a:lnTo>
                <a:lnTo>
                  <a:pt x="1032" y="180"/>
                </a:lnTo>
                <a:lnTo>
                  <a:pt x="1020" y="174"/>
                </a:lnTo>
                <a:lnTo>
                  <a:pt x="1002" y="174"/>
                </a:lnTo>
                <a:lnTo>
                  <a:pt x="990" y="168"/>
                </a:lnTo>
                <a:lnTo>
                  <a:pt x="972" y="168"/>
                </a:lnTo>
                <a:lnTo>
                  <a:pt x="972" y="174"/>
                </a:lnTo>
                <a:lnTo>
                  <a:pt x="960" y="168"/>
                </a:lnTo>
                <a:lnTo>
                  <a:pt x="954" y="162"/>
                </a:lnTo>
                <a:lnTo>
                  <a:pt x="942" y="156"/>
                </a:lnTo>
                <a:lnTo>
                  <a:pt x="936" y="150"/>
                </a:lnTo>
                <a:lnTo>
                  <a:pt x="906" y="150"/>
                </a:lnTo>
                <a:lnTo>
                  <a:pt x="906" y="138"/>
                </a:lnTo>
                <a:lnTo>
                  <a:pt x="894" y="126"/>
                </a:lnTo>
                <a:lnTo>
                  <a:pt x="834" y="126"/>
                </a:lnTo>
                <a:lnTo>
                  <a:pt x="834" y="132"/>
                </a:lnTo>
                <a:lnTo>
                  <a:pt x="828" y="138"/>
                </a:lnTo>
                <a:lnTo>
                  <a:pt x="816" y="132"/>
                </a:lnTo>
                <a:lnTo>
                  <a:pt x="780" y="132"/>
                </a:lnTo>
                <a:lnTo>
                  <a:pt x="768" y="138"/>
                </a:lnTo>
                <a:lnTo>
                  <a:pt x="750" y="156"/>
                </a:lnTo>
                <a:lnTo>
                  <a:pt x="738" y="162"/>
                </a:lnTo>
                <a:lnTo>
                  <a:pt x="732" y="168"/>
                </a:lnTo>
                <a:lnTo>
                  <a:pt x="732" y="180"/>
                </a:lnTo>
                <a:lnTo>
                  <a:pt x="720" y="186"/>
                </a:lnTo>
                <a:lnTo>
                  <a:pt x="708" y="198"/>
                </a:lnTo>
                <a:lnTo>
                  <a:pt x="678" y="198"/>
                </a:lnTo>
                <a:lnTo>
                  <a:pt x="690" y="210"/>
                </a:lnTo>
                <a:lnTo>
                  <a:pt x="690" y="222"/>
                </a:lnTo>
                <a:lnTo>
                  <a:pt x="696" y="228"/>
                </a:lnTo>
                <a:lnTo>
                  <a:pt x="696" y="234"/>
                </a:lnTo>
                <a:lnTo>
                  <a:pt x="690" y="240"/>
                </a:lnTo>
                <a:lnTo>
                  <a:pt x="678" y="240"/>
                </a:lnTo>
                <a:lnTo>
                  <a:pt x="666" y="234"/>
                </a:lnTo>
                <a:lnTo>
                  <a:pt x="660" y="228"/>
                </a:lnTo>
                <a:lnTo>
                  <a:pt x="654" y="228"/>
                </a:lnTo>
                <a:lnTo>
                  <a:pt x="648" y="234"/>
                </a:lnTo>
                <a:lnTo>
                  <a:pt x="624" y="234"/>
                </a:lnTo>
                <a:lnTo>
                  <a:pt x="612" y="240"/>
                </a:lnTo>
                <a:lnTo>
                  <a:pt x="600" y="240"/>
                </a:lnTo>
                <a:lnTo>
                  <a:pt x="582" y="246"/>
                </a:lnTo>
                <a:lnTo>
                  <a:pt x="558" y="258"/>
                </a:lnTo>
                <a:lnTo>
                  <a:pt x="546" y="252"/>
                </a:lnTo>
                <a:lnTo>
                  <a:pt x="534" y="252"/>
                </a:lnTo>
                <a:lnTo>
                  <a:pt x="522" y="246"/>
                </a:lnTo>
                <a:lnTo>
                  <a:pt x="498" y="246"/>
                </a:lnTo>
                <a:lnTo>
                  <a:pt x="480" y="240"/>
                </a:lnTo>
                <a:lnTo>
                  <a:pt x="468" y="228"/>
                </a:lnTo>
                <a:lnTo>
                  <a:pt x="456" y="222"/>
                </a:lnTo>
                <a:lnTo>
                  <a:pt x="444" y="210"/>
                </a:lnTo>
                <a:lnTo>
                  <a:pt x="438" y="198"/>
                </a:lnTo>
                <a:lnTo>
                  <a:pt x="432" y="192"/>
                </a:lnTo>
                <a:lnTo>
                  <a:pt x="432" y="186"/>
                </a:lnTo>
                <a:lnTo>
                  <a:pt x="378" y="186"/>
                </a:lnTo>
                <a:lnTo>
                  <a:pt x="354" y="162"/>
                </a:lnTo>
                <a:lnTo>
                  <a:pt x="336" y="126"/>
                </a:lnTo>
                <a:lnTo>
                  <a:pt x="330" y="120"/>
                </a:lnTo>
                <a:lnTo>
                  <a:pt x="330" y="114"/>
                </a:lnTo>
                <a:lnTo>
                  <a:pt x="312" y="114"/>
                </a:lnTo>
                <a:lnTo>
                  <a:pt x="312" y="108"/>
                </a:lnTo>
                <a:lnTo>
                  <a:pt x="306" y="102"/>
                </a:lnTo>
                <a:lnTo>
                  <a:pt x="300" y="102"/>
                </a:lnTo>
                <a:lnTo>
                  <a:pt x="294" y="96"/>
                </a:lnTo>
                <a:lnTo>
                  <a:pt x="282" y="90"/>
                </a:lnTo>
                <a:lnTo>
                  <a:pt x="270" y="78"/>
                </a:lnTo>
                <a:lnTo>
                  <a:pt x="270" y="72"/>
                </a:lnTo>
                <a:lnTo>
                  <a:pt x="282" y="72"/>
                </a:lnTo>
                <a:lnTo>
                  <a:pt x="288" y="66"/>
                </a:lnTo>
                <a:lnTo>
                  <a:pt x="288" y="60"/>
                </a:lnTo>
                <a:lnTo>
                  <a:pt x="282" y="54"/>
                </a:lnTo>
                <a:lnTo>
                  <a:pt x="276" y="54"/>
                </a:lnTo>
                <a:lnTo>
                  <a:pt x="276" y="42"/>
                </a:lnTo>
                <a:lnTo>
                  <a:pt x="282" y="36"/>
                </a:lnTo>
                <a:lnTo>
                  <a:pt x="282" y="18"/>
                </a:lnTo>
                <a:lnTo>
                  <a:pt x="276" y="12"/>
                </a:lnTo>
                <a:lnTo>
                  <a:pt x="270" y="0"/>
                </a:lnTo>
                <a:lnTo>
                  <a:pt x="258" y="0"/>
                </a:lnTo>
                <a:lnTo>
                  <a:pt x="246" y="6"/>
                </a:lnTo>
                <a:lnTo>
                  <a:pt x="234" y="18"/>
                </a:lnTo>
                <a:lnTo>
                  <a:pt x="222" y="24"/>
                </a:lnTo>
                <a:lnTo>
                  <a:pt x="204" y="36"/>
                </a:lnTo>
                <a:lnTo>
                  <a:pt x="192" y="48"/>
                </a:lnTo>
                <a:lnTo>
                  <a:pt x="192" y="54"/>
                </a:lnTo>
                <a:lnTo>
                  <a:pt x="186" y="60"/>
                </a:lnTo>
                <a:lnTo>
                  <a:pt x="180" y="72"/>
                </a:lnTo>
                <a:lnTo>
                  <a:pt x="132" y="72"/>
                </a:lnTo>
                <a:lnTo>
                  <a:pt x="96" y="60"/>
                </a:lnTo>
                <a:lnTo>
                  <a:pt x="84" y="54"/>
                </a:lnTo>
                <a:lnTo>
                  <a:pt x="66" y="36"/>
                </a:lnTo>
                <a:lnTo>
                  <a:pt x="54" y="12"/>
                </a:lnTo>
                <a:lnTo>
                  <a:pt x="54" y="6"/>
                </a:lnTo>
                <a:lnTo>
                  <a:pt x="48" y="0"/>
                </a:lnTo>
                <a:lnTo>
                  <a:pt x="42" y="0"/>
                </a:lnTo>
                <a:lnTo>
                  <a:pt x="24" y="18"/>
                </a:lnTo>
                <a:lnTo>
                  <a:pt x="24" y="30"/>
                </a:lnTo>
                <a:lnTo>
                  <a:pt x="0" y="30"/>
                </a:lnTo>
                <a:lnTo>
                  <a:pt x="18" y="54"/>
                </a:lnTo>
                <a:lnTo>
                  <a:pt x="18" y="84"/>
                </a:lnTo>
                <a:lnTo>
                  <a:pt x="30" y="96"/>
                </a:lnTo>
                <a:lnTo>
                  <a:pt x="30" y="108"/>
                </a:lnTo>
                <a:lnTo>
                  <a:pt x="36" y="114"/>
                </a:lnTo>
                <a:lnTo>
                  <a:pt x="42" y="114"/>
                </a:lnTo>
                <a:lnTo>
                  <a:pt x="36" y="120"/>
                </a:lnTo>
                <a:lnTo>
                  <a:pt x="36" y="126"/>
                </a:lnTo>
                <a:lnTo>
                  <a:pt x="30" y="138"/>
                </a:lnTo>
                <a:lnTo>
                  <a:pt x="24" y="144"/>
                </a:lnTo>
                <a:lnTo>
                  <a:pt x="60" y="162"/>
                </a:lnTo>
                <a:lnTo>
                  <a:pt x="60" y="192"/>
                </a:lnTo>
                <a:lnTo>
                  <a:pt x="84" y="198"/>
                </a:lnTo>
                <a:lnTo>
                  <a:pt x="84" y="210"/>
                </a:lnTo>
                <a:lnTo>
                  <a:pt x="96" y="246"/>
                </a:lnTo>
                <a:lnTo>
                  <a:pt x="108" y="270"/>
                </a:lnTo>
                <a:lnTo>
                  <a:pt x="120" y="282"/>
                </a:lnTo>
                <a:lnTo>
                  <a:pt x="120" y="300"/>
                </a:lnTo>
                <a:lnTo>
                  <a:pt x="144" y="306"/>
                </a:lnTo>
                <a:lnTo>
                  <a:pt x="156" y="324"/>
                </a:lnTo>
                <a:lnTo>
                  <a:pt x="162" y="318"/>
                </a:lnTo>
                <a:lnTo>
                  <a:pt x="174" y="312"/>
                </a:lnTo>
                <a:lnTo>
                  <a:pt x="186" y="312"/>
                </a:lnTo>
                <a:lnTo>
                  <a:pt x="186" y="318"/>
                </a:lnTo>
                <a:lnTo>
                  <a:pt x="168" y="336"/>
                </a:lnTo>
                <a:lnTo>
                  <a:pt x="168" y="342"/>
                </a:lnTo>
                <a:lnTo>
                  <a:pt x="180" y="354"/>
                </a:lnTo>
                <a:lnTo>
                  <a:pt x="186" y="366"/>
                </a:lnTo>
                <a:lnTo>
                  <a:pt x="186" y="372"/>
                </a:lnTo>
                <a:lnTo>
                  <a:pt x="174" y="384"/>
                </a:lnTo>
                <a:lnTo>
                  <a:pt x="168" y="384"/>
                </a:lnTo>
                <a:lnTo>
                  <a:pt x="168" y="414"/>
                </a:lnTo>
                <a:lnTo>
                  <a:pt x="156" y="414"/>
                </a:lnTo>
                <a:lnTo>
                  <a:pt x="144" y="426"/>
                </a:lnTo>
                <a:lnTo>
                  <a:pt x="144" y="432"/>
                </a:lnTo>
                <a:lnTo>
                  <a:pt x="156" y="444"/>
                </a:lnTo>
                <a:lnTo>
                  <a:pt x="150" y="450"/>
                </a:lnTo>
                <a:lnTo>
                  <a:pt x="144" y="462"/>
                </a:lnTo>
                <a:lnTo>
                  <a:pt x="144" y="468"/>
                </a:lnTo>
                <a:lnTo>
                  <a:pt x="150" y="474"/>
                </a:lnTo>
                <a:lnTo>
                  <a:pt x="162" y="480"/>
                </a:lnTo>
                <a:lnTo>
                  <a:pt x="174" y="492"/>
                </a:lnTo>
                <a:lnTo>
                  <a:pt x="198" y="504"/>
                </a:lnTo>
                <a:lnTo>
                  <a:pt x="204" y="510"/>
                </a:lnTo>
                <a:lnTo>
                  <a:pt x="210" y="510"/>
                </a:lnTo>
                <a:lnTo>
                  <a:pt x="210" y="552"/>
                </a:lnTo>
                <a:lnTo>
                  <a:pt x="234" y="552"/>
                </a:lnTo>
                <a:lnTo>
                  <a:pt x="240" y="558"/>
                </a:lnTo>
                <a:lnTo>
                  <a:pt x="252" y="564"/>
                </a:lnTo>
                <a:lnTo>
                  <a:pt x="270" y="582"/>
                </a:lnTo>
                <a:lnTo>
                  <a:pt x="288" y="582"/>
                </a:lnTo>
                <a:lnTo>
                  <a:pt x="294" y="588"/>
                </a:lnTo>
                <a:lnTo>
                  <a:pt x="300" y="600"/>
                </a:lnTo>
                <a:lnTo>
                  <a:pt x="330" y="636"/>
                </a:lnTo>
                <a:lnTo>
                  <a:pt x="330" y="648"/>
                </a:lnTo>
                <a:lnTo>
                  <a:pt x="324" y="660"/>
                </a:lnTo>
                <a:lnTo>
                  <a:pt x="324" y="696"/>
                </a:lnTo>
                <a:lnTo>
                  <a:pt x="330" y="702"/>
                </a:lnTo>
                <a:lnTo>
                  <a:pt x="342" y="708"/>
                </a:lnTo>
                <a:lnTo>
                  <a:pt x="348" y="714"/>
                </a:lnTo>
                <a:lnTo>
                  <a:pt x="354" y="714"/>
                </a:lnTo>
                <a:lnTo>
                  <a:pt x="360" y="744"/>
                </a:lnTo>
                <a:lnTo>
                  <a:pt x="372" y="750"/>
                </a:lnTo>
                <a:lnTo>
                  <a:pt x="384" y="762"/>
                </a:lnTo>
                <a:lnTo>
                  <a:pt x="384" y="768"/>
                </a:lnTo>
                <a:lnTo>
                  <a:pt x="390" y="774"/>
                </a:lnTo>
                <a:lnTo>
                  <a:pt x="402" y="780"/>
                </a:lnTo>
                <a:lnTo>
                  <a:pt x="408" y="786"/>
                </a:lnTo>
                <a:lnTo>
                  <a:pt x="420" y="792"/>
                </a:lnTo>
                <a:lnTo>
                  <a:pt x="426" y="786"/>
                </a:lnTo>
                <a:lnTo>
                  <a:pt x="426" y="774"/>
                </a:lnTo>
                <a:lnTo>
                  <a:pt x="420" y="768"/>
                </a:lnTo>
                <a:lnTo>
                  <a:pt x="420" y="762"/>
                </a:lnTo>
                <a:lnTo>
                  <a:pt x="426" y="756"/>
                </a:lnTo>
                <a:lnTo>
                  <a:pt x="438" y="750"/>
                </a:lnTo>
                <a:lnTo>
                  <a:pt x="444" y="756"/>
                </a:lnTo>
                <a:lnTo>
                  <a:pt x="450" y="756"/>
                </a:lnTo>
                <a:lnTo>
                  <a:pt x="450" y="768"/>
                </a:lnTo>
                <a:lnTo>
                  <a:pt x="456" y="780"/>
                </a:lnTo>
                <a:lnTo>
                  <a:pt x="474" y="780"/>
                </a:lnTo>
                <a:lnTo>
                  <a:pt x="474" y="786"/>
                </a:lnTo>
                <a:lnTo>
                  <a:pt x="474" y="780"/>
                </a:lnTo>
                <a:lnTo>
                  <a:pt x="480" y="780"/>
                </a:lnTo>
                <a:lnTo>
                  <a:pt x="480" y="768"/>
                </a:lnTo>
                <a:lnTo>
                  <a:pt x="504" y="768"/>
                </a:lnTo>
                <a:lnTo>
                  <a:pt x="504" y="804"/>
                </a:lnTo>
                <a:lnTo>
                  <a:pt x="510" y="810"/>
                </a:lnTo>
                <a:lnTo>
                  <a:pt x="516" y="810"/>
                </a:lnTo>
                <a:lnTo>
                  <a:pt x="528" y="816"/>
                </a:lnTo>
                <a:lnTo>
                  <a:pt x="540" y="828"/>
                </a:lnTo>
                <a:lnTo>
                  <a:pt x="540" y="846"/>
                </a:lnTo>
                <a:lnTo>
                  <a:pt x="552" y="858"/>
                </a:lnTo>
                <a:lnTo>
                  <a:pt x="558" y="870"/>
                </a:lnTo>
                <a:lnTo>
                  <a:pt x="564" y="876"/>
                </a:lnTo>
                <a:lnTo>
                  <a:pt x="570" y="876"/>
                </a:lnTo>
                <a:lnTo>
                  <a:pt x="582" y="894"/>
                </a:lnTo>
                <a:lnTo>
                  <a:pt x="582" y="906"/>
                </a:lnTo>
                <a:lnTo>
                  <a:pt x="594" y="930"/>
                </a:lnTo>
                <a:lnTo>
                  <a:pt x="600" y="936"/>
                </a:lnTo>
                <a:lnTo>
                  <a:pt x="606" y="936"/>
                </a:lnTo>
                <a:lnTo>
                  <a:pt x="612" y="942"/>
                </a:lnTo>
                <a:lnTo>
                  <a:pt x="618" y="954"/>
                </a:lnTo>
                <a:lnTo>
                  <a:pt x="618" y="960"/>
                </a:lnTo>
                <a:lnTo>
                  <a:pt x="648" y="960"/>
                </a:lnTo>
                <a:lnTo>
                  <a:pt x="666" y="984"/>
                </a:lnTo>
                <a:lnTo>
                  <a:pt x="684" y="978"/>
                </a:lnTo>
                <a:lnTo>
                  <a:pt x="702" y="978"/>
                </a:lnTo>
                <a:lnTo>
                  <a:pt x="720" y="996"/>
                </a:lnTo>
                <a:lnTo>
                  <a:pt x="738" y="1008"/>
                </a:lnTo>
                <a:lnTo>
                  <a:pt x="756" y="1026"/>
                </a:lnTo>
                <a:lnTo>
                  <a:pt x="792" y="1050"/>
                </a:lnTo>
                <a:lnTo>
                  <a:pt x="810" y="1050"/>
                </a:lnTo>
                <a:lnTo>
                  <a:pt x="822" y="1056"/>
                </a:lnTo>
                <a:lnTo>
                  <a:pt x="834" y="1068"/>
                </a:lnTo>
                <a:lnTo>
                  <a:pt x="852" y="1068"/>
                </a:lnTo>
                <a:lnTo>
                  <a:pt x="876" y="1056"/>
                </a:lnTo>
                <a:lnTo>
                  <a:pt x="876" y="1050"/>
                </a:lnTo>
                <a:lnTo>
                  <a:pt x="900" y="1056"/>
                </a:lnTo>
                <a:lnTo>
                  <a:pt x="912" y="1032"/>
                </a:lnTo>
                <a:lnTo>
                  <a:pt x="930" y="1032"/>
                </a:lnTo>
                <a:lnTo>
                  <a:pt x="954" y="1008"/>
                </a:lnTo>
                <a:lnTo>
                  <a:pt x="966" y="1020"/>
                </a:lnTo>
                <a:lnTo>
                  <a:pt x="972" y="1014"/>
                </a:lnTo>
                <a:lnTo>
                  <a:pt x="984" y="1014"/>
                </a:lnTo>
                <a:lnTo>
                  <a:pt x="1002" y="1032"/>
                </a:lnTo>
                <a:lnTo>
                  <a:pt x="1014" y="1050"/>
                </a:lnTo>
                <a:lnTo>
                  <a:pt x="1020" y="1068"/>
                </a:lnTo>
                <a:lnTo>
                  <a:pt x="1032" y="1080"/>
                </a:lnTo>
                <a:lnTo>
                  <a:pt x="1032" y="1098"/>
                </a:lnTo>
                <a:lnTo>
                  <a:pt x="1038" y="1110"/>
                </a:lnTo>
                <a:lnTo>
                  <a:pt x="1044" y="1116"/>
                </a:lnTo>
                <a:lnTo>
                  <a:pt x="1056" y="1122"/>
                </a:lnTo>
                <a:lnTo>
                  <a:pt x="1080" y="1122"/>
                </a:lnTo>
                <a:lnTo>
                  <a:pt x="1080" y="1128"/>
                </a:lnTo>
                <a:lnTo>
                  <a:pt x="1086" y="1134"/>
                </a:lnTo>
                <a:lnTo>
                  <a:pt x="1098" y="1140"/>
                </a:lnTo>
                <a:lnTo>
                  <a:pt x="1164" y="1140"/>
                </a:lnTo>
                <a:lnTo>
                  <a:pt x="1176" y="1146"/>
                </a:lnTo>
                <a:lnTo>
                  <a:pt x="1200" y="1170"/>
                </a:lnTo>
                <a:lnTo>
                  <a:pt x="1212" y="1170"/>
                </a:lnTo>
                <a:lnTo>
                  <a:pt x="1224" y="1164"/>
                </a:lnTo>
                <a:lnTo>
                  <a:pt x="1230" y="1164"/>
                </a:lnTo>
                <a:lnTo>
                  <a:pt x="1242" y="1158"/>
                </a:lnTo>
                <a:lnTo>
                  <a:pt x="1248" y="1158"/>
                </a:lnTo>
                <a:lnTo>
                  <a:pt x="1254" y="1164"/>
                </a:lnTo>
                <a:lnTo>
                  <a:pt x="1278" y="1176"/>
                </a:lnTo>
                <a:lnTo>
                  <a:pt x="1296" y="1182"/>
                </a:lnTo>
                <a:lnTo>
                  <a:pt x="1326" y="1182"/>
                </a:lnTo>
                <a:lnTo>
                  <a:pt x="1338" y="117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3" name="Iraq"/>
          <p:cNvSpPr>
            <a:spLocks/>
          </p:cNvSpPr>
          <p:nvPr/>
        </p:nvSpPr>
        <p:spPr bwMode="gray">
          <a:xfrm>
            <a:off x="5085621" y="3050255"/>
            <a:ext cx="276225" cy="265113"/>
          </a:xfrm>
          <a:custGeom>
            <a:avLst/>
            <a:gdLst>
              <a:gd name="T0" fmla="*/ 2147483647 w 684"/>
              <a:gd name="T1" fmla="*/ 2147483647 h 660"/>
              <a:gd name="T2" fmla="*/ 2147483647 w 684"/>
              <a:gd name="T3" fmla="*/ 2147483647 h 660"/>
              <a:gd name="T4" fmla="*/ 2147483647 w 684"/>
              <a:gd name="T5" fmla="*/ 2147483647 h 660"/>
              <a:gd name="T6" fmla="*/ 2147483647 w 684"/>
              <a:gd name="T7" fmla="*/ 2147483647 h 660"/>
              <a:gd name="T8" fmla="*/ 2147483647 w 684"/>
              <a:gd name="T9" fmla="*/ 2147483647 h 660"/>
              <a:gd name="T10" fmla="*/ 2147483647 w 684"/>
              <a:gd name="T11" fmla="*/ 2147483647 h 660"/>
              <a:gd name="T12" fmla="*/ 2147483647 w 684"/>
              <a:gd name="T13" fmla="*/ 2147483647 h 660"/>
              <a:gd name="T14" fmla="*/ 2147483647 w 684"/>
              <a:gd name="T15" fmla="*/ 2147483647 h 660"/>
              <a:gd name="T16" fmla="*/ 2147483647 w 684"/>
              <a:gd name="T17" fmla="*/ 2147483647 h 660"/>
              <a:gd name="T18" fmla="*/ 2147483647 w 684"/>
              <a:gd name="T19" fmla="*/ 2147483647 h 660"/>
              <a:gd name="T20" fmla="*/ 2147483647 w 684"/>
              <a:gd name="T21" fmla="*/ 2147483647 h 660"/>
              <a:gd name="T22" fmla="*/ 2147483647 w 684"/>
              <a:gd name="T23" fmla="*/ 2147483647 h 660"/>
              <a:gd name="T24" fmla="*/ 2147483647 w 684"/>
              <a:gd name="T25" fmla="*/ 2147483647 h 660"/>
              <a:gd name="T26" fmla="*/ 2147483647 w 684"/>
              <a:gd name="T27" fmla="*/ 2147483647 h 660"/>
              <a:gd name="T28" fmla="*/ 2147483647 w 684"/>
              <a:gd name="T29" fmla="*/ 2147483647 h 660"/>
              <a:gd name="T30" fmla="*/ 2147483647 w 684"/>
              <a:gd name="T31" fmla="*/ 2147483647 h 660"/>
              <a:gd name="T32" fmla="*/ 2147483647 w 684"/>
              <a:gd name="T33" fmla="*/ 2147483647 h 660"/>
              <a:gd name="T34" fmla="*/ 2147483647 w 684"/>
              <a:gd name="T35" fmla="*/ 2147483647 h 660"/>
              <a:gd name="T36" fmla="*/ 2147483647 w 684"/>
              <a:gd name="T37" fmla="*/ 2147483647 h 660"/>
              <a:gd name="T38" fmla="*/ 2147483647 w 684"/>
              <a:gd name="T39" fmla="*/ 2147483647 h 660"/>
              <a:gd name="T40" fmla="*/ 2147483647 w 684"/>
              <a:gd name="T41" fmla="*/ 2147483647 h 660"/>
              <a:gd name="T42" fmla="*/ 2147483647 w 684"/>
              <a:gd name="T43" fmla="*/ 2147483647 h 660"/>
              <a:gd name="T44" fmla="*/ 2147483647 w 684"/>
              <a:gd name="T45" fmla="*/ 2147483647 h 660"/>
              <a:gd name="T46" fmla="*/ 2147483647 w 684"/>
              <a:gd name="T47" fmla="*/ 2147483647 h 660"/>
              <a:gd name="T48" fmla="*/ 2147483647 w 684"/>
              <a:gd name="T49" fmla="*/ 2147483647 h 660"/>
              <a:gd name="T50" fmla="*/ 2147483647 w 684"/>
              <a:gd name="T51" fmla="*/ 2147483647 h 660"/>
              <a:gd name="T52" fmla="*/ 2147483647 w 684"/>
              <a:gd name="T53" fmla="*/ 0 h 660"/>
              <a:gd name="T54" fmla="*/ 2147483647 w 684"/>
              <a:gd name="T55" fmla="*/ 2147483647 h 660"/>
              <a:gd name="T56" fmla="*/ 2147483647 w 684"/>
              <a:gd name="T57" fmla="*/ 2147483647 h 660"/>
              <a:gd name="T58" fmla="*/ 2147483647 w 684"/>
              <a:gd name="T59" fmla="*/ 0 h 660"/>
              <a:gd name="T60" fmla="*/ 2147483647 w 684"/>
              <a:gd name="T61" fmla="*/ 2147483647 h 660"/>
              <a:gd name="T62" fmla="*/ 2147483647 w 684"/>
              <a:gd name="T63" fmla="*/ 2147483647 h 660"/>
              <a:gd name="T64" fmla="*/ 2147483647 w 684"/>
              <a:gd name="T65" fmla="*/ 2147483647 h 660"/>
              <a:gd name="T66" fmla="*/ 2147483647 w 684"/>
              <a:gd name="T67" fmla="*/ 2147483647 h 660"/>
              <a:gd name="T68" fmla="*/ 2147483647 w 684"/>
              <a:gd name="T69" fmla="*/ 2147483647 h 660"/>
              <a:gd name="T70" fmla="*/ 2147483647 w 684"/>
              <a:gd name="T71" fmla="*/ 2147483647 h 660"/>
              <a:gd name="T72" fmla="*/ 2147483647 w 684"/>
              <a:gd name="T73" fmla="*/ 2147483647 h 660"/>
              <a:gd name="T74" fmla="*/ 2147483647 w 684"/>
              <a:gd name="T75" fmla="*/ 2147483647 h 660"/>
              <a:gd name="T76" fmla="*/ 2147483647 w 684"/>
              <a:gd name="T77" fmla="*/ 2147483647 h 660"/>
              <a:gd name="T78" fmla="*/ 2147483647 w 684"/>
              <a:gd name="T79" fmla="*/ 2147483647 h 660"/>
              <a:gd name="T80" fmla="*/ 2147483647 w 684"/>
              <a:gd name="T81" fmla="*/ 2147483647 h 660"/>
              <a:gd name="T82" fmla="*/ 2147483647 w 684"/>
              <a:gd name="T83" fmla="*/ 2147483647 h 660"/>
              <a:gd name="T84" fmla="*/ 2147483647 w 684"/>
              <a:gd name="T85" fmla="*/ 2147483647 h 660"/>
              <a:gd name="T86" fmla="*/ 0 w 684"/>
              <a:gd name="T87" fmla="*/ 2147483647 h 660"/>
              <a:gd name="T88" fmla="*/ 2147483647 w 684"/>
              <a:gd name="T89" fmla="*/ 2147483647 h 660"/>
              <a:gd name="T90" fmla="*/ 2147483647 w 684"/>
              <a:gd name="T91" fmla="*/ 2147483647 h 660"/>
              <a:gd name="T92" fmla="*/ 2147483647 w 684"/>
              <a:gd name="T93" fmla="*/ 2147483647 h 660"/>
              <a:gd name="T94" fmla="*/ 2147483647 w 684"/>
              <a:gd name="T95" fmla="*/ 2147483647 h 660"/>
              <a:gd name="T96" fmla="*/ 2147483647 w 684"/>
              <a:gd name="T97" fmla="*/ 2147483647 h 660"/>
              <a:gd name="T98" fmla="*/ 2147483647 w 684"/>
              <a:gd name="T99" fmla="*/ 2147483647 h 660"/>
              <a:gd name="T100" fmla="*/ 2147483647 w 684"/>
              <a:gd name="T101" fmla="*/ 2147483647 h 660"/>
              <a:gd name="T102" fmla="*/ 2147483647 w 684"/>
              <a:gd name="T103" fmla="*/ 2147483647 h 660"/>
              <a:gd name="T104" fmla="*/ 2147483647 w 684"/>
              <a:gd name="T105" fmla="*/ 2147483647 h 660"/>
              <a:gd name="T106" fmla="*/ 2147483647 w 684"/>
              <a:gd name="T107" fmla="*/ 2147483647 h 660"/>
              <a:gd name="T108" fmla="*/ 2147483647 w 684"/>
              <a:gd name="T109" fmla="*/ 2147483647 h 660"/>
              <a:gd name="T110" fmla="*/ 2147483647 w 684"/>
              <a:gd name="T111" fmla="*/ 2147483647 h 660"/>
              <a:gd name="T112" fmla="*/ 2147483647 w 684"/>
              <a:gd name="T113" fmla="*/ 2147483647 h 660"/>
              <a:gd name="T114" fmla="*/ 2147483647 w 684"/>
              <a:gd name="T115" fmla="*/ 2147483647 h 66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84"/>
              <a:gd name="T175" fmla="*/ 0 h 660"/>
              <a:gd name="T176" fmla="*/ 684 w 684"/>
              <a:gd name="T177" fmla="*/ 660 h 66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84" h="660">
                <a:moveTo>
                  <a:pt x="678" y="564"/>
                </a:moveTo>
                <a:lnTo>
                  <a:pt x="666" y="552"/>
                </a:lnTo>
                <a:lnTo>
                  <a:pt x="654" y="546"/>
                </a:lnTo>
                <a:lnTo>
                  <a:pt x="648" y="516"/>
                </a:lnTo>
                <a:lnTo>
                  <a:pt x="642" y="516"/>
                </a:lnTo>
                <a:lnTo>
                  <a:pt x="636" y="510"/>
                </a:lnTo>
                <a:lnTo>
                  <a:pt x="624" y="504"/>
                </a:lnTo>
                <a:lnTo>
                  <a:pt x="618" y="498"/>
                </a:lnTo>
                <a:lnTo>
                  <a:pt x="618" y="462"/>
                </a:lnTo>
                <a:lnTo>
                  <a:pt x="624" y="450"/>
                </a:lnTo>
                <a:lnTo>
                  <a:pt x="624" y="438"/>
                </a:lnTo>
                <a:lnTo>
                  <a:pt x="594" y="402"/>
                </a:lnTo>
                <a:lnTo>
                  <a:pt x="588" y="390"/>
                </a:lnTo>
                <a:lnTo>
                  <a:pt x="582" y="384"/>
                </a:lnTo>
                <a:lnTo>
                  <a:pt x="564" y="384"/>
                </a:lnTo>
                <a:lnTo>
                  <a:pt x="546" y="366"/>
                </a:lnTo>
                <a:lnTo>
                  <a:pt x="534" y="360"/>
                </a:lnTo>
                <a:lnTo>
                  <a:pt x="528" y="354"/>
                </a:lnTo>
                <a:lnTo>
                  <a:pt x="504" y="354"/>
                </a:lnTo>
                <a:lnTo>
                  <a:pt x="504" y="312"/>
                </a:lnTo>
                <a:lnTo>
                  <a:pt x="498" y="312"/>
                </a:lnTo>
                <a:lnTo>
                  <a:pt x="492" y="306"/>
                </a:lnTo>
                <a:lnTo>
                  <a:pt x="468" y="294"/>
                </a:lnTo>
                <a:lnTo>
                  <a:pt x="456" y="282"/>
                </a:lnTo>
                <a:lnTo>
                  <a:pt x="444" y="276"/>
                </a:lnTo>
                <a:lnTo>
                  <a:pt x="438" y="270"/>
                </a:lnTo>
                <a:lnTo>
                  <a:pt x="438" y="264"/>
                </a:lnTo>
                <a:lnTo>
                  <a:pt x="444" y="252"/>
                </a:lnTo>
                <a:lnTo>
                  <a:pt x="450" y="246"/>
                </a:lnTo>
                <a:lnTo>
                  <a:pt x="438" y="234"/>
                </a:lnTo>
                <a:lnTo>
                  <a:pt x="438" y="228"/>
                </a:lnTo>
                <a:lnTo>
                  <a:pt x="450" y="216"/>
                </a:lnTo>
                <a:lnTo>
                  <a:pt x="462" y="216"/>
                </a:lnTo>
                <a:lnTo>
                  <a:pt x="462" y="186"/>
                </a:lnTo>
                <a:lnTo>
                  <a:pt x="468" y="186"/>
                </a:lnTo>
                <a:lnTo>
                  <a:pt x="480" y="174"/>
                </a:lnTo>
                <a:lnTo>
                  <a:pt x="480" y="168"/>
                </a:lnTo>
                <a:lnTo>
                  <a:pt x="474" y="156"/>
                </a:lnTo>
                <a:lnTo>
                  <a:pt x="462" y="144"/>
                </a:lnTo>
                <a:lnTo>
                  <a:pt x="462" y="138"/>
                </a:lnTo>
                <a:lnTo>
                  <a:pt x="480" y="120"/>
                </a:lnTo>
                <a:lnTo>
                  <a:pt x="480" y="114"/>
                </a:lnTo>
                <a:lnTo>
                  <a:pt x="468" y="114"/>
                </a:lnTo>
                <a:lnTo>
                  <a:pt x="456" y="120"/>
                </a:lnTo>
                <a:lnTo>
                  <a:pt x="450" y="126"/>
                </a:lnTo>
                <a:lnTo>
                  <a:pt x="438" y="108"/>
                </a:lnTo>
                <a:lnTo>
                  <a:pt x="414" y="102"/>
                </a:lnTo>
                <a:lnTo>
                  <a:pt x="414" y="84"/>
                </a:lnTo>
                <a:lnTo>
                  <a:pt x="402" y="72"/>
                </a:lnTo>
                <a:lnTo>
                  <a:pt x="378" y="24"/>
                </a:lnTo>
                <a:lnTo>
                  <a:pt x="378" y="12"/>
                </a:lnTo>
                <a:lnTo>
                  <a:pt x="336" y="24"/>
                </a:lnTo>
                <a:lnTo>
                  <a:pt x="336" y="6"/>
                </a:lnTo>
                <a:lnTo>
                  <a:pt x="330" y="0"/>
                </a:lnTo>
                <a:lnTo>
                  <a:pt x="306" y="0"/>
                </a:lnTo>
                <a:lnTo>
                  <a:pt x="306" y="6"/>
                </a:lnTo>
                <a:lnTo>
                  <a:pt x="300" y="12"/>
                </a:lnTo>
                <a:lnTo>
                  <a:pt x="288" y="12"/>
                </a:lnTo>
                <a:lnTo>
                  <a:pt x="276" y="0"/>
                </a:lnTo>
                <a:lnTo>
                  <a:pt x="234" y="0"/>
                </a:lnTo>
                <a:lnTo>
                  <a:pt x="234" y="12"/>
                </a:lnTo>
                <a:lnTo>
                  <a:pt x="228" y="18"/>
                </a:lnTo>
                <a:lnTo>
                  <a:pt x="216" y="24"/>
                </a:lnTo>
                <a:lnTo>
                  <a:pt x="204" y="36"/>
                </a:lnTo>
                <a:lnTo>
                  <a:pt x="198" y="48"/>
                </a:lnTo>
                <a:lnTo>
                  <a:pt x="192" y="54"/>
                </a:lnTo>
                <a:lnTo>
                  <a:pt x="180" y="54"/>
                </a:lnTo>
                <a:lnTo>
                  <a:pt x="168" y="60"/>
                </a:lnTo>
                <a:lnTo>
                  <a:pt x="156" y="60"/>
                </a:lnTo>
                <a:lnTo>
                  <a:pt x="150" y="66"/>
                </a:lnTo>
                <a:lnTo>
                  <a:pt x="144" y="78"/>
                </a:lnTo>
                <a:lnTo>
                  <a:pt x="144" y="90"/>
                </a:lnTo>
                <a:lnTo>
                  <a:pt x="150" y="102"/>
                </a:lnTo>
                <a:lnTo>
                  <a:pt x="156" y="108"/>
                </a:lnTo>
                <a:lnTo>
                  <a:pt x="156" y="120"/>
                </a:lnTo>
                <a:lnTo>
                  <a:pt x="162" y="132"/>
                </a:lnTo>
                <a:lnTo>
                  <a:pt x="162" y="162"/>
                </a:lnTo>
                <a:lnTo>
                  <a:pt x="156" y="174"/>
                </a:lnTo>
                <a:lnTo>
                  <a:pt x="150" y="192"/>
                </a:lnTo>
                <a:lnTo>
                  <a:pt x="150" y="198"/>
                </a:lnTo>
                <a:lnTo>
                  <a:pt x="168" y="216"/>
                </a:lnTo>
                <a:lnTo>
                  <a:pt x="168" y="222"/>
                </a:lnTo>
                <a:lnTo>
                  <a:pt x="162" y="228"/>
                </a:lnTo>
                <a:lnTo>
                  <a:pt x="138" y="240"/>
                </a:lnTo>
                <a:lnTo>
                  <a:pt x="78" y="264"/>
                </a:lnTo>
                <a:lnTo>
                  <a:pt x="66" y="270"/>
                </a:lnTo>
                <a:lnTo>
                  <a:pt x="6" y="318"/>
                </a:lnTo>
                <a:lnTo>
                  <a:pt x="0" y="318"/>
                </a:lnTo>
                <a:lnTo>
                  <a:pt x="0" y="324"/>
                </a:lnTo>
                <a:lnTo>
                  <a:pt x="24" y="366"/>
                </a:lnTo>
                <a:lnTo>
                  <a:pt x="24" y="384"/>
                </a:lnTo>
                <a:lnTo>
                  <a:pt x="48" y="402"/>
                </a:lnTo>
                <a:lnTo>
                  <a:pt x="48" y="414"/>
                </a:lnTo>
                <a:lnTo>
                  <a:pt x="60" y="426"/>
                </a:lnTo>
                <a:lnTo>
                  <a:pt x="126" y="426"/>
                </a:lnTo>
                <a:lnTo>
                  <a:pt x="156" y="456"/>
                </a:lnTo>
                <a:lnTo>
                  <a:pt x="168" y="462"/>
                </a:lnTo>
                <a:lnTo>
                  <a:pt x="180" y="474"/>
                </a:lnTo>
                <a:lnTo>
                  <a:pt x="228" y="498"/>
                </a:lnTo>
                <a:lnTo>
                  <a:pt x="234" y="504"/>
                </a:lnTo>
                <a:lnTo>
                  <a:pt x="246" y="510"/>
                </a:lnTo>
                <a:lnTo>
                  <a:pt x="438" y="654"/>
                </a:lnTo>
                <a:lnTo>
                  <a:pt x="522" y="654"/>
                </a:lnTo>
                <a:lnTo>
                  <a:pt x="570" y="660"/>
                </a:lnTo>
                <a:lnTo>
                  <a:pt x="564" y="660"/>
                </a:lnTo>
                <a:lnTo>
                  <a:pt x="570" y="654"/>
                </a:lnTo>
                <a:lnTo>
                  <a:pt x="588" y="618"/>
                </a:lnTo>
                <a:lnTo>
                  <a:pt x="588" y="606"/>
                </a:lnTo>
                <a:lnTo>
                  <a:pt x="594" y="600"/>
                </a:lnTo>
                <a:lnTo>
                  <a:pt x="600" y="588"/>
                </a:lnTo>
                <a:lnTo>
                  <a:pt x="648" y="588"/>
                </a:lnTo>
                <a:lnTo>
                  <a:pt x="654" y="594"/>
                </a:lnTo>
                <a:lnTo>
                  <a:pt x="678" y="582"/>
                </a:lnTo>
                <a:lnTo>
                  <a:pt x="684" y="576"/>
                </a:lnTo>
                <a:lnTo>
                  <a:pt x="678" y="570"/>
                </a:lnTo>
                <a:lnTo>
                  <a:pt x="678" y="56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4" name="Indonesia"/>
          <p:cNvSpPr>
            <a:spLocks noEditPoints="1"/>
          </p:cNvSpPr>
          <p:nvPr/>
        </p:nvSpPr>
        <p:spPr bwMode="gray">
          <a:xfrm>
            <a:off x="6741383" y="4075780"/>
            <a:ext cx="1314450" cy="523875"/>
          </a:xfrm>
          <a:custGeom>
            <a:avLst/>
            <a:gdLst>
              <a:gd name="T0" fmla="*/ 2147483647 w 3264"/>
              <a:gd name="T1" fmla="*/ 2147483647 h 1302"/>
              <a:gd name="T2" fmla="*/ 2147483647 w 3264"/>
              <a:gd name="T3" fmla="*/ 2147483647 h 1302"/>
              <a:gd name="T4" fmla="*/ 2147483647 w 3264"/>
              <a:gd name="T5" fmla="*/ 2147483647 h 1302"/>
              <a:gd name="T6" fmla="*/ 2147483647 w 3264"/>
              <a:gd name="T7" fmla="*/ 2147483647 h 1302"/>
              <a:gd name="T8" fmla="*/ 2147483647 w 3264"/>
              <a:gd name="T9" fmla="*/ 2147483647 h 1302"/>
              <a:gd name="T10" fmla="*/ 2147483647 w 3264"/>
              <a:gd name="T11" fmla="*/ 2147483647 h 1302"/>
              <a:gd name="T12" fmla="*/ 2147483647 w 3264"/>
              <a:gd name="T13" fmla="*/ 2147483647 h 1302"/>
              <a:gd name="T14" fmla="*/ 2147483647 w 3264"/>
              <a:gd name="T15" fmla="*/ 2147483647 h 1302"/>
              <a:gd name="T16" fmla="*/ 2147483647 w 3264"/>
              <a:gd name="T17" fmla="*/ 2147483647 h 1302"/>
              <a:gd name="T18" fmla="*/ 2147483647 w 3264"/>
              <a:gd name="T19" fmla="*/ 2147483647 h 1302"/>
              <a:gd name="T20" fmla="*/ 2147483647 w 3264"/>
              <a:gd name="T21" fmla="*/ 2147483647 h 1302"/>
              <a:gd name="T22" fmla="*/ 2147483647 w 3264"/>
              <a:gd name="T23" fmla="*/ 2147483647 h 1302"/>
              <a:gd name="T24" fmla="*/ 2147483647 w 3264"/>
              <a:gd name="T25" fmla="*/ 2147483647 h 1302"/>
              <a:gd name="T26" fmla="*/ 2147483647 w 3264"/>
              <a:gd name="T27" fmla="*/ 2147483647 h 1302"/>
              <a:gd name="T28" fmla="*/ 2147483647 w 3264"/>
              <a:gd name="T29" fmla="*/ 2147483647 h 1302"/>
              <a:gd name="T30" fmla="*/ 2147483647 w 3264"/>
              <a:gd name="T31" fmla="*/ 2147483647 h 1302"/>
              <a:gd name="T32" fmla="*/ 2147483647 w 3264"/>
              <a:gd name="T33" fmla="*/ 2147483647 h 1302"/>
              <a:gd name="T34" fmla="*/ 2147483647 w 3264"/>
              <a:gd name="T35" fmla="*/ 2147483647 h 1302"/>
              <a:gd name="T36" fmla="*/ 2147483647 w 3264"/>
              <a:gd name="T37" fmla="*/ 2147483647 h 1302"/>
              <a:gd name="T38" fmla="*/ 2147483647 w 3264"/>
              <a:gd name="T39" fmla="*/ 2147483647 h 1302"/>
              <a:gd name="T40" fmla="*/ 2147483647 w 3264"/>
              <a:gd name="T41" fmla="*/ 2147483647 h 1302"/>
              <a:gd name="T42" fmla="*/ 2147483647 w 3264"/>
              <a:gd name="T43" fmla="*/ 2147483647 h 1302"/>
              <a:gd name="T44" fmla="*/ 2147483647 w 3264"/>
              <a:gd name="T45" fmla="*/ 2147483647 h 1302"/>
              <a:gd name="T46" fmla="*/ 2147483647 w 3264"/>
              <a:gd name="T47" fmla="*/ 2147483647 h 1302"/>
              <a:gd name="T48" fmla="*/ 2147483647 w 3264"/>
              <a:gd name="T49" fmla="*/ 2147483647 h 1302"/>
              <a:gd name="T50" fmla="*/ 2147483647 w 3264"/>
              <a:gd name="T51" fmla="*/ 2147483647 h 1302"/>
              <a:gd name="T52" fmla="*/ 2147483647 w 3264"/>
              <a:gd name="T53" fmla="*/ 2147483647 h 1302"/>
              <a:gd name="T54" fmla="*/ 2147483647 w 3264"/>
              <a:gd name="T55" fmla="*/ 2147483647 h 1302"/>
              <a:gd name="T56" fmla="*/ 2147483647 w 3264"/>
              <a:gd name="T57" fmla="*/ 2147483647 h 1302"/>
              <a:gd name="T58" fmla="*/ 2147483647 w 3264"/>
              <a:gd name="T59" fmla="*/ 2147483647 h 1302"/>
              <a:gd name="T60" fmla="*/ 2147483647 w 3264"/>
              <a:gd name="T61" fmla="*/ 2147483647 h 1302"/>
              <a:gd name="T62" fmla="*/ 2147483647 w 3264"/>
              <a:gd name="T63" fmla="*/ 2147483647 h 1302"/>
              <a:gd name="T64" fmla="*/ 2147483647 w 3264"/>
              <a:gd name="T65" fmla="*/ 2147483647 h 1302"/>
              <a:gd name="T66" fmla="*/ 2147483647 w 3264"/>
              <a:gd name="T67" fmla="*/ 2147483647 h 1302"/>
              <a:gd name="T68" fmla="*/ 2147483647 w 3264"/>
              <a:gd name="T69" fmla="*/ 2147483647 h 1302"/>
              <a:gd name="T70" fmla="*/ 2147483647 w 3264"/>
              <a:gd name="T71" fmla="*/ 2147483647 h 1302"/>
              <a:gd name="T72" fmla="*/ 2147483647 w 3264"/>
              <a:gd name="T73" fmla="*/ 2147483647 h 1302"/>
              <a:gd name="T74" fmla="*/ 2147483647 w 3264"/>
              <a:gd name="T75" fmla="*/ 2147483647 h 1302"/>
              <a:gd name="T76" fmla="*/ 2147483647 w 3264"/>
              <a:gd name="T77" fmla="*/ 2147483647 h 1302"/>
              <a:gd name="T78" fmla="*/ 2147483647 w 3264"/>
              <a:gd name="T79" fmla="*/ 2147483647 h 1302"/>
              <a:gd name="T80" fmla="*/ 2147483647 w 3264"/>
              <a:gd name="T81" fmla="*/ 2147483647 h 1302"/>
              <a:gd name="T82" fmla="*/ 2147483647 w 3264"/>
              <a:gd name="T83" fmla="*/ 2147483647 h 1302"/>
              <a:gd name="T84" fmla="*/ 2147483647 w 3264"/>
              <a:gd name="T85" fmla="*/ 2147483647 h 1302"/>
              <a:gd name="T86" fmla="*/ 2147483647 w 3264"/>
              <a:gd name="T87" fmla="*/ 2147483647 h 1302"/>
              <a:gd name="T88" fmla="*/ 2147483647 w 3264"/>
              <a:gd name="T89" fmla="*/ 2147483647 h 1302"/>
              <a:gd name="T90" fmla="*/ 2147483647 w 3264"/>
              <a:gd name="T91" fmla="*/ 2147483647 h 1302"/>
              <a:gd name="T92" fmla="*/ 2147483647 w 3264"/>
              <a:gd name="T93" fmla="*/ 2147483647 h 1302"/>
              <a:gd name="T94" fmla="*/ 2147483647 w 3264"/>
              <a:gd name="T95" fmla="*/ 2147483647 h 1302"/>
              <a:gd name="T96" fmla="*/ 2147483647 w 3264"/>
              <a:gd name="T97" fmla="*/ 2147483647 h 1302"/>
              <a:gd name="T98" fmla="*/ 2147483647 w 3264"/>
              <a:gd name="T99" fmla="*/ 2147483647 h 1302"/>
              <a:gd name="T100" fmla="*/ 2147483647 w 3264"/>
              <a:gd name="T101" fmla="*/ 2147483647 h 1302"/>
              <a:gd name="T102" fmla="*/ 2147483647 w 3264"/>
              <a:gd name="T103" fmla="*/ 2147483647 h 1302"/>
              <a:gd name="T104" fmla="*/ 2147483647 w 3264"/>
              <a:gd name="T105" fmla="*/ 2147483647 h 1302"/>
              <a:gd name="T106" fmla="*/ 2147483647 w 3264"/>
              <a:gd name="T107" fmla="*/ 2147483647 h 1302"/>
              <a:gd name="T108" fmla="*/ 2147483647 w 3264"/>
              <a:gd name="T109" fmla="*/ 2147483647 h 1302"/>
              <a:gd name="T110" fmla="*/ 2147483647 w 3264"/>
              <a:gd name="T111" fmla="*/ 2147483647 h 1302"/>
              <a:gd name="T112" fmla="*/ 2147483647 w 3264"/>
              <a:gd name="T113" fmla="*/ 2147483647 h 1302"/>
              <a:gd name="T114" fmla="*/ 2147483647 w 3264"/>
              <a:gd name="T115" fmla="*/ 2147483647 h 1302"/>
              <a:gd name="T116" fmla="*/ 2147483647 w 3264"/>
              <a:gd name="T117" fmla="*/ 2147483647 h 1302"/>
              <a:gd name="T118" fmla="*/ 2147483647 w 3264"/>
              <a:gd name="T119" fmla="*/ 2147483647 h 1302"/>
              <a:gd name="T120" fmla="*/ 2147483647 w 3264"/>
              <a:gd name="T121" fmla="*/ 2147483647 h 1302"/>
              <a:gd name="T122" fmla="*/ 2147483647 w 3264"/>
              <a:gd name="T123" fmla="*/ 2147483647 h 1302"/>
              <a:gd name="T124" fmla="*/ 2147483647 w 3264"/>
              <a:gd name="T125" fmla="*/ 2147483647 h 130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264"/>
              <a:gd name="T190" fmla="*/ 0 h 1302"/>
              <a:gd name="T191" fmla="*/ 3264 w 3264"/>
              <a:gd name="T192" fmla="*/ 1302 h 130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264" h="1302">
                <a:moveTo>
                  <a:pt x="1788" y="984"/>
                </a:moveTo>
                <a:lnTo>
                  <a:pt x="1806" y="978"/>
                </a:lnTo>
                <a:lnTo>
                  <a:pt x="1818" y="954"/>
                </a:lnTo>
                <a:lnTo>
                  <a:pt x="1812" y="930"/>
                </a:lnTo>
                <a:lnTo>
                  <a:pt x="1788" y="984"/>
                </a:lnTo>
                <a:close/>
                <a:moveTo>
                  <a:pt x="672" y="462"/>
                </a:moveTo>
                <a:lnTo>
                  <a:pt x="702" y="480"/>
                </a:lnTo>
                <a:lnTo>
                  <a:pt x="702" y="450"/>
                </a:lnTo>
                <a:lnTo>
                  <a:pt x="672" y="426"/>
                </a:lnTo>
                <a:lnTo>
                  <a:pt x="672" y="462"/>
                </a:lnTo>
                <a:close/>
                <a:moveTo>
                  <a:pt x="678" y="492"/>
                </a:moveTo>
                <a:lnTo>
                  <a:pt x="654" y="516"/>
                </a:lnTo>
                <a:lnTo>
                  <a:pt x="678" y="546"/>
                </a:lnTo>
                <a:lnTo>
                  <a:pt x="678" y="492"/>
                </a:lnTo>
                <a:close/>
                <a:moveTo>
                  <a:pt x="906" y="714"/>
                </a:moveTo>
                <a:lnTo>
                  <a:pt x="930" y="732"/>
                </a:lnTo>
                <a:lnTo>
                  <a:pt x="936" y="708"/>
                </a:lnTo>
                <a:lnTo>
                  <a:pt x="936" y="702"/>
                </a:lnTo>
                <a:lnTo>
                  <a:pt x="930" y="696"/>
                </a:lnTo>
                <a:lnTo>
                  <a:pt x="930" y="690"/>
                </a:lnTo>
                <a:lnTo>
                  <a:pt x="912" y="672"/>
                </a:lnTo>
                <a:lnTo>
                  <a:pt x="900" y="666"/>
                </a:lnTo>
                <a:lnTo>
                  <a:pt x="888" y="666"/>
                </a:lnTo>
                <a:lnTo>
                  <a:pt x="882" y="672"/>
                </a:lnTo>
                <a:lnTo>
                  <a:pt x="876" y="684"/>
                </a:lnTo>
                <a:lnTo>
                  <a:pt x="882" y="696"/>
                </a:lnTo>
                <a:lnTo>
                  <a:pt x="882" y="708"/>
                </a:lnTo>
                <a:lnTo>
                  <a:pt x="888" y="720"/>
                </a:lnTo>
                <a:lnTo>
                  <a:pt x="906" y="714"/>
                </a:lnTo>
                <a:close/>
                <a:moveTo>
                  <a:pt x="684" y="372"/>
                </a:moveTo>
                <a:lnTo>
                  <a:pt x="672" y="360"/>
                </a:lnTo>
                <a:lnTo>
                  <a:pt x="660" y="372"/>
                </a:lnTo>
                <a:lnTo>
                  <a:pt x="672" y="396"/>
                </a:lnTo>
                <a:lnTo>
                  <a:pt x="684" y="396"/>
                </a:lnTo>
                <a:lnTo>
                  <a:pt x="684" y="372"/>
                </a:lnTo>
                <a:close/>
                <a:moveTo>
                  <a:pt x="750" y="624"/>
                </a:moveTo>
                <a:lnTo>
                  <a:pt x="750" y="630"/>
                </a:lnTo>
                <a:lnTo>
                  <a:pt x="756" y="636"/>
                </a:lnTo>
                <a:lnTo>
                  <a:pt x="756" y="648"/>
                </a:lnTo>
                <a:lnTo>
                  <a:pt x="774" y="684"/>
                </a:lnTo>
                <a:lnTo>
                  <a:pt x="786" y="690"/>
                </a:lnTo>
                <a:lnTo>
                  <a:pt x="804" y="696"/>
                </a:lnTo>
                <a:lnTo>
                  <a:pt x="816" y="702"/>
                </a:lnTo>
                <a:lnTo>
                  <a:pt x="834" y="702"/>
                </a:lnTo>
                <a:lnTo>
                  <a:pt x="828" y="660"/>
                </a:lnTo>
                <a:lnTo>
                  <a:pt x="810" y="648"/>
                </a:lnTo>
                <a:lnTo>
                  <a:pt x="810" y="618"/>
                </a:lnTo>
                <a:lnTo>
                  <a:pt x="804" y="606"/>
                </a:lnTo>
                <a:lnTo>
                  <a:pt x="792" y="600"/>
                </a:lnTo>
                <a:lnTo>
                  <a:pt x="786" y="588"/>
                </a:lnTo>
                <a:lnTo>
                  <a:pt x="768" y="582"/>
                </a:lnTo>
                <a:lnTo>
                  <a:pt x="756" y="576"/>
                </a:lnTo>
                <a:lnTo>
                  <a:pt x="732" y="576"/>
                </a:lnTo>
                <a:lnTo>
                  <a:pt x="732" y="582"/>
                </a:lnTo>
                <a:lnTo>
                  <a:pt x="726" y="588"/>
                </a:lnTo>
                <a:lnTo>
                  <a:pt x="726" y="600"/>
                </a:lnTo>
                <a:lnTo>
                  <a:pt x="714" y="600"/>
                </a:lnTo>
                <a:lnTo>
                  <a:pt x="714" y="606"/>
                </a:lnTo>
                <a:lnTo>
                  <a:pt x="708" y="612"/>
                </a:lnTo>
                <a:lnTo>
                  <a:pt x="714" y="624"/>
                </a:lnTo>
                <a:lnTo>
                  <a:pt x="750" y="624"/>
                </a:lnTo>
                <a:close/>
                <a:moveTo>
                  <a:pt x="246" y="438"/>
                </a:moveTo>
                <a:lnTo>
                  <a:pt x="222" y="462"/>
                </a:lnTo>
                <a:lnTo>
                  <a:pt x="234" y="492"/>
                </a:lnTo>
                <a:lnTo>
                  <a:pt x="234" y="498"/>
                </a:lnTo>
                <a:lnTo>
                  <a:pt x="228" y="504"/>
                </a:lnTo>
                <a:lnTo>
                  <a:pt x="228" y="510"/>
                </a:lnTo>
                <a:lnTo>
                  <a:pt x="240" y="510"/>
                </a:lnTo>
                <a:lnTo>
                  <a:pt x="246" y="504"/>
                </a:lnTo>
                <a:lnTo>
                  <a:pt x="246" y="468"/>
                </a:lnTo>
                <a:lnTo>
                  <a:pt x="252" y="456"/>
                </a:lnTo>
                <a:lnTo>
                  <a:pt x="246" y="438"/>
                </a:lnTo>
                <a:close/>
                <a:moveTo>
                  <a:pt x="264" y="534"/>
                </a:moveTo>
                <a:lnTo>
                  <a:pt x="258" y="546"/>
                </a:lnTo>
                <a:lnTo>
                  <a:pt x="258" y="588"/>
                </a:lnTo>
                <a:lnTo>
                  <a:pt x="264" y="600"/>
                </a:lnTo>
                <a:lnTo>
                  <a:pt x="276" y="612"/>
                </a:lnTo>
                <a:lnTo>
                  <a:pt x="288" y="612"/>
                </a:lnTo>
                <a:lnTo>
                  <a:pt x="294" y="606"/>
                </a:lnTo>
                <a:lnTo>
                  <a:pt x="294" y="588"/>
                </a:lnTo>
                <a:lnTo>
                  <a:pt x="288" y="576"/>
                </a:lnTo>
                <a:lnTo>
                  <a:pt x="282" y="558"/>
                </a:lnTo>
                <a:lnTo>
                  <a:pt x="282" y="546"/>
                </a:lnTo>
                <a:lnTo>
                  <a:pt x="276" y="534"/>
                </a:lnTo>
                <a:lnTo>
                  <a:pt x="264" y="534"/>
                </a:lnTo>
                <a:close/>
                <a:moveTo>
                  <a:pt x="48" y="222"/>
                </a:moveTo>
                <a:lnTo>
                  <a:pt x="42" y="228"/>
                </a:lnTo>
                <a:lnTo>
                  <a:pt x="42" y="246"/>
                </a:lnTo>
                <a:lnTo>
                  <a:pt x="48" y="258"/>
                </a:lnTo>
                <a:lnTo>
                  <a:pt x="66" y="258"/>
                </a:lnTo>
                <a:lnTo>
                  <a:pt x="84" y="276"/>
                </a:lnTo>
                <a:lnTo>
                  <a:pt x="90" y="270"/>
                </a:lnTo>
                <a:lnTo>
                  <a:pt x="90" y="252"/>
                </a:lnTo>
                <a:lnTo>
                  <a:pt x="78" y="246"/>
                </a:lnTo>
                <a:lnTo>
                  <a:pt x="72" y="234"/>
                </a:lnTo>
                <a:lnTo>
                  <a:pt x="60" y="228"/>
                </a:lnTo>
                <a:lnTo>
                  <a:pt x="54" y="222"/>
                </a:lnTo>
                <a:lnTo>
                  <a:pt x="48" y="222"/>
                </a:lnTo>
                <a:close/>
                <a:moveTo>
                  <a:pt x="162" y="330"/>
                </a:moveTo>
                <a:lnTo>
                  <a:pt x="156" y="330"/>
                </a:lnTo>
                <a:lnTo>
                  <a:pt x="144" y="342"/>
                </a:lnTo>
                <a:lnTo>
                  <a:pt x="144" y="354"/>
                </a:lnTo>
                <a:lnTo>
                  <a:pt x="156" y="366"/>
                </a:lnTo>
                <a:lnTo>
                  <a:pt x="162" y="378"/>
                </a:lnTo>
                <a:lnTo>
                  <a:pt x="174" y="390"/>
                </a:lnTo>
                <a:lnTo>
                  <a:pt x="180" y="402"/>
                </a:lnTo>
                <a:lnTo>
                  <a:pt x="192" y="414"/>
                </a:lnTo>
                <a:lnTo>
                  <a:pt x="198" y="408"/>
                </a:lnTo>
                <a:lnTo>
                  <a:pt x="198" y="402"/>
                </a:lnTo>
                <a:lnTo>
                  <a:pt x="204" y="390"/>
                </a:lnTo>
                <a:lnTo>
                  <a:pt x="204" y="384"/>
                </a:lnTo>
                <a:lnTo>
                  <a:pt x="198" y="372"/>
                </a:lnTo>
                <a:lnTo>
                  <a:pt x="198" y="366"/>
                </a:lnTo>
                <a:lnTo>
                  <a:pt x="192" y="360"/>
                </a:lnTo>
                <a:lnTo>
                  <a:pt x="186" y="348"/>
                </a:lnTo>
                <a:lnTo>
                  <a:pt x="180" y="342"/>
                </a:lnTo>
                <a:lnTo>
                  <a:pt x="168" y="336"/>
                </a:lnTo>
                <a:lnTo>
                  <a:pt x="162" y="330"/>
                </a:lnTo>
                <a:close/>
                <a:moveTo>
                  <a:pt x="2574" y="486"/>
                </a:moveTo>
                <a:lnTo>
                  <a:pt x="2574" y="474"/>
                </a:lnTo>
                <a:lnTo>
                  <a:pt x="2568" y="474"/>
                </a:lnTo>
                <a:lnTo>
                  <a:pt x="2556" y="468"/>
                </a:lnTo>
                <a:lnTo>
                  <a:pt x="2520" y="468"/>
                </a:lnTo>
                <a:lnTo>
                  <a:pt x="2514" y="474"/>
                </a:lnTo>
                <a:lnTo>
                  <a:pt x="2520" y="498"/>
                </a:lnTo>
                <a:lnTo>
                  <a:pt x="2526" y="498"/>
                </a:lnTo>
                <a:lnTo>
                  <a:pt x="2538" y="492"/>
                </a:lnTo>
                <a:lnTo>
                  <a:pt x="2562" y="492"/>
                </a:lnTo>
                <a:lnTo>
                  <a:pt x="2568" y="486"/>
                </a:lnTo>
                <a:lnTo>
                  <a:pt x="2574" y="486"/>
                </a:lnTo>
                <a:close/>
                <a:moveTo>
                  <a:pt x="336" y="648"/>
                </a:moveTo>
                <a:lnTo>
                  <a:pt x="342" y="648"/>
                </a:lnTo>
                <a:lnTo>
                  <a:pt x="342" y="636"/>
                </a:lnTo>
                <a:lnTo>
                  <a:pt x="330" y="624"/>
                </a:lnTo>
                <a:lnTo>
                  <a:pt x="318" y="624"/>
                </a:lnTo>
                <a:lnTo>
                  <a:pt x="318" y="636"/>
                </a:lnTo>
                <a:lnTo>
                  <a:pt x="330" y="648"/>
                </a:lnTo>
                <a:lnTo>
                  <a:pt x="336" y="648"/>
                </a:lnTo>
                <a:close/>
                <a:moveTo>
                  <a:pt x="2472" y="654"/>
                </a:moveTo>
                <a:lnTo>
                  <a:pt x="2484" y="648"/>
                </a:lnTo>
                <a:lnTo>
                  <a:pt x="2502" y="630"/>
                </a:lnTo>
                <a:lnTo>
                  <a:pt x="2502" y="618"/>
                </a:lnTo>
                <a:lnTo>
                  <a:pt x="2430" y="612"/>
                </a:lnTo>
                <a:lnTo>
                  <a:pt x="2430" y="624"/>
                </a:lnTo>
                <a:lnTo>
                  <a:pt x="2436" y="630"/>
                </a:lnTo>
                <a:lnTo>
                  <a:pt x="2442" y="642"/>
                </a:lnTo>
                <a:lnTo>
                  <a:pt x="2448" y="648"/>
                </a:lnTo>
                <a:lnTo>
                  <a:pt x="2460" y="654"/>
                </a:lnTo>
                <a:lnTo>
                  <a:pt x="2472" y="654"/>
                </a:lnTo>
                <a:close/>
                <a:moveTo>
                  <a:pt x="2406" y="288"/>
                </a:moveTo>
                <a:lnTo>
                  <a:pt x="2418" y="276"/>
                </a:lnTo>
                <a:lnTo>
                  <a:pt x="2418" y="264"/>
                </a:lnTo>
                <a:lnTo>
                  <a:pt x="2412" y="258"/>
                </a:lnTo>
                <a:lnTo>
                  <a:pt x="2400" y="252"/>
                </a:lnTo>
                <a:lnTo>
                  <a:pt x="2376" y="252"/>
                </a:lnTo>
                <a:lnTo>
                  <a:pt x="2370" y="258"/>
                </a:lnTo>
                <a:lnTo>
                  <a:pt x="2370" y="264"/>
                </a:lnTo>
                <a:lnTo>
                  <a:pt x="2394" y="288"/>
                </a:lnTo>
                <a:lnTo>
                  <a:pt x="2406" y="288"/>
                </a:lnTo>
                <a:close/>
                <a:moveTo>
                  <a:pt x="2868" y="528"/>
                </a:moveTo>
                <a:lnTo>
                  <a:pt x="2886" y="534"/>
                </a:lnTo>
                <a:lnTo>
                  <a:pt x="2892" y="534"/>
                </a:lnTo>
                <a:lnTo>
                  <a:pt x="2898" y="528"/>
                </a:lnTo>
                <a:lnTo>
                  <a:pt x="2898" y="522"/>
                </a:lnTo>
                <a:lnTo>
                  <a:pt x="2874" y="510"/>
                </a:lnTo>
                <a:lnTo>
                  <a:pt x="2868" y="516"/>
                </a:lnTo>
                <a:lnTo>
                  <a:pt x="2862" y="516"/>
                </a:lnTo>
                <a:lnTo>
                  <a:pt x="2862" y="522"/>
                </a:lnTo>
                <a:lnTo>
                  <a:pt x="2868" y="528"/>
                </a:lnTo>
                <a:close/>
                <a:moveTo>
                  <a:pt x="2916" y="618"/>
                </a:moveTo>
                <a:lnTo>
                  <a:pt x="2928" y="618"/>
                </a:lnTo>
                <a:lnTo>
                  <a:pt x="2940" y="612"/>
                </a:lnTo>
                <a:lnTo>
                  <a:pt x="2958" y="612"/>
                </a:lnTo>
                <a:lnTo>
                  <a:pt x="2964" y="606"/>
                </a:lnTo>
                <a:lnTo>
                  <a:pt x="2970" y="606"/>
                </a:lnTo>
                <a:lnTo>
                  <a:pt x="2964" y="606"/>
                </a:lnTo>
                <a:lnTo>
                  <a:pt x="2958" y="600"/>
                </a:lnTo>
                <a:lnTo>
                  <a:pt x="2946" y="594"/>
                </a:lnTo>
                <a:lnTo>
                  <a:pt x="2934" y="594"/>
                </a:lnTo>
                <a:lnTo>
                  <a:pt x="2928" y="588"/>
                </a:lnTo>
                <a:lnTo>
                  <a:pt x="2922" y="588"/>
                </a:lnTo>
                <a:lnTo>
                  <a:pt x="2910" y="594"/>
                </a:lnTo>
                <a:lnTo>
                  <a:pt x="2892" y="594"/>
                </a:lnTo>
                <a:lnTo>
                  <a:pt x="2886" y="600"/>
                </a:lnTo>
                <a:lnTo>
                  <a:pt x="2880" y="600"/>
                </a:lnTo>
                <a:lnTo>
                  <a:pt x="2892" y="606"/>
                </a:lnTo>
                <a:lnTo>
                  <a:pt x="2898" y="612"/>
                </a:lnTo>
                <a:lnTo>
                  <a:pt x="2910" y="618"/>
                </a:lnTo>
                <a:lnTo>
                  <a:pt x="2916" y="618"/>
                </a:lnTo>
                <a:close/>
                <a:moveTo>
                  <a:pt x="1710" y="552"/>
                </a:moveTo>
                <a:lnTo>
                  <a:pt x="1710" y="564"/>
                </a:lnTo>
                <a:lnTo>
                  <a:pt x="1716" y="570"/>
                </a:lnTo>
                <a:lnTo>
                  <a:pt x="1716" y="582"/>
                </a:lnTo>
                <a:lnTo>
                  <a:pt x="1722" y="594"/>
                </a:lnTo>
                <a:lnTo>
                  <a:pt x="1722" y="612"/>
                </a:lnTo>
                <a:lnTo>
                  <a:pt x="1716" y="618"/>
                </a:lnTo>
                <a:lnTo>
                  <a:pt x="1692" y="630"/>
                </a:lnTo>
                <a:lnTo>
                  <a:pt x="1686" y="636"/>
                </a:lnTo>
                <a:lnTo>
                  <a:pt x="1674" y="642"/>
                </a:lnTo>
                <a:lnTo>
                  <a:pt x="1674" y="678"/>
                </a:lnTo>
                <a:lnTo>
                  <a:pt x="1680" y="684"/>
                </a:lnTo>
                <a:lnTo>
                  <a:pt x="1686" y="696"/>
                </a:lnTo>
                <a:lnTo>
                  <a:pt x="1674" y="708"/>
                </a:lnTo>
                <a:lnTo>
                  <a:pt x="1674" y="720"/>
                </a:lnTo>
                <a:lnTo>
                  <a:pt x="1680" y="726"/>
                </a:lnTo>
                <a:lnTo>
                  <a:pt x="1692" y="732"/>
                </a:lnTo>
                <a:lnTo>
                  <a:pt x="1698" y="726"/>
                </a:lnTo>
                <a:lnTo>
                  <a:pt x="1722" y="726"/>
                </a:lnTo>
                <a:lnTo>
                  <a:pt x="1728" y="732"/>
                </a:lnTo>
                <a:lnTo>
                  <a:pt x="1728" y="756"/>
                </a:lnTo>
                <a:lnTo>
                  <a:pt x="1722" y="762"/>
                </a:lnTo>
                <a:lnTo>
                  <a:pt x="1740" y="780"/>
                </a:lnTo>
                <a:lnTo>
                  <a:pt x="1728" y="846"/>
                </a:lnTo>
                <a:lnTo>
                  <a:pt x="1710" y="864"/>
                </a:lnTo>
                <a:lnTo>
                  <a:pt x="1704" y="876"/>
                </a:lnTo>
                <a:lnTo>
                  <a:pt x="1704" y="888"/>
                </a:lnTo>
                <a:lnTo>
                  <a:pt x="1710" y="906"/>
                </a:lnTo>
                <a:lnTo>
                  <a:pt x="1722" y="924"/>
                </a:lnTo>
                <a:lnTo>
                  <a:pt x="1746" y="936"/>
                </a:lnTo>
                <a:lnTo>
                  <a:pt x="1764" y="930"/>
                </a:lnTo>
                <a:lnTo>
                  <a:pt x="1788" y="906"/>
                </a:lnTo>
                <a:lnTo>
                  <a:pt x="1788" y="864"/>
                </a:lnTo>
                <a:lnTo>
                  <a:pt x="1782" y="858"/>
                </a:lnTo>
                <a:lnTo>
                  <a:pt x="1776" y="846"/>
                </a:lnTo>
                <a:lnTo>
                  <a:pt x="1800" y="822"/>
                </a:lnTo>
                <a:lnTo>
                  <a:pt x="1806" y="804"/>
                </a:lnTo>
                <a:lnTo>
                  <a:pt x="1806" y="774"/>
                </a:lnTo>
                <a:lnTo>
                  <a:pt x="1812" y="756"/>
                </a:lnTo>
                <a:lnTo>
                  <a:pt x="1812" y="726"/>
                </a:lnTo>
                <a:lnTo>
                  <a:pt x="1806" y="714"/>
                </a:lnTo>
                <a:lnTo>
                  <a:pt x="1800" y="696"/>
                </a:lnTo>
                <a:lnTo>
                  <a:pt x="1794" y="684"/>
                </a:lnTo>
                <a:lnTo>
                  <a:pt x="1794" y="636"/>
                </a:lnTo>
                <a:lnTo>
                  <a:pt x="1800" y="630"/>
                </a:lnTo>
                <a:lnTo>
                  <a:pt x="1800" y="624"/>
                </a:lnTo>
                <a:lnTo>
                  <a:pt x="1806" y="618"/>
                </a:lnTo>
                <a:lnTo>
                  <a:pt x="1812" y="618"/>
                </a:lnTo>
                <a:lnTo>
                  <a:pt x="1818" y="624"/>
                </a:lnTo>
                <a:lnTo>
                  <a:pt x="1824" y="642"/>
                </a:lnTo>
                <a:lnTo>
                  <a:pt x="1830" y="666"/>
                </a:lnTo>
                <a:lnTo>
                  <a:pt x="1836" y="684"/>
                </a:lnTo>
                <a:lnTo>
                  <a:pt x="1836" y="702"/>
                </a:lnTo>
                <a:lnTo>
                  <a:pt x="1866" y="738"/>
                </a:lnTo>
                <a:lnTo>
                  <a:pt x="1866" y="792"/>
                </a:lnTo>
                <a:lnTo>
                  <a:pt x="1890" y="822"/>
                </a:lnTo>
                <a:lnTo>
                  <a:pt x="1890" y="858"/>
                </a:lnTo>
                <a:lnTo>
                  <a:pt x="1902" y="930"/>
                </a:lnTo>
                <a:lnTo>
                  <a:pt x="1920" y="918"/>
                </a:lnTo>
                <a:lnTo>
                  <a:pt x="1962" y="930"/>
                </a:lnTo>
                <a:lnTo>
                  <a:pt x="1962" y="870"/>
                </a:lnTo>
                <a:lnTo>
                  <a:pt x="1968" y="864"/>
                </a:lnTo>
                <a:lnTo>
                  <a:pt x="1974" y="852"/>
                </a:lnTo>
                <a:lnTo>
                  <a:pt x="1980" y="876"/>
                </a:lnTo>
                <a:lnTo>
                  <a:pt x="1998" y="876"/>
                </a:lnTo>
                <a:lnTo>
                  <a:pt x="2004" y="870"/>
                </a:lnTo>
                <a:lnTo>
                  <a:pt x="2010" y="858"/>
                </a:lnTo>
                <a:lnTo>
                  <a:pt x="2010" y="828"/>
                </a:lnTo>
                <a:lnTo>
                  <a:pt x="2004" y="822"/>
                </a:lnTo>
                <a:lnTo>
                  <a:pt x="2004" y="816"/>
                </a:lnTo>
                <a:lnTo>
                  <a:pt x="1992" y="810"/>
                </a:lnTo>
                <a:lnTo>
                  <a:pt x="1986" y="798"/>
                </a:lnTo>
                <a:lnTo>
                  <a:pt x="1974" y="792"/>
                </a:lnTo>
                <a:lnTo>
                  <a:pt x="1962" y="780"/>
                </a:lnTo>
                <a:lnTo>
                  <a:pt x="1956" y="768"/>
                </a:lnTo>
                <a:lnTo>
                  <a:pt x="1944" y="756"/>
                </a:lnTo>
                <a:lnTo>
                  <a:pt x="1944" y="750"/>
                </a:lnTo>
                <a:lnTo>
                  <a:pt x="1956" y="726"/>
                </a:lnTo>
                <a:lnTo>
                  <a:pt x="1968" y="720"/>
                </a:lnTo>
                <a:lnTo>
                  <a:pt x="1968" y="708"/>
                </a:lnTo>
                <a:lnTo>
                  <a:pt x="1962" y="696"/>
                </a:lnTo>
                <a:lnTo>
                  <a:pt x="1938" y="684"/>
                </a:lnTo>
                <a:lnTo>
                  <a:pt x="1932" y="672"/>
                </a:lnTo>
                <a:lnTo>
                  <a:pt x="1932" y="642"/>
                </a:lnTo>
                <a:lnTo>
                  <a:pt x="1938" y="636"/>
                </a:lnTo>
                <a:lnTo>
                  <a:pt x="1938" y="630"/>
                </a:lnTo>
                <a:lnTo>
                  <a:pt x="1926" y="618"/>
                </a:lnTo>
                <a:lnTo>
                  <a:pt x="1914" y="612"/>
                </a:lnTo>
                <a:lnTo>
                  <a:pt x="1896" y="594"/>
                </a:lnTo>
                <a:lnTo>
                  <a:pt x="1884" y="588"/>
                </a:lnTo>
                <a:lnTo>
                  <a:pt x="1878" y="582"/>
                </a:lnTo>
                <a:lnTo>
                  <a:pt x="1914" y="582"/>
                </a:lnTo>
                <a:lnTo>
                  <a:pt x="1926" y="576"/>
                </a:lnTo>
                <a:lnTo>
                  <a:pt x="1932" y="570"/>
                </a:lnTo>
                <a:lnTo>
                  <a:pt x="1944" y="546"/>
                </a:lnTo>
                <a:lnTo>
                  <a:pt x="1950" y="540"/>
                </a:lnTo>
                <a:lnTo>
                  <a:pt x="1956" y="528"/>
                </a:lnTo>
                <a:lnTo>
                  <a:pt x="1992" y="528"/>
                </a:lnTo>
                <a:lnTo>
                  <a:pt x="2004" y="522"/>
                </a:lnTo>
                <a:lnTo>
                  <a:pt x="2010" y="522"/>
                </a:lnTo>
                <a:lnTo>
                  <a:pt x="2016" y="516"/>
                </a:lnTo>
                <a:lnTo>
                  <a:pt x="2016" y="504"/>
                </a:lnTo>
                <a:lnTo>
                  <a:pt x="1998" y="486"/>
                </a:lnTo>
                <a:lnTo>
                  <a:pt x="1986" y="480"/>
                </a:lnTo>
                <a:lnTo>
                  <a:pt x="1974" y="486"/>
                </a:lnTo>
                <a:lnTo>
                  <a:pt x="1956" y="504"/>
                </a:lnTo>
                <a:lnTo>
                  <a:pt x="1956" y="510"/>
                </a:lnTo>
                <a:lnTo>
                  <a:pt x="1944" y="510"/>
                </a:lnTo>
                <a:lnTo>
                  <a:pt x="1932" y="504"/>
                </a:lnTo>
                <a:lnTo>
                  <a:pt x="1896" y="504"/>
                </a:lnTo>
                <a:lnTo>
                  <a:pt x="1890" y="510"/>
                </a:lnTo>
                <a:lnTo>
                  <a:pt x="1884" y="522"/>
                </a:lnTo>
                <a:lnTo>
                  <a:pt x="1854" y="552"/>
                </a:lnTo>
                <a:lnTo>
                  <a:pt x="1848" y="546"/>
                </a:lnTo>
                <a:lnTo>
                  <a:pt x="1836" y="540"/>
                </a:lnTo>
                <a:lnTo>
                  <a:pt x="1824" y="516"/>
                </a:lnTo>
                <a:lnTo>
                  <a:pt x="1788" y="498"/>
                </a:lnTo>
                <a:lnTo>
                  <a:pt x="1776" y="498"/>
                </a:lnTo>
                <a:lnTo>
                  <a:pt x="1776" y="486"/>
                </a:lnTo>
                <a:lnTo>
                  <a:pt x="1782" y="468"/>
                </a:lnTo>
                <a:lnTo>
                  <a:pt x="1782" y="456"/>
                </a:lnTo>
                <a:lnTo>
                  <a:pt x="1794" y="420"/>
                </a:lnTo>
                <a:lnTo>
                  <a:pt x="1806" y="408"/>
                </a:lnTo>
                <a:lnTo>
                  <a:pt x="1824" y="408"/>
                </a:lnTo>
                <a:lnTo>
                  <a:pt x="1842" y="414"/>
                </a:lnTo>
                <a:lnTo>
                  <a:pt x="1896" y="414"/>
                </a:lnTo>
                <a:lnTo>
                  <a:pt x="1902" y="408"/>
                </a:lnTo>
                <a:lnTo>
                  <a:pt x="1908" y="408"/>
                </a:lnTo>
                <a:lnTo>
                  <a:pt x="1908" y="402"/>
                </a:lnTo>
                <a:lnTo>
                  <a:pt x="1914" y="396"/>
                </a:lnTo>
                <a:lnTo>
                  <a:pt x="1920" y="396"/>
                </a:lnTo>
                <a:lnTo>
                  <a:pt x="1944" y="402"/>
                </a:lnTo>
                <a:lnTo>
                  <a:pt x="1980" y="420"/>
                </a:lnTo>
                <a:lnTo>
                  <a:pt x="2010" y="432"/>
                </a:lnTo>
                <a:lnTo>
                  <a:pt x="2034" y="438"/>
                </a:lnTo>
                <a:lnTo>
                  <a:pt x="2040" y="438"/>
                </a:lnTo>
                <a:lnTo>
                  <a:pt x="2052" y="432"/>
                </a:lnTo>
                <a:lnTo>
                  <a:pt x="2064" y="420"/>
                </a:lnTo>
                <a:lnTo>
                  <a:pt x="2082" y="420"/>
                </a:lnTo>
                <a:lnTo>
                  <a:pt x="2094" y="414"/>
                </a:lnTo>
                <a:lnTo>
                  <a:pt x="2106" y="414"/>
                </a:lnTo>
                <a:lnTo>
                  <a:pt x="2112" y="408"/>
                </a:lnTo>
                <a:lnTo>
                  <a:pt x="2112" y="402"/>
                </a:lnTo>
                <a:lnTo>
                  <a:pt x="2106" y="396"/>
                </a:lnTo>
                <a:lnTo>
                  <a:pt x="2106" y="390"/>
                </a:lnTo>
                <a:lnTo>
                  <a:pt x="2118" y="378"/>
                </a:lnTo>
                <a:lnTo>
                  <a:pt x="2142" y="366"/>
                </a:lnTo>
                <a:lnTo>
                  <a:pt x="2148" y="360"/>
                </a:lnTo>
                <a:lnTo>
                  <a:pt x="2160" y="354"/>
                </a:lnTo>
                <a:lnTo>
                  <a:pt x="2148" y="324"/>
                </a:lnTo>
                <a:lnTo>
                  <a:pt x="2070" y="360"/>
                </a:lnTo>
                <a:lnTo>
                  <a:pt x="2076" y="366"/>
                </a:lnTo>
                <a:lnTo>
                  <a:pt x="2076" y="372"/>
                </a:lnTo>
                <a:lnTo>
                  <a:pt x="2070" y="378"/>
                </a:lnTo>
                <a:lnTo>
                  <a:pt x="2046" y="378"/>
                </a:lnTo>
                <a:lnTo>
                  <a:pt x="2022" y="366"/>
                </a:lnTo>
                <a:lnTo>
                  <a:pt x="2004" y="366"/>
                </a:lnTo>
                <a:lnTo>
                  <a:pt x="1968" y="384"/>
                </a:lnTo>
                <a:lnTo>
                  <a:pt x="1950" y="384"/>
                </a:lnTo>
                <a:lnTo>
                  <a:pt x="1938" y="378"/>
                </a:lnTo>
                <a:lnTo>
                  <a:pt x="1926" y="378"/>
                </a:lnTo>
                <a:lnTo>
                  <a:pt x="1902" y="366"/>
                </a:lnTo>
                <a:lnTo>
                  <a:pt x="1860" y="366"/>
                </a:lnTo>
                <a:lnTo>
                  <a:pt x="1872" y="348"/>
                </a:lnTo>
                <a:lnTo>
                  <a:pt x="1860" y="348"/>
                </a:lnTo>
                <a:lnTo>
                  <a:pt x="1848" y="342"/>
                </a:lnTo>
                <a:lnTo>
                  <a:pt x="1824" y="342"/>
                </a:lnTo>
                <a:lnTo>
                  <a:pt x="1824" y="366"/>
                </a:lnTo>
                <a:lnTo>
                  <a:pt x="1812" y="378"/>
                </a:lnTo>
                <a:lnTo>
                  <a:pt x="1788" y="390"/>
                </a:lnTo>
                <a:lnTo>
                  <a:pt x="1764" y="390"/>
                </a:lnTo>
                <a:lnTo>
                  <a:pt x="1758" y="396"/>
                </a:lnTo>
                <a:lnTo>
                  <a:pt x="1758" y="426"/>
                </a:lnTo>
                <a:lnTo>
                  <a:pt x="1740" y="432"/>
                </a:lnTo>
                <a:lnTo>
                  <a:pt x="1752" y="498"/>
                </a:lnTo>
                <a:lnTo>
                  <a:pt x="1740" y="498"/>
                </a:lnTo>
                <a:lnTo>
                  <a:pt x="1734" y="510"/>
                </a:lnTo>
                <a:lnTo>
                  <a:pt x="1728" y="516"/>
                </a:lnTo>
                <a:lnTo>
                  <a:pt x="1710" y="552"/>
                </a:lnTo>
                <a:close/>
                <a:moveTo>
                  <a:pt x="1986" y="576"/>
                </a:moveTo>
                <a:lnTo>
                  <a:pt x="1986" y="594"/>
                </a:lnTo>
                <a:lnTo>
                  <a:pt x="1992" y="600"/>
                </a:lnTo>
                <a:lnTo>
                  <a:pt x="2004" y="600"/>
                </a:lnTo>
                <a:lnTo>
                  <a:pt x="2016" y="588"/>
                </a:lnTo>
                <a:lnTo>
                  <a:pt x="2016" y="576"/>
                </a:lnTo>
                <a:lnTo>
                  <a:pt x="1986" y="576"/>
                </a:lnTo>
                <a:close/>
                <a:moveTo>
                  <a:pt x="1686" y="1110"/>
                </a:moveTo>
                <a:lnTo>
                  <a:pt x="1674" y="1110"/>
                </a:lnTo>
                <a:lnTo>
                  <a:pt x="1668" y="1116"/>
                </a:lnTo>
                <a:lnTo>
                  <a:pt x="1662" y="1116"/>
                </a:lnTo>
                <a:lnTo>
                  <a:pt x="1614" y="1104"/>
                </a:lnTo>
                <a:lnTo>
                  <a:pt x="1644" y="1146"/>
                </a:lnTo>
                <a:lnTo>
                  <a:pt x="1650" y="1152"/>
                </a:lnTo>
                <a:lnTo>
                  <a:pt x="1662" y="1158"/>
                </a:lnTo>
                <a:lnTo>
                  <a:pt x="1668" y="1164"/>
                </a:lnTo>
                <a:lnTo>
                  <a:pt x="1680" y="1170"/>
                </a:lnTo>
                <a:lnTo>
                  <a:pt x="1692" y="1158"/>
                </a:lnTo>
                <a:lnTo>
                  <a:pt x="1698" y="1140"/>
                </a:lnTo>
                <a:lnTo>
                  <a:pt x="1698" y="1128"/>
                </a:lnTo>
                <a:lnTo>
                  <a:pt x="1692" y="1116"/>
                </a:lnTo>
                <a:lnTo>
                  <a:pt x="1686" y="1110"/>
                </a:lnTo>
                <a:close/>
                <a:moveTo>
                  <a:pt x="2094" y="1104"/>
                </a:moveTo>
                <a:lnTo>
                  <a:pt x="2064" y="1128"/>
                </a:lnTo>
                <a:lnTo>
                  <a:pt x="2094" y="1134"/>
                </a:lnTo>
                <a:lnTo>
                  <a:pt x="2094" y="1104"/>
                </a:lnTo>
                <a:close/>
                <a:moveTo>
                  <a:pt x="486" y="294"/>
                </a:moveTo>
                <a:lnTo>
                  <a:pt x="474" y="288"/>
                </a:lnTo>
                <a:lnTo>
                  <a:pt x="468" y="288"/>
                </a:lnTo>
                <a:lnTo>
                  <a:pt x="456" y="294"/>
                </a:lnTo>
                <a:lnTo>
                  <a:pt x="456" y="312"/>
                </a:lnTo>
                <a:lnTo>
                  <a:pt x="468" y="324"/>
                </a:lnTo>
                <a:lnTo>
                  <a:pt x="474" y="318"/>
                </a:lnTo>
                <a:lnTo>
                  <a:pt x="486" y="318"/>
                </a:lnTo>
                <a:lnTo>
                  <a:pt x="486" y="312"/>
                </a:lnTo>
                <a:lnTo>
                  <a:pt x="492" y="300"/>
                </a:lnTo>
                <a:lnTo>
                  <a:pt x="486" y="294"/>
                </a:lnTo>
                <a:close/>
                <a:moveTo>
                  <a:pt x="2346" y="588"/>
                </a:moveTo>
                <a:lnTo>
                  <a:pt x="2340" y="576"/>
                </a:lnTo>
                <a:lnTo>
                  <a:pt x="2328" y="570"/>
                </a:lnTo>
                <a:lnTo>
                  <a:pt x="2310" y="552"/>
                </a:lnTo>
                <a:lnTo>
                  <a:pt x="2304" y="552"/>
                </a:lnTo>
                <a:lnTo>
                  <a:pt x="2304" y="600"/>
                </a:lnTo>
                <a:lnTo>
                  <a:pt x="2316" y="600"/>
                </a:lnTo>
                <a:lnTo>
                  <a:pt x="2328" y="606"/>
                </a:lnTo>
                <a:lnTo>
                  <a:pt x="2334" y="606"/>
                </a:lnTo>
                <a:lnTo>
                  <a:pt x="2346" y="600"/>
                </a:lnTo>
                <a:lnTo>
                  <a:pt x="2346" y="588"/>
                </a:lnTo>
                <a:close/>
                <a:moveTo>
                  <a:pt x="2310" y="474"/>
                </a:moveTo>
                <a:lnTo>
                  <a:pt x="2340" y="504"/>
                </a:lnTo>
                <a:lnTo>
                  <a:pt x="2358" y="516"/>
                </a:lnTo>
                <a:lnTo>
                  <a:pt x="2382" y="528"/>
                </a:lnTo>
                <a:lnTo>
                  <a:pt x="2400" y="528"/>
                </a:lnTo>
                <a:lnTo>
                  <a:pt x="2400" y="522"/>
                </a:lnTo>
                <a:lnTo>
                  <a:pt x="2358" y="480"/>
                </a:lnTo>
                <a:lnTo>
                  <a:pt x="2358" y="468"/>
                </a:lnTo>
                <a:lnTo>
                  <a:pt x="2364" y="456"/>
                </a:lnTo>
                <a:lnTo>
                  <a:pt x="2376" y="450"/>
                </a:lnTo>
                <a:lnTo>
                  <a:pt x="2394" y="450"/>
                </a:lnTo>
                <a:lnTo>
                  <a:pt x="2406" y="456"/>
                </a:lnTo>
                <a:lnTo>
                  <a:pt x="2424" y="444"/>
                </a:lnTo>
                <a:lnTo>
                  <a:pt x="2400" y="432"/>
                </a:lnTo>
                <a:lnTo>
                  <a:pt x="2412" y="426"/>
                </a:lnTo>
                <a:lnTo>
                  <a:pt x="2424" y="402"/>
                </a:lnTo>
                <a:lnTo>
                  <a:pt x="2412" y="378"/>
                </a:lnTo>
                <a:lnTo>
                  <a:pt x="2400" y="372"/>
                </a:lnTo>
                <a:lnTo>
                  <a:pt x="2382" y="372"/>
                </a:lnTo>
                <a:lnTo>
                  <a:pt x="2358" y="396"/>
                </a:lnTo>
                <a:lnTo>
                  <a:pt x="2346" y="402"/>
                </a:lnTo>
                <a:lnTo>
                  <a:pt x="2340" y="408"/>
                </a:lnTo>
                <a:lnTo>
                  <a:pt x="2334" y="408"/>
                </a:lnTo>
                <a:lnTo>
                  <a:pt x="2328" y="402"/>
                </a:lnTo>
                <a:lnTo>
                  <a:pt x="2328" y="366"/>
                </a:lnTo>
                <a:lnTo>
                  <a:pt x="2334" y="360"/>
                </a:lnTo>
                <a:lnTo>
                  <a:pt x="2346" y="336"/>
                </a:lnTo>
                <a:lnTo>
                  <a:pt x="2346" y="318"/>
                </a:lnTo>
                <a:lnTo>
                  <a:pt x="2340" y="312"/>
                </a:lnTo>
                <a:lnTo>
                  <a:pt x="2358" y="276"/>
                </a:lnTo>
                <a:lnTo>
                  <a:pt x="2316" y="312"/>
                </a:lnTo>
                <a:lnTo>
                  <a:pt x="2316" y="342"/>
                </a:lnTo>
                <a:lnTo>
                  <a:pt x="2304" y="348"/>
                </a:lnTo>
                <a:lnTo>
                  <a:pt x="2298" y="354"/>
                </a:lnTo>
                <a:lnTo>
                  <a:pt x="2286" y="378"/>
                </a:lnTo>
                <a:lnTo>
                  <a:pt x="2286" y="408"/>
                </a:lnTo>
                <a:lnTo>
                  <a:pt x="2298" y="420"/>
                </a:lnTo>
                <a:lnTo>
                  <a:pt x="2304" y="432"/>
                </a:lnTo>
                <a:lnTo>
                  <a:pt x="2310" y="438"/>
                </a:lnTo>
                <a:lnTo>
                  <a:pt x="2310" y="444"/>
                </a:lnTo>
                <a:lnTo>
                  <a:pt x="2304" y="450"/>
                </a:lnTo>
                <a:lnTo>
                  <a:pt x="2304" y="468"/>
                </a:lnTo>
                <a:lnTo>
                  <a:pt x="2310" y="474"/>
                </a:lnTo>
                <a:close/>
                <a:moveTo>
                  <a:pt x="2250" y="708"/>
                </a:moveTo>
                <a:lnTo>
                  <a:pt x="2238" y="696"/>
                </a:lnTo>
                <a:lnTo>
                  <a:pt x="2214" y="708"/>
                </a:lnTo>
                <a:lnTo>
                  <a:pt x="2214" y="732"/>
                </a:lnTo>
                <a:lnTo>
                  <a:pt x="2220" y="744"/>
                </a:lnTo>
                <a:lnTo>
                  <a:pt x="2226" y="750"/>
                </a:lnTo>
                <a:lnTo>
                  <a:pt x="2250" y="762"/>
                </a:lnTo>
                <a:lnTo>
                  <a:pt x="2274" y="762"/>
                </a:lnTo>
                <a:lnTo>
                  <a:pt x="2280" y="750"/>
                </a:lnTo>
                <a:lnTo>
                  <a:pt x="2280" y="738"/>
                </a:lnTo>
                <a:lnTo>
                  <a:pt x="2274" y="726"/>
                </a:lnTo>
                <a:lnTo>
                  <a:pt x="2274" y="714"/>
                </a:lnTo>
                <a:lnTo>
                  <a:pt x="2268" y="708"/>
                </a:lnTo>
                <a:lnTo>
                  <a:pt x="2268" y="702"/>
                </a:lnTo>
                <a:lnTo>
                  <a:pt x="2250" y="708"/>
                </a:lnTo>
                <a:close/>
                <a:moveTo>
                  <a:pt x="2148" y="1104"/>
                </a:moveTo>
                <a:lnTo>
                  <a:pt x="2226" y="1092"/>
                </a:lnTo>
                <a:lnTo>
                  <a:pt x="2166" y="1074"/>
                </a:lnTo>
                <a:lnTo>
                  <a:pt x="2148" y="1104"/>
                </a:lnTo>
                <a:close/>
                <a:moveTo>
                  <a:pt x="2544" y="750"/>
                </a:moveTo>
                <a:lnTo>
                  <a:pt x="2520" y="732"/>
                </a:lnTo>
                <a:lnTo>
                  <a:pt x="2526" y="714"/>
                </a:lnTo>
                <a:lnTo>
                  <a:pt x="2514" y="702"/>
                </a:lnTo>
                <a:lnTo>
                  <a:pt x="2508" y="690"/>
                </a:lnTo>
                <a:lnTo>
                  <a:pt x="2490" y="684"/>
                </a:lnTo>
                <a:lnTo>
                  <a:pt x="2472" y="672"/>
                </a:lnTo>
                <a:lnTo>
                  <a:pt x="2442" y="666"/>
                </a:lnTo>
                <a:lnTo>
                  <a:pt x="2424" y="666"/>
                </a:lnTo>
                <a:lnTo>
                  <a:pt x="2388" y="684"/>
                </a:lnTo>
                <a:lnTo>
                  <a:pt x="2358" y="684"/>
                </a:lnTo>
                <a:lnTo>
                  <a:pt x="2346" y="696"/>
                </a:lnTo>
                <a:lnTo>
                  <a:pt x="2340" y="708"/>
                </a:lnTo>
                <a:lnTo>
                  <a:pt x="2340" y="726"/>
                </a:lnTo>
                <a:lnTo>
                  <a:pt x="2346" y="732"/>
                </a:lnTo>
                <a:lnTo>
                  <a:pt x="2364" y="714"/>
                </a:lnTo>
                <a:lnTo>
                  <a:pt x="2364" y="726"/>
                </a:lnTo>
                <a:lnTo>
                  <a:pt x="2370" y="738"/>
                </a:lnTo>
                <a:lnTo>
                  <a:pt x="2376" y="744"/>
                </a:lnTo>
                <a:lnTo>
                  <a:pt x="2388" y="738"/>
                </a:lnTo>
                <a:lnTo>
                  <a:pt x="2394" y="732"/>
                </a:lnTo>
                <a:lnTo>
                  <a:pt x="2394" y="726"/>
                </a:lnTo>
                <a:lnTo>
                  <a:pt x="2400" y="720"/>
                </a:lnTo>
                <a:lnTo>
                  <a:pt x="2400" y="714"/>
                </a:lnTo>
                <a:lnTo>
                  <a:pt x="2406" y="726"/>
                </a:lnTo>
                <a:lnTo>
                  <a:pt x="2418" y="732"/>
                </a:lnTo>
                <a:lnTo>
                  <a:pt x="2430" y="732"/>
                </a:lnTo>
                <a:lnTo>
                  <a:pt x="2442" y="720"/>
                </a:lnTo>
                <a:lnTo>
                  <a:pt x="2454" y="714"/>
                </a:lnTo>
                <a:lnTo>
                  <a:pt x="2460" y="708"/>
                </a:lnTo>
                <a:lnTo>
                  <a:pt x="2472" y="762"/>
                </a:lnTo>
                <a:lnTo>
                  <a:pt x="2502" y="738"/>
                </a:lnTo>
                <a:lnTo>
                  <a:pt x="2538" y="774"/>
                </a:lnTo>
                <a:lnTo>
                  <a:pt x="2544" y="750"/>
                </a:lnTo>
                <a:close/>
                <a:moveTo>
                  <a:pt x="3264" y="678"/>
                </a:moveTo>
                <a:lnTo>
                  <a:pt x="3222" y="648"/>
                </a:lnTo>
                <a:lnTo>
                  <a:pt x="3210" y="648"/>
                </a:lnTo>
                <a:lnTo>
                  <a:pt x="3198" y="654"/>
                </a:lnTo>
                <a:lnTo>
                  <a:pt x="3180" y="654"/>
                </a:lnTo>
                <a:lnTo>
                  <a:pt x="3162" y="648"/>
                </a:lnTo>
                <a:lnTo>
                  <a:pt x="3126" y="630"/>
                </a:lnTo>
                <a:lnTo>
                  <a:pt x="3096" y="612"/>
                </a:lnTo>
                <a:lnTo>
                  <a:pt x="3060" y="594"/>
                </a:lnTo>
                <a:lnTo>
                  <a:pt x="3042" y="582"/>
                </a:lnTo>
                <a:lnTo>
                  <a:pt x="3030" y="582"/>
                </a:lnTo>
                <a:lnTo>
                  <a:pt x="3006" y="594"/>
                </a:lnTo>
                <a:lnTo>
                  <a:pt x="3000" y="600"/>
                </a:lnTo>
                <a:lnTo>
                  <a:pt x="2988" y="606"/>
                </a:lnTo>
                <a:lnTo>
                  <a:pt x="3006" y="630"/>
                </a:lnTo>
                <a:lnTo>
                  <a:pt x="2928" y="642"/>
                </a:lnTo>
                <a:lnTo>
                  <a:pt x="2934" y="666"/>
                </a:lnTo>
                <a:lnTo>
                  <a:pt x="2928" y="678"/>
                </a:lnTo>
                <a:lnTo>
                  <a:pt x="2922" y="684"/>
                </a:lnTo>
                <a:lnTo>
                  <a:pt x="2916" y="696"/>
                </a:lnTo>
                <a:lnTo>
                  <a:pt x="2880" y="720"/>
                </a:lnTo>
                <a:lnTo>
                  <a:pt x="2862" y="726"/>
                </a:lnTo>
                <a:lnTo>
                  <a:pt x="2844" y="726"/>
                </a:lnTo>
                <a:lnTo>
                  <a:pt x="2832" y="720"/>
                </a:lnTo>
                <a:lnTo>
                  <a:pt x="2826" y="714"/>
                </a:lnTo>
                <a:lnTo>
                  <a:pt x="2820" y="702"/>
                </a:lnTo>
                <a:lnTo>
                  <a:pt x="2820" y="678"/>
                </a:lnTo>
                <a:lnTo>
                  <a:pt x="2814" y="672"/>
                </a:lnTo>
                <a:lnTo>
                  <a:pt x="2814" y="660"/>
                </a:lnTo>
                <a:lnTo>
                  <a:pt x="2808" y="666"/>
                </a:lnTo>
                <a:lnTo>
                  <a:pt x="2808" y="672"/>
                </a:lnTo>
                <a:lnTo>
                  <a:pt x="2802" y="684"/>
                </a:lnTo>
                <a:lnTo>
                  <a:pt x="2796" y="690"/>
                </a:lnTo>
                <a:lnTo>
                  <a:pt x="2796" y="696"/>
                </a:lnTo>
                <a:lnTo>
                  <a:pt x="2796" y="690"/>
                </a:lnTo>
                <a:lnTo>
                  <a:pt x="2790" y="684"/>
                </a:lnTo>
                <a:lnTo>
                  <a:pt x="2790" y="672"/>
                </a:lnTo>
                <a:lnTo>
                  <a:pt x="2784" y="660"/>
                </a:lnTo>
                <a:lnTo>
                  <a:pt x="2784" y="576"/>
                </a:lnTo>
                <a:lnTo>
                  <a:pt x="2778" y="558"/>
                </a:lnTo>
                <a:lnTo>
                  <a:pt x="2760" y="522"/>
                </a:lnTo>
                <a:lnTo>
                  <a:pt x="2724" y="522"/>
                </a:lnTo>
                <a:lnTo>
                  <a:pt x="2718" y="510"/>
                </a:lnTo>
                <a:lnTo>
                  <a:pt x="2694" y="498"/>
                </a:lnTo>
                <a:lnTo>
                  <a:pt x="2676" y="486"/>
                </a:lnTo>
                <a:lnTo>
                  <a:pt x="2652" y="486"/>
                </a:lnTo>
                <a:lnTo>
                  <a:pt x="2634" y="498"/>
                </a:lnTo>
                <a:lnTo>
                  <a:pt x="2628" y="504"/>
                </a:lnTo>
                <a:lnTo>
                  <a:pt x="2616" y="510"/>
                </a:lnTo>
                <a:lnTo>
                  <a:pt x="2610" y="522"/>
                </a:lnTo>
                <a:lnTo>
                  <a:pt x="2586" y="528"/>
                </a:lnTo>
                <a:lnTo>
                  <a:pt x="2580" y="546"/>
                </a:lnTo>
                <a:lnTo>
                  <a:pt x="2562" y="558"/>
                </a:lnTo>
                <a:lnTo>
                  <a:pt x="2562" y="540"/>
                </a:lnTo>
                <a:lnTo>
                  <a:pt x="2556" y="534"/>
                </a:lnTo>
                <a:lnTo>
                  <a:pt x="2532" y="534"/>
                </a:lnTo>
                <a:lnTo>
                  <a:pt x="2532" y="546"/>
                </a:lnTo>
                <a:lnTo>
                  <a:pt x="2544" y="570"/>
                </a:lnTo>
                <a:lnTo>
                  <a:pt x="2568" y="582"/>
                </a:lnTo>
                <a:lnTo>
                  <a:pt x="2604" y="582"/>
                </a:lnTo>
                <a:lnTo>
                  <a:pt x="2616" y="588"/>
                </a:lnTo>
                <a:lnTo>
                  <a:pt x="2622" y="594"/>
                </a:lnTo>
                <a:lnTo>
                  <a:pt x="2628" y="594"/>
                </a:lnTo>
                <a:lnTo>
                  <a:pt x="2628" y="618"/>
                </a:lnTo>
                <a:lnTo>
                  <a:pt x="2634" y="630"/>
                </a:lnTo>
                <a:lnTo>
                  <a:pt x="2640" y="636"/>
                </a:lnTo>
                <a:lnTo>
                  <a:pt x="2652" y="642"/>
                </a:lnTo>
                <a:lnTo>
                  <a:pt x="2694" y="642"/>
                </a:lnTo>
                <a:lnTo>
                  <a:pt x="2712" y="636"/>
                </a:lnTo>
                <a:lnTo>
                  <a:pt x="2754" y="636"/>
                </a:lnTo>
                <a:lnTo>
                  <a:pt x="2760" y="642"/>
                </a:lnTo>
                <a:lnTo>
                  <a:pt x="2760" y="660"/>
                </a:lnTo>
                <a:lnTo>
                  <a:pt x="2700" y="660"/>
                </a:lnTo>
                <a:lnTo>
                  <a:pt x="2688" y="666"/>
                </a:lnTo>
                <a:lnTo>
                  <a:pt x="2676" y="678"/>
                </a:lnTo>
                <a:lnTo>
                  <a:pt x="2640" y="678"/>
                </a:lnTo>
                <a:lnTo>
                  <a:pt x="2616" y="690"/>
                </a:lnTo>
                <a:lnTo>
                  <a:pt x="2616" y="696"/>
                </a:lnTo>
                <a:lnTo>
                  <a:pt x="2622" y="696"/>
                </a:lnTo>
                <a:lnTo>
                  <a:pt x="2646" y="708"/>
                </a:lnTo>
                <a:lnTo>
                  <a:pt x="2658" y="708"/>
                </a:lnTo>
                <a:lnTo>
                  <a:pt x="2676" y="726"/>
                </a:lnTo>
                <a:lnTo>
                  <a:pt x="2682" y="738"/>
                </a:lnTo>
                <a:lnTo>
                  <a:pt x="2688" y="744"/>
                </a:lnTo>
                <a:lnTo>
                  <a:pt x="2682" y="750"/>
                </a:lnTo>
                <a:lnTo>
                  <a:pt x="2676" y="762"/>
                </a:lnTo>
                <a:lnTo>
                  <a:pt x="2676" y="774"/>
                </a:lnTo>
                <a:lnTo>
                  <a:pt x="2670" y="780"/>
                </a:lnTo>
                <a:lnTo>
                  <a:pt x="2676" y="792"/>
                </a:lnTo>
                <a:lnTo>
                  <a:pt x="2682" y="798"/>
                </a:lnTo>
                <a:lnTo>
                  <a:pt x="2694" y="792"/>
                </a:lnTo>
                <a:lnTo>
                  <a:pt x="2706" y="780"/>
                </a:lnTo>
                <a:lnTo>
                  <a:pt x="2712" y="768"/>
                </a:lnTo>
                <a:lnTo>
                  <a:pt x="2718" y="762"/>
                </a:lnTo>
                <a:lnTo>
                  <a:pt x="2718" y="750"/>
                </a:lnTo>
                <a:lnTo>
                  <a:pt x="2724" y="744"/>
                </a:lnTo>
                <a:lnTo>
                  <a:pt x="2736" y="720"/>
                </a:lnTo>
                <a:lnTo>
                  <a:pt x="2742" y="714"/>
                </a:lnTo>
                <a:lnTo>
                  <a:pt x="2748" y="702"/>
                </a:lnTo>
                <a:lnTo>
                  <a:pt x="2748" y="744"/>
                </a:lnTo>
                <a:lnTo>
                  <a:pt x="2754" y="750"/>
                </a:lnTo>
                <a:lnTo>
                  <a:pt x="2766" y="756"/>
                </a:lnTo>
                <a:lnTo>
                  <a:pt x="2772" y="768"/>
                </a:lnTo>
                <a:lnTo>
                  <a:pt x="2784" y="774"/>
                </a:lnTo>
                <a:lnTo>
                  <a:pt x="2790" y="780"/>
                </a:lnTo>
                <a:lnTo>
                  <a:pt x="2814" y="780"/>
                </a:lnTo>
                <a:lnTo>
                  <a:pt x="2820" y="774"/>
                </a:lnTo>
                <a:lnTo>
                  <a:pt x="2826" y="774"/>
                </a:lnTo>
                <a:lnTo>
                  <a:pt x="2814" y="792"/>
                </a:lnTo>
                <a:lnTo>
                  <a:pt x="2844" y="822"/>
                </a:lnTo>
                <a:lnTo>
                  <a:pt x="2904" y="822"/>
                </a:lnTo>
                <a:lnTo>
                  <a:pt x="2940" y="846"/>
                </a:lnTo>
                <a:lnTo>
                  <a:pt x="2976" y="864"/>
                </a:lnTo>
                <a:lnTo>
                  <a:pt x="3006" y="876"/>
                </a:lnTo>
                <a:lnTo>
                  <a:pt x="3036" y="894"/>
                </a:lnTo>
                <a:lnTo>
                  <a:pt x="3066" y="924"/>
                </a:lnTo>
                <a:lnTo>
                  <a:pt x="3066" y="972"/>
                </a:lnTo>
                <a:lnTo>
                  <a:pt x="3090" y="996"/>
                </a:lnTo>
                <a:lnTo>
                  <a:pt x="3102" y="1002"/>
                </a:lnTo>
                <a:lnTo>
                  <a:pt x="3096" y="1002"/>
                </a:lnTo>
                <a:lnTo>
                  <a:pt x="3084" y="1008"/>
                </a:lnTo>
                <a:lnTo>
                  <a:pt x="3078" y="1014"/>
                </a:lnTo>
                <a:lnTo>
                  <a:pt x="3078" y="1020"/>
                </a:lnTo>
                <a:lnTo>
                  <a:pt x="3090" y="1032"/>
                </a:lnTo>
                <a:lnTo>
                  <a:pt x="3114" y="1032"/>
                </a:lnTo>
                <a:lnTo>
                  <a:pt x="3090" y="1044"/>
                </a:lnTo>
                <a:lnTo>
                  <a:pt x="3090" y="1056"/>
                </a:lnTo>
                <a:lnTo>
                  <a:pt x="3102" y="1062"/>
                </a:lnTo>
                <a:lnTo>
                  <a:pt x="3108" y="1092"/>
                </a:lnTo>
                <a:lnTo>
                  <a:pt x="3096" y="1122"/>
                </a:lnTo>
                <a:lnTo>
                  <a:pt x="3120" y="1122"/>
                </a:lnTo>
                <a:lnTo>
                  <a:pt x="3126" y="1116"/>
                </a:lnTo>
                <a:lnTo>
                  <a:pt x="3138" y="1116"/>
                </a:lnTo>
                <a:lnTo>
                  <a:pt x="3150" y="1110"/>
                </a:lnTo>
                <a:lnTo>
                  <a:pt x="3162" y="1110"/>
                </a:lnTo>
                <a:lnTo>
                  <a:pt x="3168" y="1104"/>
                </a:lnTo>
                <a:lnTo>
                  <a:pt x="3174" y="1104"/>
                </a:lnTo>
                <a:lnTo>
                  <a:pt x="3174" y="1134"/>
                </a:lnTo>
                <a:lnTo>
                  <a:pt x="3234" y="1194"/>
                </a:lnTo>
                <a:lnTo>
                  <a:pt x="3240" y="1194"/>
                </a:lnTo>
                <a:lnTo>
                  <a:pt x="3240" y="1146"/>
                </a:lnTo>
                <a:lnTo>
                  <a:pt x="3234" y="1122"/>
                </a:lnTo>
                <a:lnTo>
                  <a:pt x="3234" y="1116"/>
                </a:lnTo>
                <a:lnTo>
                  <a:pt x="3240" y="1110"/>
                </a:lnTo>
                <a:lnTo>
                  <a:pt x="3240" y="1098"/>
                </a:lnTo>
                <a:lnTo>
                  <a:pt x="3246" y="1086"/>
                </a:lnTo>
                <a:lnTo>
                  <a:pt x="3246" y="1062"/>
                </a:lnTo>
                <a:lnTo>
                  <a:pt x="3252" y="1050"/>
                </a:lnTo>
                <a:lnTo>
                  <a:pt x="3252" y="1020"/>
                </a:lnTo>
                <a:lnTo>
                  <a:pt x="3240" y="1020"/>
                </a:lnTo>
                <a:lnTo>
                  <a:pt x="3228" y="1014"/>
                </a:lnTo>
                <a:lnTo>
                  <a:pt x="3222" y="1008"/>
                </a:lnTo>
                <a:lnTo>
                  <a:pt x="3222" y="1002"/>
                </a:lnTo>
                <a:lnTo>
                  <a:pt x="3234" y="990"/>
                </a:lnTo>
                <a:lnTo>
                  <a:pt x="3246" y="984"/>
                </a:lnTo>
                <a:lnTo>
                  <a:pt x="3252" y="978"/>
                </a:lnTo>
                <a:lnTo>
                  <a:pt x="3252" y="864"/>
                </a:lnTo>
                <a:lnTo>
                  <a:pt x="3258" y="846"/>
                </a:lnTo>
                <a:lnTo>
                  <a:pt x="3258" y="708"/>
                </a:lnTo>
                <a:lnTo>
                  <a:pt x="3264" y="678"/>
                </a:lnTo>
                <a:close/>
                <a:moveTo>
                  <a:pt x="336" y="666"/>
                </a:moveTo>
                <a:lnTo>
                  <a:pt x="330" y="672"/>
                </a:lnTo>
                <a:lnTo>
                  <a:pt x="354" y="696"/>
                </a:lnTo>
                <a:lnTo>
                  <a:pt x="360" y="708"/>
                </a:lnTo>
                <a:lnTo>
                  <a:pt x="366" y="714"/>
                </a:lnTo>
                <a:lnTo>
                  <a:pt x="378" y="714"/>
                </a:lnTo>
                <a:lnTo>
                  <a:pt x="378" y="696"/>
                </a:lnTo>
                <a:lnTo>
                  <a:pt x="366" y="690"/>
                </a:lnTo>
                <a:lnTo>
                  <a:pt x="360" y="678"/>
                </a:lnTo>
                <a:lnTo>
                  <a:pt x="348" y="672"/>
                </a:lnTo>
                <a:lnTo>
                  <a:pt x="342" y="666"/>
                </a:lnTo>
                <a:lnTo>
                  <a:pt x="336" y="666"/>
                </a:lnTo>
                <a:close/>
                <a:moveTo>
                  <a:pt x="2526" y="1104"/>
                </a:moveTo>
                <a:lnTo>
                  <a:pt x="2544" y="1116"/>
                </a:lnTo>
                <a:lnTo>
                  <a:pt x="2574" y="1092"/>
                </a:lnTo>
                <a:lnTo>
                  <a:pt x="2592" y="1092"/>
                </a:lnTo>
                <a:lnTo>
                  <a:pt x="2604" y="1080"/>
                </a:lnTo>
                <a:lnTo>
                  <a:pt x="2604" y="1062"/>
                </a:lnTo>
                <a:lnTo>
                  <a:pt x="2592" y="1056"/>
                </a:lnTo>
                <a:lnTo>
                  <a:pt x="2586" y="1056"/>
                </a:lnTo>
                <a:lnTo>
                  <a:pt x="2574" y="1062"/>
                </a:lnTo>
                <a:lnTo>
                  <a:pt x="2556" y="1068"/>
                </a:lnTo>
                <a:lnTo>
                  <a:pt x="2526" y="1098"/>
                </a:lnTo>
                <a:lnTo>
                  <a:pt x="2526" y="1104"/>
                </a:lnTo>
                <a:close/>
                <a:moveTo>
                  <a:pt x="3096" y="1068"/>
                </a:moveTo>
                <a:lnTo>
                  <a:pt x="3090" y="1068"/>
                </a:lnTo>
                <a:lnTo>
                  <a:pt x="3090" y="1062"/>
                </a:lnTo>
                <a:lnTo>
                  <a:pt x="3084" y="1062"/>
                </a:lnTo>
                <a:lnTo>
                  <a:pt x="3078" y="1056"/>
                </a:lnTo>
                <a:lnTo>
                  <a:pt x="3066" y="1056"/>
                </a:lnTo>
                <a:lnTo>
                  <a:pt x="3048" y="1062"/>
                </a:lnTo>
                <a:lnTo>
                  <a:pt x="3024" y="1086"/>
                </a:lnTo>
                <a:lnTo>
                  <a:pt x="3012" y="1122"/>
                </a:lnTo>
                <a:lnTo>
                  <a:pt x="3012" y="1134"/>
                </a:lnTo>
                <a:lnTo>
                  <a:pt x="3072" y="1128"/>
                </a:lnTo>
                <a:lnTo>
                  <a:pt x="3084" y="1128"/>
                </a:lnTo>
                <a:lnTo>
                  <a:pt x="3090" y="1122"/>
                </a:lnTo>
                <a:lnTo>
                  <a:pt x="3102" y="1092"/>
                </a:lnTo>
                <a:lnTo>
                  <a:pt x="3096" y="1068"/>
                </a:lnTo>
                <a:close/>
                <a:moveTo>
                  <a:pt x="2778" y="942"/>
                </a:moveTo>
                <a:lnTo>
                  <a:pt x="2766" y="960"/>
                </a:lnTo>
                <a:lnTo>
                  <a:pt x="2766" y="1014"/>
                </a:lnTo>
                <a:lnTo>
                  <a:pt x="2784" y="1014"/>
                </a:lnTo>
                <a:lnTo>
                  <a:pt x="2778" y="996"/>
                </a:lnTo>
                <a:lnTo>
                  <a:pt x="2790" y="990"/>
                </a:lnTo>
                <a:lnTo>
                  <a:pt x="2790" y="972"/>
                </a:lnTo>
                <a:lnTo>
                  <a:pt x="2778" y="972"/>
                </a:lnTo>
                <a:lnTo>
                  <a:pt x="2796" y="936"/>
                </a:lnTo>
                <a:lnTo>
                  <a:pt x="2814" y="906"/>
                </a:lnTo>
                <a:lnTo>
                  <a:pt x="2784" y="912"/>
                </a:lnTo>
                <a:lnTo>
                  <a:pt x="2778" y="942"/>
                </a:lnTo>
                <a:close/>
                <a:moveTo>
                  <a:pt x="2136" y="600"/>
                </a:moveTo>
                <a:lnTo>
                  <a:pt x="2124" y="594"/>
                </a:lnTo>
                <a:lnTo>
                  <a:pt x="2118" y="594"/>
                </a:lnTo>
                <a:lnTo>
                  <a:pt x="2106" y="588"/>
                </a:lnTo>
                <a:lnTo>
                  <a:pt x="2088" y="588"/>
                </a:lnTo>
                <a:lnTo>
                  <a:pt x="2082" y="594"/>
                </a:lnTo>
                <a:lnTo>
                  <a:pt x="2082" y="600"/>
                </a:lnTo>
                <a:lnTo>
                  <a:pt x="2076" y="606"/>
                </a:lnTo>
                <a:lnTo>
                  <a:pt x="2082" y="612"/>
                </a:lnTo>
                <a:lnTo>
                  <a:pt x="2094" y="618"/>
                </a:lnTo>
                <a:lnTo>
                  <a:pt x="2136" y="618"/>
                </a:lnTo>
                <a:lnTo>
                  <a:pt x="2214" y="606"/>
                </a:lnTo>
                <a:lnTo>
                  <a:pt x="2136" y="600"/>
                </a:lnTo>
                <a:close/>
                <a:moveTo>
                  <a:pt x="1308" y="1038"/>
                </a:moveTo>
                <a:lnTo>
                  <a:pt x="1368" y="1002"/>
                </a:lnTo>
                <a:lnTo>
                  <a:pt x="1362" y="990"/>
                </a:lnTo>
                <a:lnTo>
                  <a:pt x="1350" y="990"/>
                </a:lnTo>
                <a:lnTo>
                  <a:pt x="1332" y="996"/>
                </a:lnTo>
                <a:lnTo>
                  <a:pt x="1320" y="996"/>
                </a:lnTo>
                <a:lnTo>
                  <a:pt x="1302" y="1002"/>
                </a:lnTo>
                <a:lnTo>
                  <a:pt x="1290" y="1008"/>
                </a:lnTo>
                <a:lnTo>
                  <a:pt x="1284" y="1014"/>
                </a:lnTo>
                <a:lnTo>
                  <a:pt x="1284" y="1032"/>
                </a:lnTo>
                <a:lnTo>
                  <a:pt x="1290" y="1038"/>
                </a:lnTo>
                <a:lnTo>
                  <a:pt x="1308" y="1038"/>
                </a:lnTo>
                <a:close/>
                <a:moveTo>
                  <a:pt x="1428" y="1116"/>
                </a:moveTo>
                <a:lnTo>
                  <a:pt x="1392" y="1116"/>
                </a:lnTo>
                <a:lnTo>
                  <a:pt x="1386" y="1146"/>
                </a:lnTo>
                <a:lnTo>
                  <a:pt x="1386" y="1152"/>
                </a:lnTo>
                <a:lnTo>
                  <a:pt x="1404" y="1170"/>
                </a:lnTo>
                <a:lnTo>
                  <a:pt x="1416" y="1176"/>
                </a:lnTo>
                <a:lnTo>
                  <a:pt x="1428" y="1164"/>
                </a:lnTo>
                <a:lnTo>
                  <a:pt x="1440" y="1140"/>
                </a:lnTo>
                <a:lnTo>
                  <a:pt x="1440" y="1128"/>
                </a:lnTo>
                <a:lnTo>
                  <a:pt x="1428" y="1116"/>
                </a:lnTo>
                <a:close/>
                <a:moveTo>
                  <a:pt x="708" y="930"/>
                </a:moveTo>
                <a:lnTo>
                  <a:pt x="714" y="924"/>
                </a:lnTo>
                <a:lnTo>
                  <a:pt x="714" y="900"/>
                </a:lnTo>
                <a:lnTo>
                  <a:pt x="744" y="924"/>
                </a:lnTo>
                <a:lnTo>
                  <a:pt x="744" y="918"/>
                </a:lnTo>
                <a:lnTo>
                  <a:pt x="750" y="912"/>
                </a:lnTo>
                <a:lnTo>
                  <a:pt x="750" y="900"/>
                </a:lnTo>
                <a:lnTo>
                  <a:pt x="756" y="882"/>
                </a:lnTo>
                <a:lnTo>
                  <a:pt x="756" y="840"/>
                </a:lnTo>
                <a:lnTo>
                  <a:pt x="762" y="822"/>
                </a:lnTo>
                <a:lnTo>
                  <a:pt x="762" y="810"/>
                </a:lnTo>
                <a:lnTo>
                  <a:pt x="768" y="792"/>
                </a:lnTo>
                <a:lnTo>
                  <a:pt x="768" y="780"/>
                </a:lnTo>
                <a:lnTo>
                  <a:pt x="762" y="774"/>
                </a:lnTo>
                <a:lnTo>
                  <a:pt x="756" y="762"/>
                </a:lnTo>
                <a:lnTo>
                  <a:pt x="756" y="750"/>
                </a:lnTo>
                <a:lnTo>
                  <a:pt x="768" y="726"/>
                </a:lnTo>
                <a:lnTo>
                  <a:pt x="774" y="720"/>
                </a:lnTo>
                <a:lnTo>
                  <a:pt x="774" y="714"/>
                </a:lnTo>
                <a:lnTo>
                  <a:pt x="756" y="696"/>
                </a:lnTo>
                <a:lnTo>
                  <a:pt x="744" y="654"/>
                </a:lnTo>
                <a:lnTo>
                  <a:pt x="702" y="654"/>
                </a:lnTo>
                <a:lnTo>
                  <a:pt x="702" y="618"/>
                </a:lnTo>
                <a:lnTo>
                  <a:pt x="666" y="618"/>
                </a:lnTo>
                <a:lnTo>
                  <a:pt x="660" y="546"/>
                </a:lnTo>
                <a:lnTo>
                  <a:pt x="606" y="546"/>
                </a:lnTo>
                <a:lnTo>
                  <a:pt x="594" y="534"/>
                </a:lnTo>
                <a:lnTo>
                  <a:pt x="594" y="504"/>
                </a:lnTo>
                <a:lnTo>
                  <a:pt x="600" y="498"/>
                </a:lnTo>
                <a:lnTo>
                  <a:pt x="606" y="486"/>
                </a:lnTo>
                <a:lnTo>
                  <a:pt x="582" y="486"/>
                </a:lnTo>
                <a:lnTo>
                  <a:pt x="600" y="468"/>
                </a:lnTo>
                <a:lnTo>
                  <a:pt x="606" y="456"/>
                </a:lnTo>
                <a:lnTo>
                  <a:pt x="612" y="450"/>
                </a:lnTo>
                <a:lnTo>
                  <a:pt x="612" y="438"/>
                </a:lnTo>
                <a:lnTo>
                  <a:pt x="600" y="426"/>
                </a:lnTo>
                <a:lnTo>
                  <a:pt x="588" y="432"/>
                </a:lnTo>
                <a:lnTo>
                  <a:pt x="570" y="432"/>
                </a:lnTo>
                <a:lnTo>
                  <a:pt x="552" y="438"/>
                </a:lnTo>
                <a:lnTo>
                  <a:pt x="540" y="438"/>
                </a:lnTo>
                <a:lnTo>
                  <a:pt x="534" y="444"/>
                </a:lnTo>
                <a:lnTo>
                  <a:pt x="528" y="444"/>
                </a:lnTo>
                <a:lnTo>
                  <a:pt x="534" y="438"/>
                </a:lnTo>
                <a:lnTo>
                  <a:pt x="546" y="432"/>
                </a:lnTo>
                <a:lnTo>
                  <a:pt x="552" y="420"/>
                </a:lnTo>
                <a:lnTo>
                  <a:pt x="558" y="414"/>
                </a:lnTo>
                <a:lnTo>
                  <a:pt x="558" y="402"/>
                </a:lnTo>
                <a:lnTo>
                  <a:pt x="546" y="396"/>
                </a:lnTo>
                <a:lnTo>
                  <a:pt x="534" y="396"/>
                </a:lnTo>
                <a:lnTo>
                  <a:pt x="522" y="390"/>
                </a:lnTo>
                <a:lnTo>
                  <a:pt x="510" y="390"/>
                </a:lnTo>
                <a:lnTo>
                  <a:pt x="516" y="384"/>
                </a:lnTo>
                <a:lnTo>
                  <a:pt x="516" y="378"/>
                </a:lnTo>
                <a:lnTo>
                  <a:pt x="504" y="354"/>
                </a:lnTo>
                <a:lnTo>
                  <a:pt x="492" y="342"/>
                </a:lnTo>
                <a:lnTo>
                  <a:pt x="480" y="336"/>
                </a:lnTo>
                <a:lnTo>
                  <a:pt x="462" y="330"/>
                </a:lnTo>
                <a:lnTo>
                  <a:pt x="456" y="324"/>
                </a:lnTo>
                <a:lnTo>
                  <a:pt x="450" y="324"/>
                </a:lnTo>
                <a:lnTo>
                  <a:pt x="450" y="318"/>
                </a:lnTo>
                <a:lnTo>
                  <a:pt x="444" y="312"/>
                </a:lnTo>
                <a:lnTo>
                  <a:pt x="438" y="300"/>
                </a:lnTo>
                <a:lnTo>
                  <a:pt x="438" y="288"/>
                </a:lnTo>
                <a:lnTo>
                  <a:pt x="426" y="276"/>
                </a:lnTo>
                <a:lnTo>
                  <a:pt x="414" y="276"/>
                </a:lnTo>
                <a:lnTo>
                  <a:pt x="408" y="282"/>
                </a:lnTo>
                <a:lnTo>
                  <a:pt x="414" y="306"/>
                </a:lnTo>
                <a:lnTo>
                  <a:pt x="408" y="300"/>
                </a:lnTo>
                <a:lnTo>
                  <a:pt x="396" y="294"/>
                </a:lnTo>
                <a:lnTo>
                  <a:pt x="360" y="258"/>
                </a:lnTo>
                <a:lnTo>
                  <a:pt x="360" y="246"/>
                </a:lnTo>
                <a:lnTo>
                  <a:pt x="354" y="240"/>
                </a:lnTo>
                <a:lnTo>
                  <a:pt x="348" y="228"/>
                </a:lnTo>
                <a:lnTo>
                  <a:pt x="342" y="222"/>
                </a:lnTo>
                <a:lnTo>
                  <a:pt x="342" y="216"/>
                </a:lnTo>
                <a:lnTo>
                  <a:pt x="330" y="210"/>
                </a:lnTo>
                <a:lnTo>
                  <a:pt x="312" y="192"/>
                </a:lnTo>
                <a:lnTo>
                  <a:pt x="294" y="186"/>
                </a:lnTo>
                <a:lnTo>
                  <a:pt x="288" y="174"/>
                </a:lnTo>
                <a:lnTo>
                  <a:pt x="276" y="168"/>
                </a:lnTo>
                <a:lnTo>
                  <a:pt x="264" y="156"/>
                </a:lnTo>
                <a:lnTo>
                  <a:pt x="252" y="150"/>
                </a:lnTo>
                <a:lnTo>
                  <a:pt x="240" y="138"/>
                </a:lnTo>
                <a:lnTo>
                  <a:pt x="234" y="126"/>
                </a:lnTo>
                <a:lnTo>
                  <a:pt x="222" y="120"/>
                </a:lnTo>
                <a:lnTo>
                  <a:pt x="222" y="102"/>
                </a:lnTo>
                <a:lnTo>
                  <a:pt x="204" y="84"/>
                </a:lnTo>
                <a:lnTo>
                  <a:pt x="198" y="72"/>
                </a:lnTo>
                <a:lnTo>
                  <a:pt x="168" y="42"/>
                </a:lnTo>
                <a:lnTo>
                  <a:pt x="150" y="42"/>
                </a:lnTo>
                <a:lnTo>
                  <a:pt x="66" y="36"/>
                </a:lnTo>
                <a:lnTo>
                  <a:pt x="42" y="12"/>
                </a:lnTo>
                <a:lnTo>
                  <a:pt x="30" y="6"/>
                </a:lnTo>
                <a:lnTo>
                  <a:pt x="24" y="0"/>
                </a:lnTo>
                <a:lnTo>
                  <a:pt x="18" y="0"/>
                </a:lnTo>
                <a:lnTo>
                  <a:pt x="6" y="6"/>
                </a:lnTo>
                <a:lnTo>
                  <a:pt x="0" y="18"/>
                </a:lnTo>
                <a:lnTo>
                  <a:pt x="0" y="48"/>
                </a:lnTo>
                <a:lnTo>
                  <a:pt x="6" y="60"/>
                </a:lnTo>
                <a:lnTo>
                  <a:pt x="18" y="78"/>
                </a:lnTo>
                <a:lnTo>
                  <a:pt x="66" y="126"/>
                </a:lnTo>
                <a:lnTo>
                  <a:pt x="96" y="150"/>
                </a:lnTo>
                <a:lnTo>
                  <a:pt x="126" y="180"/>
                </a:lnTo>
                <a:lnTo>
                  <a:pt x="162" y="234"/>
                </a:lnTo>
                <a:lnTo>
                  <a:pt x="174" y="228"/>
                </a:lnTo>
                <a:lnTo>
                  <a:pt x="174" y="252"/>
                </a:lnTo>
                <a:lnTo>
                  <a:pt x="180" y="264"/>
                </a:lnTo>
                <a:lnTo>
                  <a:pt x="186" y="270"/>
                </a:lnTo>
                <a:lnTo>
                  <a:pt x="198" y="276"/>
                </a:lnTo>
                <a:lnTo>
                  <a:pt x="216" y="288"/>
                </a:lnTo>
                <a:lnTo>
                  <a:pt x="228" y="300"/>
                </a:lnTo>
                <a:lnTo>
                  <a:pt x="246" y="312"/>
                </a:lnTo>
                <a:lnTo>
                  <a:pt x="258" y="324"/>
                </a:lnTo>
                <a:lnTo>
                  <a:pt x="264" y="336"/>
                </a:lnTo>
                <a:lnTo>
                  <a:pt x="276" y="372"/>
                </a:lnTo>
                <a:lnTo>
                  <a:pt x="276" y="384"/>
                </a:lnTo>
                <a:lnTo>
                  <a:pt x="282" y="390"/>
                </a:lnTo>
                <a:lnTo>
                  <a:pt x="282" y="426"/>
                </a:lnTo>
                <a:lnTo>
                  <a:pt x="288" y="438"/>
                </a:lnTo>
                <a:lnTo>
                  <a:pt x="288" y="444"/>
                </a:lnTo>
                <a:lnTo>
                  <a:pt x="294" y="450"/>
                </a:lnTo>
                <a:lnTo>
                  <a:pt x="300" y="450"/>
                </a:lnTo>
                <a:lnTo>
                  <a:pt x="312" y="444"/>
                </a:lnTo>
                <a:lnTo>
                  <a:pt x="324" y="444"/>
                </a:lnTo>
                <a:lnTo>
                  <a:pt x="324" y="450"/>
                </a:lnTo>
                <a:lnTo>
                  <a:pt x="330" y="462"/>
                </a:lnTo>
                <a:lnTo>
                  <a:pt x="330" y="474"/>
                </a:lnTo>
                <a:lnTo>
                  <a:pt x="336" y="480"/>
                </a:lnTo>
                <a:lnTo>
                  <a:pt x="336" y="486"/>
                </a:lnTo>
                <a:lnTo>
                  <a:pt x="378" y="522"/>
                </a:lnTo>
                <a:lnTo>
                  <a:pt x="372" y="546"/>
                </a:lnTo>
                <a:lnTo>
                  <a:pt x="408" y="606"/>
                </a:lnTo>
                <a:lnTo>
                  <a:pt x="402" y="618"/>
                </a:lnTo>
                <a:lnTo>
                  <a:pt x="402" y="636"/>
                </a:lnTo>
                <a:lnTo>
                  <a:pt x="408" y="648"/>
                </a:lnTo>
                <a:lnTo>
                  <a:pt x="438" y="678"/>
                </a:lnTo>
                <a:lnTo>
                  <a:pt x="438" y="684"/>
                </a:lnTo>
                <a:lnTo>
                  <a:pt x="444" y="690"/>
                </a:lnTo>
                <a:lnTo>
                  <a:pt x="462" y="726"/>
                </a:lnTo>
                <a:lnTo>
                  <a:pt x="498" y="744"/>
                </a:lnTo>
                <a:lnTo>
                  <a:pt x="504" y="750"/>
                </a:lnTo>
                <a:lnTo>
                  <a:pt x="510" y="750"/>
                </a:lnTo>
                <a:lnTo>
                  <a:pt x="510" y="786"/>
                </a:lnTo>
                <a:lnTo>
                  <a:pt x="522" y="792"/>
                </a:lnTo>
                <a:lnTo>
                  <a:pt x="528" y="804"/>
                </a:lnTo>
                <a:lnTo>
                  <a:pt x="540" y="810"/>
                </a:lnTo>
                <a:lnTo>
                  <a:pt x="564" y="834"/>
                </a:lnTo>
                <a:lnTo>
                  <a:pt x="576" y="840"/>
                </a:lnTo>
                <a:lnTo>
                  <a:pt x="594" y="858"/>
                </a:lnTo>
                <a:lnTo>
                  <a:pt x="600" y="858"/>
                </a:lnTo>
                <a:lnTo>
                  <a:pt x="606" y="864"/>
                </a:lnTo>
                <a:lnTo>
                  <a:pt x="612" y="864"/>
                </a:lnTo>
                <a:lnTo>
                  <a:pt x="612" y="870"/>
                </a:lnTo>
                <a:lnTo>
                  <a:pt x="618" y="876"/>
                </a:lnTo>
                <a:lnTo>
                  <a:pt x="630" y="900"/>
                </a:lnTo>
                <a:lnTo>
                  <a:pt x="642" y="912"/>
                </a:lnTo>
                <a:lnTo>
                  <a:pt x="654" y="936"/>
                </a:lnTo>
                <a:lnTo>
                  <a:pt x="660" y="942"/>
                </a:lnTo>
                <a:lnTo>
                  <a:pt x="660" y="906"/>
                </a:lnTo>
                <a:lnTo>
                  <a:pt x="672" y="906"/>
                </a:lnTo>
                <a:lnTo>
                  <a:pt x="684" y="918"/>
                </a:lnTo>
                <a:lnTo>
                  <a:pt x="696" y="924"/>
                </a:lnTo>
                <a:lnTo>
                  <a:pt x="702" y="930"/>
                </a:lnTo>
                <a:lnTo>
                  <a:pt x="708" y="930"/>
                </a:lnTo>
                <a:close/>
                <a:moveTo>
                  <a:pt x="2118" y="1194"/>
                </a:moveTo>
                <a:lnTo>
                  <a:pt x="2106" y="1176"/>
                </a:lnTo>
                <a:lnTo>
                  <a:pt x="2088" y="1176"/>
                </a:lnTo>
                <a:lnTo>
                  <a:pt x="2064" y="1200"/>
                </a:lnTo>
                <a:lnTo>
                  <a:pt x="2064" y="1212"/>
                </a:lnTo>
                <a:lnTo>
                  <a:pt x="2052" y="1212"/>
                </a:lnTo>
                <a:lnTo>
                  <a:pt x="2040" y="1218"/>
                </a:lnTo>
                <a:lnTo>
                  <a:pt x="2010" y="1248"/>
                </a:lnTo>
                <a:lnTo>
                  <a:pt x="1998" y="1272"/>
                </a:lnTo>
                <a:lnTo>
                  <a:pt x="1992" y="1278"/>
                </a:lnTo>
                <a:lnTo>
                  <a:pt x="1992" y="1290"/>
                </a:lnTo>
                <a:lnTo>
                  <a:pt x="2004" y="1302"/>
                </a:lnTo>
                <a:lnTo>
                  <a:pt x="2022" y="1302"/>
                </a:lnTo>
                <a:lnTo>
                  <a:pt x="2052" y="1284"/>
                </a:lnTo>
                <a:lnTo>
                  <a:pt x="2082" y="1260"/>
                </a:lnTo>
                <a:lnTo>
                  <a:pt x="2106" y="1242"/>
                </a:lnTo>
                <a:lnTo>
                  <a:pt x="2100" y="1236"/>
                </a:lnTo>
                <a:lnTo>
                  <a:pt x="2100" y="1224"/>
                </a:lnTo>
                <a:lnTo>
                  <a:pt x="2112" y="1200"/>
                </a:lnTo>
                <a:lnTo>
                  <a:pt x="2118" y="1194"/>
                </a:lnTo>
                <a:close/>
                <a:moveTo>
                  <a:pt x="1374" y="1128"/>
                </a:moveTo>
                <a:lnTo>
                  <a:pt x="1374" y="1116"/>
                </a:lnTo>
                <a:lnTo>
                  <a:pt x="1368" y="1110"/>
                </a:lnTo>
                <a:lnTo>
                  <a:pt x="1344" y="1098"/>
                </a:lnTo>
                <a:lnTo>
                  <a:pt x="1332" y="1098"/>
                </a:lnTo>
                <a:lnTo>
                  <a:pt x="1320" y="1092"/>
                </a:lnTo>
                <a:lnTo>
                  <a:pt x="1314" y="1092"/>
                </a:lnTo>
                <a:lnTo>
                  <a:pt x="1302" y="1098"/>
                </a:lnTo>
                <a:lnTo>
                  <a:pt x="1296" y="1104"/>
                </a:lnTo>
                <a:lnTo>
                  <a:pt x="1296" y="1116"/>
                </a:lnTo>
                <a:lnTo>
                  <a:pt x="1290" y="1122"/>
                </a:lnTo>
                <a:lnTo>
                  <a:pt x="1290" y="1134"/>
                </a:lnTo>
                <a:lnTo>
                  <a:pt x="1254" y="1104"/>
                </a:lnTo>
                <a:lnTo>
                  <a:pt x="1260" y="1092"/>
                </a:lnTo>
                <a:lnTo>
                  <a:pt x="1260" y="1080"/>
                </a:lnTo>
                <a:lnTo>
                  <a:pt x="1266" y="1068"/>
                </a:lnTo>
                <a:lnTo>
                  <a:pt x="1266" y="1050"/>
                </a:lnTo>
                <a:lnTo>
                  <a:pt x="1260" y="1038"/>
                </a:lnTo>
                <a:lnTo>
                  <a:pt x="1254" y="1032"/>
                </a:lnTo>
                <a:lnTo>
                  <a:pt x="1242" y="1026"/>
                </a:lnTo>
                <a:lnTo>
                  <a:pt x="1188" y="1026"/>
                </a:lnTo>
                <a:lnTo>
                  <a:pt x="1158" y="1008"/>
                </a:lnTo>
                <a:lnTo>
                  <a:pt x="1158" y="984"/>
                </a:lnTo>
                <a:lnTo>
                  <a:pt x="1116" y="984"/>
                </a:lnTo>
                <a:lnTo>
                  <a:pt x="1116" y="996"/>
                </a:lnTo>
                <a:lnTo>
                  <a:pt x="1110" y="1008"/>
                </a:lnTo>
                <a:lnTo>
                  <a:pt x="1110" y="1026"/>
                </a:lnTo>
                <a:lnTo>
                  <a:pt x="1086" y="1026"/>
                </a:lnTo>
                <a:lnTo>
                  <a:pt x="1074" y="1020"/>
                </a:lnTo>
                <a:lnTo>
                  <a:pt x="1056" y="1014"/>
                </a:lnTo>
                <a:lnTo>
                  <a:pt x="1044" y="1014"/>
                </a:lnTo>
                <a:lnTo>
                  <a:pt x="1032" y="1008"/>
                </a:lnTo>
                <a:lnTo>
                  <a:pt x="966" y="1008"/>
                </a:lnTo>
                <a:lnTo>
                  <a:pt x="960" y="996"/>
                </a:lnTo>
                <a:lnTo>
                  <a:pt x="948" y="990"/>
                </a:lnTo>
                <a:lnTo>
                  <a:pt x="942" y="978"/>
                </a:lnTo>
                <a:lnTo>
                  <a:pt x="918" y="954"/>
                </a:lnTo>
                <a:lnTo>
                  <a:pt x="900" y="954"/>
                </a:lnTo>
                <a:lnTo>
                  <a:pt x="888" y="960"/>
                </a:lnTo>
                <a:lnTo>
                  <a:pt x="876" y="954"/>
                </a:lnTo>
                <a:lnTo>
                  <a:pt x="870" y="948"/>
                </a:lnTo>
                <a:lnTo>
                  <a:pt x="858" y="942"/>
                </a:lnTo>
                <a:lnTo>
                  <a:pt x="846" y="942"/>
                </a:lnTo>
                <a:lnTo>
                  <a:pt x="840" y="936"/>
                </a:lnTo>
                <a:lnTo>
                  <a:pt x="822" y="936"/>
                </a:lnTo>
                <a:lnTo>
                  <a:pt x="810" y="930"/>
                </a:lnTo>
                <a:lnTo>
                  <a:pt x="792" y="930"/>
                </a:lnTo>
                <a:lnTo>
                  <a:pt x="786" y="924"/>
                </a:lnTo>
                <a:lnTo>
                  <a:pt x="762" y="924"/>
                </a:lnTo>
                <a:lnTo>
                  <a:pt x="750" y="930"/>
                </a:lnTo>
                <a:lnTo>
                  <a:pt x="738" y="954"/>
                </a:lnTo>
                <a:lnTo>
                  <a:pt x="738" y="966"/>
                </a:lnTo>
                <a:lnTo>
                  <a:pt x="732" y="978"/>
                </a:lnTo>
                <a:lnTo>
                  <a:pt x="720" y="990"/>
                </a:lnTo>
                <a:lnTo>
                  <a:pt x="714" y="990"/>
                </a:lnTo>
                <a:lnTo>
                  <a:pt x="702" y="1002"/>
                </a:lnTo>
                <a:lnTo>
                  <a:pt x="702" y="1014"/>
                </a:lnTo>
                <a:lnTo>
                  <a:pt x="738" y="1008"/>
                </a:lnTo>
                <a:lnTo>
                  <a:pt x="786" y="1008"/>
                </a:lnTo>
                <a:lnTo>
                  <a:pt x="780" y="1014"/>
                </a:lnTo>
                <a:lnTo>
                  <a:pt x="768" y="1020"/>
                </a:lnTo>
                <a:lnTo>
                  <a:pt x="762" y="1032"/>
                </a:lnTo>
                <a:lnTo>
                  <a:pt x="762" y="1044"/>
                </a:lnTo>
                <a:lnTo>
                  <a:pt x="774" y="1050"/>
                </a:lnTo>
                <a:lnTo>
                  <a:pt x="780" y="1050"/>
                </a:lnTo>
                <a:lnTo>
                  <a:pt x="798" y="1044"/>
                </a:lnTo>
                <a:lnTo>
                  <a:pt x="810" y="1044"/>
                </a:lnTo>
                <a:lnTo>
                  <a:pt x="816" y="1038"/>
                </a:lnTo>
                <a:lnTo>
                  <a:pt x="828" y="1032"/>
                </a:lnTo>
                <a:lnTo>
                  <a:pt x="840" y="1038"/>
                </a:lnTo>
                <a:lnTo>
                  <a:pt x="870" y="1056"/>
                </a:lnTo>
                <a:lnTo>
                  <a:pt x="900" y="1068"/>
                </a:lnTo>
                <a:lnTo>
                  <a:pt x="924" y="1080"/>
                </a:lnTo>
                <a:lnTo>
                  <a:pt x="960" y="1086"/>
                </a:lnTo>
                <a:lnTo>
                  <a:pt x="1014" y="1092"/>
                </a:lnTo>
                <a:lnTo>
                  <a:pt x="1062" y="1092"/>
                </a:lnTo>
                <a:lnTo>
                  <a:pt x="1080" y="1110"/>
                </a:lnTo>
                <a:lnTo>
                  <a:pt x="1086" y="1122"/>
                </a:lnTo>
                <a:lnTo>
                  <a:pt x="1098" y="1128"/>
                </a:lnTo>
                <a:lnTo>
                  <a:pt x="1110" y="1140"/>
                </a:lnTo>
                <a:lnTo>
                  <a:pt x="1128" y="1146"/>
                </a:lnTo>
                <a:lnTo>
                  <a:pt x="1152" y="1152"/>
                </a:lnTo>
                <a:lnTo>
                  <a:pt x="1170" y="1152"/>
                </a:lnTo>
                <a:lnTo>
                  <a:pt x="1182" y="1158"/>
                </a:lnTo>
                <a:lnTo>
                  <a:pt x="1248" y="1158"/>
                </a:lnTo>
                <a:lnTo>
                  <a:pt x="1260" y="1164"/>
                </a:lnTo>
                <a:lnTo>
                  <a:pt x="1278" y="1170"/>
                </a:lnTo>
                <a:lnTo>
                  <a:pt x="1290" y="1182"/>
                </a:lnTo>
                <a:lnTo>
                  <a:pt x="1302" y="1188"/>
                </a:lnTo>
                <a:lnTo>
                  <a:pt x="1320" y="1206"/>
                </a:lnTo>
                <a:lnTo>
                  <a:pt x="1338" y="1206"/>
                </a:lnTo>
                <a:lnTo>
                  <a:pt x="1350" y="1200"/>
                </a:lnTo>
                <a:lnTo>
                  <a:pt x="1356" y="1206"/>
                </a:lnTo>
                <a:lnTo>
                  <a:pt x="1374" y="1206"/>
                </a:lnTo>
                <a:lnTo>
                  <a:pt x="1374" y="1194"/>
                </a:lnTo>
                <a:lnTo>
                  <a:pt x="1368" y="1182"/>
                </a:lnTo>
                <a:lnTo>
                  <a:pt x="1362" y="1176"/>
                </a:lnTo>
                <a:lnTo>
                  <a:pt x="1356" y="1164"/>
                </a:lnTo>
                <a:lnTo>
                  <a:pt x="1374" y="1146"/>
                </a:lnTo>
                <a:lnTo>
                  <a:pt x="1374" y="1128"/>
                </a:lnTo>
                <a:close/>
                <a:moveTo>
                  <a:pt x="1500" y="726"/>
                </a:moveTo>
                <a:lnTo>
                  <a:pt x="1542" y="684"/>
                </a:lnTo>
                <a:lnTo>
                  <a:pt x="1548" y="672"/>
                </a:lnTo>
                <a:lnTo>
                  <a:pt x="1554" y="654"/>
                </a:lnTo>
                <a:lnTo>
                  <a:pt x="1560" y="642"/>
                </a:lnTo>
                <a:lnTo>
                  <a:pt x="1566" y="624"/>
                </a:lnTo>
                <a:lnTo>
                  <a:pt x="1566" y="612"/>
                </a:lnTo>
                <a:lnTo>
                  <a:pt x="1572" y="606"/>
                </a:lnTo>
                <a:lnTo>
                  <a:pt x="1572" y="600"/>
                </a:lnTo>
                <a:lnTo>
                  <a:pt x="1566" y="600"/>
                </a:lnTo>
                <a:lnTo>
                  <a:pt x="1554" y="594"/>
                </a:lnTo>
                <a:lnTo>
                  <a:pt x="1542" y="582"/>
                </a:lnTo>
                <a:lnTo>
                  <a:pt x="1542" y="564"/>
                </a:lnTo>
                <a:lnTo>
                  <a:pt x="1554" y="516"/>
                </a:lnTo>
                <a:lnTo>
                  <a:pt x="1590" y="498"/>
                </a:lnTo>
                <a:lnTo>
                  <a:pt x="1626" y="498"/>
                </a:lnTo>
                <a:lnTo>
                  <a:pt x="1632" y="486"/>
                </a:lnTo>
                <a:lnTo>
                  <a:pt x="1638" y="480"/>
                </a:lnTo>
                <a:lnTo>
                  <a:pt x="1644" y="468"/>
                </a:lnTo>
                <a:lnTo>
                  <a:pt x="1644" y="444"/>
                </a:lnTo>
                <a:lnTo>
                  <a:pt x="1626" y="444"/>
                </a:lnTo>
                <a:lnTo>
                  <a:pt x="1620" y="450"/>
                </a:lnTo>
                <a:lnTo>
                  <a:pt x="1608" y="450"/>
                </a:lnTo>
                <a:lnTo>
                  <a:pt x="1608" y="438"/>
                </a:lnTo>
                <a:lnTo>
                  <a:pt x="1614" y="420"/>
                </a:lnTo>
                <a:lnTo>
                  <a:pt x="1626" y="408"/>
                </a:lnTo>
                <a:lnTo>
                  <a:pt x="1650" y="396"/>
                </a:lnTo>
                <a:lnTo>
                  <a:pt x="1662" y="396"/>
                </a:lnTo>
                <a:lnTo>
                  <a:pt x="1680" y="402"/>
                </a:lnTo>
                <a:lnTo>
                  <a:pt x="1704" y="402"/>
                </a:lnTo>
                <a:lnTo>
                  <a:pt x="1716" y="390"/>
                </a:lnTo>
                <a:lnTo>
                  <a:pt x="1716" y="384"/>
                </a:lnTo>
                <a:lnTo>
                  <a:pt x="1680" y="348"/>
                </a:lnTo>
                <a:lnTo>
                  <a:pt x="1680" y="312"/>
                </a:lnTo>
                <a:lnTo>
                  <a:pt x="1668" y="312"/>
                </a:lnTo>
                <a:lnTo>
                  <a:pt x="1650" y="294"/>
                </a:lnTo>
                <a:lnTo>
                  <a:pt x="1650" y="282"/>
                </a:lnTo>
                <a:lnTo>
                  <a:pt x="1662" y="270"/>
                </a:lnTo>
                <a:lnTo>
                  <a:pt x="1668" y="258"/>
                </a:lnTo>
                <a:lnTo>
                  <a:pt x="1668" y="246"/>
                </a:lnTo>
                <a:lnTo>
                  <a:pt x="1662" y="240"/>
                </a:lnTo>
                <a:lnTo>
                  <a:pt x="1638" y="228"/>
                </a:lnTo>
                <a:lnTo>
                  <a:pt x="1614" y="228"/>
                </a:lnTo>
                <a:lnTo>
                  <a:pt x="1632" y="198"/>
                </a:lnTo>
                <a:lnTo>
                  <a:pt x="1614" y="192"/>
                </a:lnTo>
                <a:lnTo>
                  <a:pt x="1620" y="162"/>
                </a:lnTo>
                <a:lnTo>
                  <a:pt x="1608" y="144"/>
                </a:lnTo>
                <a:lnTo>
                  <a:pt x="1602" y="138"/>
                </a:lnTo>
                <a:lnTo>
                  <a:pt x="1590" y="132"/>
                </a:lnTo>
                <a:lnTo>
                  <a:pt x="1566" y="108"/>
                </a:lnTo>
                <a:lnTo>
                  <a:pt x="1470" y="108"/>
                </a:lnTo>
                <a:lnTo>
                  <a:pt x="1464" y="114"/>
                </a:lnTo>
                <a:lnTo>
                  <a:pt x="1458" y="126"/>
                </a:lnTo>
                <a:lnTo>
                  <a:pt x="1458" y="180"/>
                </a:lnTo>
                <a:lnTo>
                  <a:pt x="1452" y="198"/>
                </a:lnTo>
                <a:lnTo>
                  <a:pt x="1452" y="204"/>
                </a:lnTo>
                <a:lnTo>
                  <a:pt x="1446" y="216"/>
                </a:lnTo>
                <a:lnTo>
                  <a:pt x="1428" y="216"/>
                </a:lnTo>
                <a:lnTo>
                  <a:pt x="1422" y="222"/>
                </a:lnTo>
                <a:lnTo>
                  <a:pt x="1422" y="246"/>
                </a:lnTo>
                <a:lnTo>
                  <a:pt x="1428" y="252"/>
                </a:lnTo>
                <a:lnTo>
                  <a:pt x="1434" y="264"/>
                </a:lnTo>
                <a:lnTo>
                  <a:pt x="1398" y="294"/>
                </a:lnTo>
                <a:lnTo>
                  <a:pt x="1404" y="306"/>
                </a:lnTo>
                <a:lnTo>
                  <a:pt x="1374" y="342"/>
                </a:lnTo>
                <a:lnTo>
                  <a:pt x="1350" y="342"/>
                </a:lnTo>
                <a:lnTo>
                  <a:pt x="1344" y="348"/>
                </a:lnTo>
                <a:lnTo>
                  <a:pt x="1332" y="354"/>
                </a:lnTo>
                <a:lnTo>
                  <a:pt x="1320" y="366"/>
                </a:lnTo>
                <a:lnTo>
                  <a:pt x="1314" y="366"/>
                </a:lnTo>
                <a:lnTo>
                  <a:pt x="1308" y="360"/>
                </a:lnTo>
                <a:lnTo>
                  <a:pt x="1284" y="348"/>
                </a:lnTo>
                <a:lnTo>
                  <a:pt x="1272" y="336"/>
                </a:lnTo>
                <a:lnTo>
                  <a:pt x="1230" y="336"/>
                </a:lnTo>
                <a:lnTo>
                  <a:pt x="1224" y="348"/>
                </a:lnTo>
                <a:lnTo>
                  <a:pt x="1194" y="378"/>
                </a:lnTo>
                <a:lnTo>
                  <a:pt x="1170" y="378"/>
                </a:lnTo>
                <a:lnTo>
                  <a:pt x="1152" y="372"/>
                </a:lnTo>
                <a:lnTo>
                  <a:pt x="1128" y="372"/>
                </a:lnTo>
                <a:lnTo>
                  <a:pt x="1110" y="390"/>
                </a:lnTo>
                <a:lnTo>
                  <a:pt x="1104" y="390"/>
                </a:lnTo>
                <a:lnTo>
                  <a:pt x="1080" y="378"/>
                </a:lnTo>
                <a:lnTo>
                  <a:pt x="1074" y="372"/>
                </a:lnTo>
                <a:lnTo>
                  <a:pt x="1062" y="366"/>
                </a:lnTo>
                <a:lnTo>
                  <a:pt x="1050" y="354"/>
                </a:lnTo>
                <a:lnTo>
                  <a:pt x="1050" y="342"/>
                </a:lnTo>
                <a:lnTo>
                  <a:pt x="1044" y="336"/>
                </a:lnTo>
                <a:lnTo>
                  <a:pt x="1032" y="330"/>
                </a:lnTo>
                <a:lnTo>
                  <a:pt x="1008" y="330"/>
                </a:lnTo>
                <a:lnTo>
                  <a:pt x="996" y="336"/>
                </a:lnTo>
                <a:lnTo>
                  <a:pt x="990" y="348"/>
                </a:lnTo>
                <a:lnTo>
                  <a:pt x="978" y="366"/>
                </a:lnTo>
                <a:lnTo>
                  <a:pt x="972" y="384"/>
                </a:lnTo>
                <a:lnTo>
                  <a:pt x="972" y="402"/>
                </a:lnTo>
                <a:lnTo>
                  <a:pt x="966" y="408"/>
                </a:lnTo>
                <a:lnTo>
                  <a:pt x="966" y="414"/>
                </a:lnTo>
                <a:lnTo>
                  <a:pt x="990" y="444"/>
                </a:lnTo>
                <a:lnTo>
                  <a:pt x="1002" y="498"/>
                </a:lnTo>
                <a:lnTo>
                  <a:pt x="1050" y="528"/>
                </a:lnTo>
                <a:lnTo>
                  <a:pt x="1038" y="564"/>
                </a:lnTo>
                <a:lnTo>
                  <a:pt x="1068" y="582"/>
                </a:lnTo>
                <a:lnTo>
                  <a:pt x="1050" y="606"/>
                </a:lnTo>
                <a:lnTo>
                  <a:pt x="1068" y="636"/>
                </a:lnTo>
                <a:lnTo>
                  <a:pt x="1056" y="648"/>
                </a:lnTo>
                <a:lnTo>
                  <a:pt x="1068" y="702"/>
                </a:lnTo>
                <a:lnTo>
                  <a:pt x="1110" y="696"/>
                </a:lnTo>
                <a:lnTo>
                  <a:pt x="1140" y="708"/>
                </a:lnTo>
                <a:lnTo>
                  <a:pt x="1146" y="696"/>
                </a:lnTo>
                <a:lnTo>
                  <a:pt x="1170" y="672"/>
                </a:lnTo>
                <a:lnTo>
                  <a:pt x="1182" y="672"/>
                </a:lnTo>
                <a:lnTo>
                  <a:pt x="1182" y="690"/>
                </a:lnTo>
                <a:lnTo>
                  <a:pt x="1188" y="702"/>
                </a:lnTo>
                <a:lnTo>
                  <a:pt x="1188" y="726"/>
                </a:lnTo>
                <a:lnTo>
                  <a:pt x="1194" y="738"/>
                </a:lnTo>
                <a:lnTo>
                  <a:pt x="1212" y="738"/>
                </a:lnTo>
                <a:lnTo>
                  <a:pt x="1218" y="726"/>
                </a:lnTo>
                <a:lnTo>
                  <a:pt x="1218" y="720"/>
                </a:lnTo>
                <a:lnTo>
                  <a:pt x="1224" y="714"/>
                </a:lnTo>
                <a:lnTo>
                  <a:pt x="1224" y="708"/>
                </a:lnTo>
                <a:lnTo>
                  <a:pt x="1254" y="726"/>
                </a:lnTo>
                <a:lnTo>
                  <a:pt x="1266" y="720"/>
                </a:lnTo>
                <a:lnTo>
                  <a:pt x="1272" y="708"/>
                </a:lnTo>
                <a:lnTo>
                  <a:pt x="1284" y="702"/>
                </a:lnTo>
                <a:lnTo>
                  <a:pt x="1296" y="702"/>
                </a:lnTo>
                <a:lnTo>
                  <a:pt x="1296" y="714"/>
                </a:lnTo>
                <a:lnTo>
                  <a:pt x="1302" y="720"/>
                </a:lnTo>
                <a:lnTo>
                  <a:pt x="1302" y="738"/>
                </a:lnTo>
                <a:lnTo>
                  <a:pt x="1308" y="744"/>
                </a:lnTo>
                <a:lnTo>
                  <a:pt x="1332" y="744"/>
                </a:lnTo>
                <a:lnTo>
                  <a:pt x="1350" y="738"/>
                </a:lnTo>
                <a:lnTo>
                  <a:pt x="1362" y="732"/>
                </a:lnTo>
                <a:lnTo>
                  <a:pt x="1392" y="732"/>
                </a:lnTo>
                <a:lnTo>
                  <a:pt x="1404" y="744"/>
                </a:lnTo>
                <a:lnTo>
                  <a:pt x="1404" y="786"/>
                </a:lnTo>
                <a:lnTo>
                  <a:pt x="1398" y="798"/>
                </a:lnTo>
                <a:lnTo>
                  <a:pt x="1398" y="810"/>
                </a:lnTo>
                <a:lnTo>
                  <a:pt x="1404" y="810"/>
                </a:lnTo>
                <a:lnTo>
                  <a:pt x="1410" y="804"/>
                </a:lnTo>
                <a:lnTo>
                  <a:pt x="1422" y="798"/>
                </a:lnTo>
                <a:lnTo>
                  <a:pt x="1440" y="792"/>
                </a:lnTo>
                <a:lnTo>
                  <a:pt x="1452" y="786"/>
                </a:lnTo>
                <a:lnTo>
                  <a:pt x="1476" y="762"/>
                </a:lnTo>
                <a:lnTo>
                  <a:pt x="1482" y="750"/>
                </a:lnTo>
                <a:lnTo>
                  <a:pt x="1500" y="732"/>
                </a:lnTo>
                <a:lnTo>
                  <a:pt x="1500" y="726"/>
                </a:lnTo>
                <a:close/>
                <a:moveTo>
                  <a:pt x="1476" y="1116"/>
                </a:moveTo>
                <a:lnTo>
                  <a:pt x="1470" y="1116"/>
                </a:lnTo>
                <a:lnTo>
                  <a:pt x="1458" y="1122"/>
                </a:lnTo>
                <a:lnTo>
                  <a:pt x="1452" y="1128"/>
                </a:lnTo>
                <a:lnTo>
                  <a:pt x="1458" y="1134"/>
                </a:lnTo>
                <a:lnTo>
                  <a:pt x="1470" y="1140"/>
                </a:lnTo>
                <a:lnTo>
                  <a:pt x="1476" y="1140"/>
                </a:lnTo>
                <a:lnTo>
                  <a:pt x="1488" y="1146"/>
                </a:lnTo>
                <a:lnTo>
                  <a:pt x="1500" y="1134"/>
                </a:lnTo>
                <a:lnTo>
                  <a:pt x="1500" y="1128"/>
                </a:lnTo>
                <a:lnTo>
                  <a:pt x="1488" y="1116"/>
                </a:lnTo>
                <a:lnTo>
                  <a:pt x="1476" y="1116"/>
                </a:lnTo>
                <a:close/>
                <a:moveTo>
                  <a:pt x="1716" y="1230"/>
                </a:moveTo>
                <a:lnTo>
                  <a:pt x="1680" y="1218"/>
                </a:lnTo>
                <a:lnTo>
                  <a:pt x="1674" y="1224"/>
                </a:lnTo>
                <a:lnTo>
                  <a:pt x="1674" y="1230"/>
                </a:lnTo>
                <a:lnTo>
                  <a:pt x="1686" y="1254"/>
                </a:lnTo>
                <a:lnTo>
                  <a:pt x="1692" y="1260"/>
                </a:lnTo>
                <a:lnTo>
                  <a:pt x="1704" y="1266"/>
                </a:lnTo>
                <a:lnTo>
                  <a:pt x="1716" y="1266"/>
                </a:lnTo>
                <a:lnTo>
                  <a:pt x="1722" y="1260"/>
                </a:lnTo>
                <a:lnTo>
                  <a:pt x="1740" y="1260"/>
                </a:lnTo>
                <a:lnTo>
                  <a:pt x="1746" y="1266"/>
                </a:lnTo>
                <a:lnTo>
                  <a:pt x="1746" y="1278"/>
                </a:lnTo>
                <a:lnTo>
                  <a:pt x="1752" y="1290"/>
                </a:lnTo>
                <a:lnTo>
                  <a:pt x="1764" y="1296"/>
                </a:lnTo>
                <a:lnTo>
                  <a:pt x="1788" y="1296"/>
                </a:lnTo>
                <a:lnTo>
                  <a:pt x="1794" y="1290"/>
                </a:lnTo>
                <a:lnTo>
                  <a:pt x="1800" y="1290"/>
                </a:lnTo>
                <a:lnTo>
                  <a:pt x="1800" y="1284"/>
                </a:lnTo>
                <a:lnTo>
                  <a:pt x="1794" y="1272"/>
                </a:lnTo>
                <a:lnTo>
                  <a:pt x="1782" y="1260"/>
                </a:lnTo>
                <a:lnTo>
                  <a:pt x="1770" y="1236"/>
                </a:lnTo>
                <a:lnTo>
                  <a:pt x="1746" y="1224"/>
                </a:lnTo>
                <a:lnTo>
                  <a:pt x="1728" y="1224"/>
                </a:lnTo>
                <a:lnTo>
                  <a:pt x="1716" y="1230"/>
                </a:lnTo>
                <a:close/>
                <a:moveTo>
                  <a:pt x="1962" y="1122"/>
                </a:moveTo>
                <a:lnTo>
                  <a:pt x="1932" y="1146"/>
                </a:lnTo>
                <a:lnTo>
                  <a:pt x="1920" y="1134"/>
                </a:lnTo>
                <a:lnTo>
                  <a:pt x="1890" y="1134"/>
                </a:lnTo>
                <a:lnTo>
                  <a:pt x="1884" y="1140"/>
                </a:lnTo>
                <a:lnTo>
                  <a:pt x="1872" y="1146"/>
                </a:lnTo>
                <a:lnTo>
                  <a:pt x="1866" y="1152"/>
                </a:lnTo>
                <a:lnTo>
                  <a:pt x="1860" y="1140"/>
                </a:lnTo>
                <a:lnTo>
                  <a:pt x="1836" y="1116"/>
                </a:lnTo>
                <a:lnTo>
                  <a:pt x="1824" y="1116"/>
                </a:lnTo>
                <a:lnTo>
                  <a:pt x="1800" y="1128"/>
                </a:lnTo>
                <a:lnTo>
                  <a:pt x="1764" y="1164"/>
                </a:lnTo>
                <a:lnTo>
                  <a:pt x="1728" y="1158"/>
                </a:lnTo>
                <a:lnTo>
                  <a:pt x="1716" y="1176"/>
                </a:lnTo>
                <a:lnTo>
                  <a:pt x="1746" y="1176"/>
                </a:lnTo>
                <a:lnTo>
                  <a:pt x="1752" y="1182"/>
                </a:lnTo>
                <a:lnTo>
                  <a:pt x="1764" y="1182"/>
                </a:lnTo>
                <a:lnTo>
                  <a:pt x="1776" y="1188"/>
                </a:lnTo>
                <a:lnTo>
                  <a:pt x="1788" y="1188"/>
                </a:lnTo>
                <a:lnTo>
                  <a:pt x="1794" y="1182"/>
                </a:lnTo>
                <a:lnTo>
                  <a:pt x="1806" y="1176"/>
                </a:lnTo>
                <a:lnTo>
                  <a:pt x="1812" y="1170"/>
                </a:lnTo>
                <a:lnTo>
                  <a:pt x="1908" y="1164"/>
                </a:lnTo>
                <a:lnTo>
                  <a:pt x="1956" y="1158"/>
                </a:lnTo>
                <a:lnTo>
                  <a:pt x="1992" y="1128"/>
                </a:lnTo>
                <a:lnTo>
                  <a:pt x="1992" y="1110"/>
                </a:lnTo>
                <a:lnTo>
                  <a:pt x="1962" y="1122"/>
                </a:lnTo>
                <a:close/>
                <a:moveTo>
                  <a:pt x="1578" y="1158"/>
                </a:moveTo>
                <a:lnTo>
                  <a:pt x="1566" y="1152"/>
                </a:lnTo>
                <a:lnTo>
                  <a:pt x="1560" y="1146"/>
                </a:lnTo>
                <a:lnTo>
                  <a:pt x="1548" y="1140"/>
                </a:lnTo>
                <a:lnTo>
                  <a:pt x="1536" y="1140"/>
                </a:lnTo>
                <a:lnTo>
                  <a:pt x="1512" y="1164"/>
                </a:lnTo>
                <a:lnTo>
                  <a:pt x="1506" y="1176"/>
                </a:lnTo>
                <a:lnTo>
                  <a:pt x="1500" y="1182"/>
                </a:lnTo>
                <a:lnTo>
                  <a:pt x="1554" y="1188"/>
                </a:lnTo>
                <a:lnTo>
                  <a:pt x="1554" y="1212"/>
                </a:lnTo>
                <a:lnTo>
                  <a:pt x="1578" y="1206"/>
                </a:lnTo>
                <a:lnTo>
                  <a:pt x="1590" y="1188"/>
                </a:lnTo>
                <a:lnTo>
                  <a:pt x="1614" y="1206"/>
                </a:lnTo>
                <a:lnTo>
                  <a:pt x="1644" y="1170"/>
                </a:lnTo>
                <a:lnTo>
                  <a:pt x="1596" y="1152"/>
                </a:lnTo>
                <a:lnTo>
                  <a:pt x="1578" y="1158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5" name="India"/>
          <p:cNvSpPr>
            <a:spLocks noEditPoints="1"/>
          </p:cNvSpPr>
          <p:nvPr/>
        </p:nvSpPr>
        <p:spPr bwMode="gray">
          <a:xfrm>
            <a:off x="5936521" y="3091530"/>
            <a:ext cx="785812" cy="949325"/>
          </a:xfrm>
          <a:custGeom>
            <a:avLst/>
            <a:gdLst>
              <a:gd name="T0" fmla="*/ 2147483647 w 1956"/>
              <a:gd name="T1" fmla="*/ 2147483647 h 2358"/>
              <a:gd name="T2" fmla="*/ 2147483647 w 1956"/>
              <a:gd name="T3" fmla="*/ 2147483647 h 2358"/>
              <a:gd name="T4" fmla="*/ 2147483647 w 1956"/>
              <a:gd name="T5" fmla="*/ 2147483647 h 2358"/>
              <a:gd name="T6" fmla="*/ 2147483647 w 1956"/>
              <a:gd name="T7" fmla="*/ 2147483647 h 2358"/>
              <a:gd name="T8" fmla="*/ 2147483647 w 1956"/>
              <a:gd name="T9" fmla="*/ 2147483647 h 2358"/>
              <a:gd name="T10" fmla="*/ 2147483647 w 1956"/>
              <a:gd name="T11" fmla="*/ 2147483647 h 2358"/>
              <a:gd name="T12" fmla="*/ 2147483647 w 1956"/>
              <a:gd name="T13" fmla="*/ 2147483647 h 2358"/>
              <a:gd name="T14" fmla="*/ 2147483647 w 1956"/>
              <a:gd name="T15" fmla="*/ 2147483647 h 2358"/>
              <a:gd name="T16" fmla="*/ 2147483647 w 1956"/>
              <a:gd name="T17" fmla="*/ 2147483647 h 2358"/>
              <a:gd name="T18" fmla="*/ 2147483647 w 1956"/>
              <a:gd name="T19" fmla="*/ 2147483647 h 2358"/>
              <a:gd name="T20" fmla="*/ 2147483647 w 1956"/>
              <a:gd name="T21" fmla="*/ 2147483647 h 2358"/>
              <a:gd name="T22" fmla="*/ 2147483647 w 1956"/>
              <a:gd name="T23" fmla="*/ 2147483647 h 2358"/>
              <a:gd name="T24" fmla="*/ 2147483647 w 1956"/>
              <a:gd name="T25" fmla="*/ 2147483647 h 2358"/>
              <a:gd name="T26" fmla="*/ 2147483647 w 1956"/>
              <a:gd name="T27" fmla="*/ 2147483647 h 2358"/>
              <a:gd name="T28" fmla="*/ 2147483647 w 1956"/>
              <a:gd name="T29" fmla="*/ 2147483647 h 2358"/>
              <a:gd name="T30" fmla="*/ 2147483647 w 1956"/>
              <a:gd name="T31" fmla="*/ 2147483647 h 2358"/>
              <a:gd name="T32" fmla="*/ 2147483647 w 1956"/>
              <a:gd name="T33" fmla="*/ 2147483647 h 2358"/>
              <a:gd name="T34" fmla="*/ 2147483647 w 1956"/>
              <a:gd name="T35" fmla="*/ 2147483647 h 2358"/>
              <a:gd name="T36" fmla="*/ 2147483647 w 1956"/>
              <a:gd name="T37" fmla="*/ 2147483647 h 2358"/>
              <a:gd name="T38" fmla="*/ 2147483647 w 1956"/>
              <a:gd name="T39" fmla="*/ 2147483647 h 2358"/>
              <a:gd name="T40" fmla="*/ 2147483647 w 1956"/>
              <a:gd name="T41" fmla="*/ 2147483647 h 2358"/>
              <a:gd name="T42" fmla="*/ 2147483647 w 1956"/>
              <a:gd name="T43" fmla="*/ 2147483647 h 2358"/>
              <a:gd name="T44" fmla="*/ 2147483647 w 1956"/>
              <a:gd name="T45" fmla="*/ 2147483647 h 2358"/>
              <a:gd name="T46" fmla="*/ 2147483647 w 1956"/>
              <a:gd name="T47" fmla="*/ 2147483647 h 2358"/>
              <a:gd name="T48" fmla="*/ 2147483647 w 1956"/>
              <a:gd name="T49" fmla="*/ 2147483647 h 2358"/>
              <a:gd name="T50" fmla="*/ 2147483647 w 1956"/>
              <a:gd name="T51" fmla="*/ 2147483647 h 2358"/>
              <a:gd name="T52" fmla="*/ 2147483647 w 1956"/>
              <a:gd name="T53" fmla="*/ 2147483647 h 2358"/>
              <a:gd name="T54" fmla="*/ 2147483647 w 1956"/>
              <a:gd name="T55" fmla="*/ 2147483647 h 2358"/>
              <a:gd name="T56" fmla="*/ 2147483647 w 1956"/>
              <a:gd name="T57" fmla="*/ 2147483647 h 2358"/>
              <a:gd name="T58" fmla="*/ 2147483647 w 1956"/>
              <a:gd name="T59" fmla="*/ 2147483647 h 2358"/>
              <a:gd name="T60" fmla="*/ 2147483647 w 1956"/>
              <a:gd name="T61" fmla="*/ 2147483647 h 2358"/>
              <a:gd name="T62" fmla="*/ 2147483647 w 1956"/>
              <a:gd name="T63" fmla="*/ 2147483647 h 2358"/>
              <a:gd name="T64" fmla="*/ 2147483647 w 1956"/>
              <a:gd name="T65" fmla="*/ 2147483647 h 2358"/>
              <a:gd name="T66" fmla="*/ 2147483647 w 1956"/>
              <a:gd name="T67" fmla="*/ 2147483647 h 2358"/>
              <a:gd name="T68" fmla="*/ 2147483647 w 1956"/>
              <a:gd name="T69" fmla="*/ 2147483647 h 2358"/>
              <a:gd name="T70" fmla="*/ 2147483647 w 1956"/>
              <a:gd name="T71" fmla="*/ 2147483647 h 2358"/>
              <a:gd name="T72" fmla="*/ 2147483647 w 1956"/>
              <a:gd name="T73" fmla="*/ 2147483647 h 2358"/>
              <a:gd name="T74" fmla="*/ 2147483647 w 1956"/>
              <a:gd name="T75" fmla="*/ 2147483647 h 2358"/>
              <a:gd name="T76" fmla="*/ 2147483647 w 1956"/>
              <a:gd name="T77" fmla="*/ 2147483647 h 2358"/>
              <a:gd name="T78" fmla="*/ 2147483647 w 1956"/>
              <a:gd name="T79" fmla="*/ 2147483647 h 2358"/>
              <a:gd name="T80" fmla="*/ 2147483647 w 1956"/>
              <a:gd name="T81" fmla="*/ 2147483647 h 2358"/>
              <a:gd name="T82" fmla="*/ 2147483647 w 1956"/>
              <a:gd name="T83" fmla="*/ 2147483647 h 2358"/>
              <a:gd name="T84" fmla="*/ 2147483647 w 1956"/>
              <a:gd name="T85" fmla="*/ 2147483647 h 2358"/>
              <a:gd name="T86" fmla="*/ 2147483647 w 1956"/>
              <a:gd name="T87" fmla="*/ 2147483647 h 2358"/>
              <a:gd name="T88" fmla="*/ 2147483647 w 1956"/>
              <a:gd name="T89" fmla="*/ 2147483647 h 2358"/>
              <a:gd name="T90" fmla="*/ 2147483647 w 1956"/>
              <a:gd name="T91" fmla="*/ 2147483647 h 2358"/>
              <a:gd name="T92" fmla="*/ 2147483647 w 1956"/>
              <a:gd name="T93" fmla="*/ 2147483647 h 2358"/>
              <a:gd name="T94" fmla="*/ 2147483647 w 1956"/>
              <a:gd name="T95" fmla="*/ 2147483647 h 2358"/>
              <a:gd name="T96" fmla="*/ 2147483647 w 1956"/>
              <a:gd name="T97" fmla="*/ 2147483647 h 2358"/>
              <a:gd name="T98" fmla="*/ 2147483647 w 1956"/>
              <a:gd name="T99" fmla="*/ 2147483647 h 2358"/>
              <a:gd name="T100" fmla="*/ 2147483647 w 1956"/>
              <a:gd name="T101" fmla="*/ 2147483647 h 2358"/>
              <a:gd name="T102" fmla="*/ 2147483647 w 1956"/>
              <a:gd name="T103" fmla="*/ 2147483647 h 2358"/>
              <a:gd name="T104" fmla="*/ 2147483647 w 1956"/>
              <a:gd name="T105" fmla="*/ 2147483647 h 2358"/>
              <a:gd name="T106" fmla="*/ 2147483647 w 1956"/>
              <a:gd name="T107" fmla="*/ 2147483647 h 2358"/>
              <a:gd name="T108" fmla="*/ 2147483647 w 1956"/>
              <a:gd name="T109" fmla="*/ 2147483647 h 2358"/>
              <a:gd name="T110" fmla="*/ 2147483647 w 1956"/>
              <a:gd name="T111" fmla="*/ 2147483647 h 2358"/>
              <a:gd name="T112" fmla="*/ 2147483647 w 1956"/>
              <a:gd name="T113" fmla="*/ 2147483647 h 2358"/>
              <a:gd name="T114" fmla="*/ 2147483647 w 1956"/>
              <a:gd name="T115" fmla="*/ 2147483647 h 2358"/>
              <a:gd name="T116" fmla="*/ 2147483647 w 1956"/>
              <a:gd name="T117" fmla="*/ 2147483647 h 2358"/>
              <a:gd name="T118" fmla="*/ 2147483647 w 1956"/>
              <a:gd name="T119" fmla="*/ 2147483647 h 235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956"/>
              <a:gd name="T181" fmla="*/ 0 h 2358"/>
              <a:gd name="T182" fmla="*/ 1956 w 1956"/>
              <a:gd name="T183" fmla="*/ 2358 h 235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956" h="2358">
                <a:moveTo>
                  <a:pt x="1806" y="1788"/>
                </a:moveTo>
                <a:lnTo>
                  <a:pt x="1794" y="1800"/>
                </a:lnTo>
                <a:lnTo>
                  <a:pt x="1782" y="1824"/>
                </a:lnTo>
                <a:lnTo>
                  <a:pt x="1782" y="1884"/>
                </a:lnTo>
                <a:lnTo>
                  <a:pt x="1788" y="1980"/>
                </a:lnTo>
                <a:lnTo>
                  <a:pt x="1800" y="1950"/>
                </a:lnTo>
                <a:lnTo>
                  <a:pt x="1800" y="1848"/>
                </a:lnTo>
                <a:lnTo>
                  <a:pt x="1806" y="1836"/>
                </a:lnTo>
                <a:lnTo>
                  <a:pt x="1806" y="1830"/>
                </a:lnTo>
                <a:lnTo>
                  <a:pt x="1812" y="1818"/>
                </a:lnTo>
                <a:lnTo>
                  <a:pt x="1812" y="1806"/>
                </a:lnTo>
                <a:lnTo>
                  <a:pt x="1818" y="1800"/>
                </a:lnTo>
                <a:lnTo>
                  <a:pt x="1812" y="1788"/>
                </a:lnTo>
                <a:lnTo>
                  <a:pt x="1806" y="1788"/>
                </a:lnTo>
                <a:close/>
                <a:moveTo>
                  <a:pt x="1794" y="2028"/>
                </a:moveTo>
                <a:lnTo>
                  <a:pt x="1788" y="2028"/>
                </a:lnTo>
                <a:lnTo>
                  <a:pt x="1782" y="2040"/>
                </a:lnTo>
                <a:lnTo>
                  <a:pt x="1782" y="2046"/>
                </a:lnTo>
                <a:lnTo>
                  <a:pt x="1788" y="2058"/>
                </a:lnTo>
                <a:lnTo>
                  <a:pt x="1788" y="2064"/>
                </a:lnTo>
                <a:lnTo>
                  <a:pt x="1794" y="2076"/>
                </a:lnTo>
                <a:lnTo>
                  <a:pt x="1800" y="2064"/>
                </a:lnTo>
                <a:lnTo>
                  <a:pt x="1800" y="2028"/>
                </a:lnTo>
                <a:lnTo>
                  <a:pt x="1794" y="2028"/>
                </a:lnTo>
                <a:close/>
                <a:moveTo>
                  <a:pt x="1890" y="2310"/>
                </a:moveTo>
                <a:lnTo>
                  <a:pt x="1884" y="2316"/>
                </a:lnTo>
                <a:lnTo>
                  <a:pt x="1884" y="2334"/>
                </a:lnTo>
                <a:lnTo>
                  <a:pt x="1890" y="2346"/>
                </a:lnTo>
                <a:lnTo>
                  <a:pt x="1896" y="2352"/>
                </a:lnTo>
                <a:lnTo>
                  <a:pt x="1908" y="2358"/>
                </a:lnTo>
                <a:lnTo>
                  <a:pt x="1908" y="2346"/>
                </a:lnTo>
                <a:lnTo>
                  <a:pt x="1902" y="2334"/>
                </a:lnTo>
                <a:lnTo>
                  <a:pt x="1902" y="2322"/>
                </a:lnTo>
                <a:lnTo>
                  <a:pt x="1896" y="2310"/>
                </a:lnTo>
                <a:lnTo>
                  <a:pt x="1890" y="2310"/>
                </a:lnTo>
                <a:close/>
                <a:moveTo>
                  <a:pt x="1920" y="672"/>
                </a:moveTo>
                <a:lnTo>
                  <a:pt x="1932" y="660"/>
                </a:lnTo>
                <a:lnTo>
                  <a:pt x="1944" y="654"/>
                </a:lnTo>
                <a:lnTo>
                  <a:pt x="1950" y="648"/>
                </a:lnTo>
                <a:lnTo>
                  <a:pt x="1956" y="648"/>
                </a:lnTo>
                <a:lnTo>
                  <a:pt x="1956" y="618"/>
                </a:lnTo>
                <a:lnTo>
                  <a:pt x="1950" y="618"/>
                </a:lnTo>
                <a:lnTo>
                  <a:pt x="1944" y="612"/>
                </a:lnTo>
                <a:lnTo>
                  <a:pt x="1878" y="612"/>
                </a:lnTo>
                <a:lnTo>
                  <a:pt x="1878" y="606"/>
                </a:lnTo>
                <a:lnTo>
                  <a:pt x="1890" y="594"/>
                </a:lnTo>
                <a:lnTo>
                  <a:pt x="1896" y="594"/>
                </a:lnTo>
                <a:lnTo>
                  <a:pt x="1878" y="564"/>
                </a:lnTo>
                <a:lnTo>
                  <a:pt x="1848" y="564"/>
                </a:lnTo>
                <a:lnTo>
                  <a:pt x="1842" y="558"/>
                </a:lnTo>
                <a:lnTo>
                  <a:pt x="1848" y="558"/>
                </a:lnTo>
                <a:lnTo>
                  <a:pt x="1860" y="546"/>
                </a:lnTo>
                <a:lnTo>
                  <a:pt x="1854" y="540"/>
                </a:lnTo>
                <a:lnTo>
                  <a:pt x="1818" y="522"/>
                </a:lnTo>
                <a:lnTo>
                  <a:pt x="1806" y="534"/>
                </a:lnTo>
                <a:lnTo>
                  <a:pt x="1806" y="558"/>
                </a:lnTo>
                <a:lnTo>
                  <a:pt x="1788" y="558"/>
                </a:lnTo>
                <a:lnTo>
                  <a:pt x="1770" y="546"/>
                </a:lnTo>
                <a:lnTo>
                  <a:pt x="1758" y="540"/>
                </a:lnTo>
                <a:lnTo>
                  <a:pt x="1740" y="540"/>
                </a:lnTo>
                <a:lnTo>
                  <a:pt x="1728" y="552"/>
                </a:lnTo>
                <a:lnTo>
                  <a:pt x="1716" y="558"/>
                </a:lnTo>
                <a:lnTo>
                  <a:pt x="1692" y="582"/>
                </a:lnTo>
                <a:lnTo>
                  <a:pt x="1656" y="582"/>
                </a:lnTo>
                <a:lnTo>
                  <a:pt x="1656" y="588"/>
                </a:lnTo>
                <a:lnTo>
                  <a:pt x="1662" y="594"/>
                </a:lnTo>
                <a:lnTo>
                  <a:pt x="1662" y="618"/>
                </a:lnTo>
                <a:lnTo>
                  <a:pt x="1656" y="624"/>
                </a:lnTo>
                <a:lnTo>
                  <a:pt x="1626" y="624"/>
                </a:lnTo>
                <a:lnTo>
                  <a:pt x="1632" y="636"/>
                </a:lnTo>
                <a:lnTo>
                  <a:pt x="1632" y="654"/>
                </a:lnTo>
                <a:lnTo>
                  <a:pt x="1620" y="666"/>
                </a:lnTo>
                <a:lnTo>
                  <a:pt x="1566" y="666"/>
                </a:lnTo>
                <a:lnTo>
                  <a:pt x="1566" y="684"/>
                </a:lnTo>
                <a:lnTo>
                  <a:pt x="1572" y="690"/>
                </a:lnTo>
                <a:lnTo>
                  <a:pt x="1596" y="690"/>
                </a:lnTo>
                <a:lnTo>
                  <a:pt x="1596" y="714"/>
                </a:lnTo>
                <a:lnTo>
                  <a:pt x="1608" y="726"/>
                </a:lnTo>
                <a:lnTo>
                  <a:pt x="1608" y="732"/>
                </a:lnTo>
                <a:lnTo>
                  <a:pt x="1584" y="744"/>
                </a:lnTo>
                <a:lnTo>
                  <a:pt x="1572" y="744"/>
                </a:lnTo>
                <a:lnTo>
                  <a:pt x="1566" y="738"/>
                </a:lnTo>
                <a:lnTo>
                  <a:pt x="1554" y="738"/>
                </a:lnTo>
                <a:lnTo>
                  <a:pt x="1542" y="744"/>
                </a:lnTo>
                <a:lnTo>
                  <a:pt x="1512" y="744"/>
                </a:lnTo>
                <a:lnTo>
                  <a:pt x="1500" y="738"/>
                </a:lnTo>
                <a:lnTo>
                  <a:pt x="1482" y="738"/>
                </a:lnTo>
                <a:lnTo>
                  <a:pt x="1476" y="744"/>
                </a:lnTo>
                <a:lnTo>
                  <a:pt x="1464" y="750"/>
                </a:lnTo>
                <a:lnTo>
                  <a:pt x="1440" y="750"/>
                </a:lnTo>
                <a:lnTo>
                  <a:pt x="1428" y="738"/>
                </a:lnTo>
                <a:lnTo>
                  <a:pt x="1428" y="732"/>
                </a:lnTo>
                <a:lnTo>
                  <a:pt x="1428" y="738"/>
                </a:lnTo>
                <a:lnTo>
                  <a:pt x="1416" y="738"/>
                </a:lnTo>
                <a:lnTo>
                  <a:pt x="1392" y="726"/>
                </a:lnTo>
                <a:lnTo>
                  <a:pt x="1374" y="708"/>
                </a:lnTo>
                <a:lnTo>
                  <a:pt x="1374" y="696"/>
                </a:lnTo>
                <a:lnTo>
                  <a:pt x="1380" y="696"/>
                </a:lnTo>
                <a:lnTo>
                  <a:pt x="1374" y="696"/>
                </a:lnTo>
                <a:lnTo>
                  <a:pt x="1368" y="690"/>
                </a:lnTo>
                <a:lnTo>
                  <a:pt x="1368" y="642"/>
                </a:lnTo>
                <a:lnTo>
                  <a:pt x="1362" y="636"/>
                </a:lnTo>
                <a:lnTo>
                  <a:pt x="1350" y="630"/>
                </a:lnTo>
                <a:lnTo>
                  <a:pt x="1338" y="630"/>
                </a:lnTo>
                <a:lnTo>
                  <a:pt x="1326" y="642"/>
                </a:lnTo>
                <a:lnTo>
                  <a:pt x="1314" y="648"/>
                </a:lnTo>
                <a:lnTo>
                  <a:pt x="1326" y="666"/>
                </a:lnTo>
                <a:lnTo>
                  <a:pt x="1326" y="714"/>
                </a:lnTo>
                <a:lnTo>
                  <a:pt x="1338" y="738"/>
                </a:lnTo>
                <a:lnTo>
                  <a:pt x="1338" y="774"/>
                </a:lnTo>
                <a:lnTo>
                  <a:pt x="1272" y="774"/>
                </a:lnTo>
                <a:lnTo>
                  <a:pt x="1272" y="762"/>
                </a:lnTo>
                <a:lnTo>
                  <a:pt x="1266" y="756"/>
                </a:lnTo>
                <a:lnTo>
                  <a:pt x="1260" y="756"/>
                </a:lnTo>
                <a:lnTo>
                  <a:pt x="1248" y="762"/>
                </a:lnTo>
                <a:lnTo>
                  <a:pt x="1242" y="774"/>
                </a:lnTo>
                <a:lnTo>
                  <a:pt x="1236" y="762"/>
                </a:lnTo>
                <a:lnTo>
                  <a:pt x="1224" y="756"/>
                </a:lnTo>
                <a:lnTo>
                  <a:pt x="1206" y="750"/>
                </a:lnTo>
                <a:lnTo>
                  <a:pt x="1188" y="750"/>
                </a:lnTo>
                <a:lnTo>
                  <a:pt x="1182" y="756"/>
                </a:lnTo>
                <a:lnTo>
                  <a:pt x="1152" y="738"/>
                </a:lnTo>
                <a:lnTo>
                  <a:pt x="1134" y="750"/>
                </a:lnTo>
                <a:lnTo>
                  <a:pt x="1080" y="696"/>
                </a:lnTo>
                <a:lnTo>
                  <a:pt x="1056" y="696"/>
                </a:lnTo>
                <a:lnTo>
                  <a:pt x="1056" y="690"/>
                </a:lnTo>
                <a:lnTo>
                  <a:pt x="1044" y="678"/>
                </a:lnTo>
                <a:lnTo>
                  <a:pt x="1038" y="678"/>
                </a:lnTo>
                <a:lnTo>
                  <a:pt x="1032" y="684"/>
                </a:lnTo>
                <a:lnTo>
                  <a:pt x="1032" y="702"/>
                </a:lnTo>
                <a:lnTo>
                  <a:pt x="1032" y="696"/>
                </a:lnTo>
                <a:lnTo>
                  <a:pt x="1026" y="690"/>
                </a:lnTo>
                <a:lnTo>
                  <a:pt x="1008" y="690"/>
                </a:lnTo>
                <a:lnTo>
                  <a:pt x="996" y="702"/>
                </a:lnTo>
                <a:lnTo>
                  <a:pt x="990" y="690"/>
                </a:lnTo>
                <a:lnTo>
                  <a:pt x="984" y="684"/>
                </a:lnTo>
                <a:lnTo>
                  <a:pt x="960" y="684"/>
                </a:lnTo>
                <a:lnTo>
                  <a:pt x="954" y="678"/>
                </a:lnTo>
                <a:lnTo>
                  <a:pt x="954" y="666"/>
                </a:lnTo>
                <a:lnTo>
                  <a:pt x="942" y="666"/>
                </a:lnTo>
                <a:lnTo>
                  <a:pt x="936" y="672"/>
                </a:lnTo>
                <a:lnTo>
                  <a:pt x="918" y="672"/>
                </a:lnTo>
                <a:lnTo>
                  <a:pt x="912" y="666"/>
                </a:lnTo>
                <a:lnTo>
                  <a:pt x="906" y="654"/>
                </a:lnTo>
                <a:lnTo>
                  <a:pt x="900" y="648"/>
                </a:lnTo>
                <a:lnTo>
                  <a:pt x="888" y="648"/>
                </a:lnTo>
                <a:lnTo>
                  <a:pt x="846" y="630"/>
                </a:lnTo>
                <a:lnTo>
                  <a:pt x="834" y="612"/>
                </a:lnTo>
                <a:lnTo>
                  <a:pt x="810" y="612"/>
                </a:lnTo>
                <a:lnTo>
                  <a:pt x="792" y="588"/>
                </a:lnTo>
                <a:lnTo>
                  <a:pt x="780" y="594"/>
                </a:lnTo>
                <a:lnTo>
                  <a:pt x="750" y="564"/>
                </a:lnTo>
                <a:lnTo>
                  <a:pt x="750" y="552"/>
                </a:lnTo>
                <a:lnTo>
                  <a:pt x="762" y="540"/>
                </a:lnTo>
                <a:lnTo>
                  <a:pt x="768" y="540"/>
                </a:lnTo>
                <a:lnTo>
                  <a:pt x="756" y="528"/>
                </a:lnTo>
                <a:lnTo>
                  <a:pt x="756" y="522"/>
                </a:lnTo>
                <a:lnTo>
                  <a:pt x="762" y="516"/>
                </a:lnTo>
                <a:lnTo>
                  <a:pt x="756" y="504"/>
                </a:lnTo>
                <a:lnTo>
                  <a:pt x="780" y="480"/>
                </a:lnTo>
                <a:lnTo>
                  <a:pt x="786" y="456"/>
                </a:lnTo>
                <a:lnTo>
                  <a:pt x="762" y="438"/>
                </a:lnTo>
                <a:lnTo>
                  <a:pt x="750" y="438"/>
                </a:lnTo>
                <a:lnTo>
                  <a:pt x="738" y="432"/>
                </a:lnTo>
                <a:lnTo>
                  <a:pt x="738" y="414"/>
                </a:lnTo>
                <a:lnTo>
                  <a:pt x="720" y="420"/>
                </a:lnTo>
                <a:lnTo>
                  <a:pt x="702" y="402"/>
                </a:lnTo>
                <a:lnTo>
                  <a:pt x="696" y="402"/>
                </a:lnTo>
                <a:lnTo>
                  <a:pt x="690" y="396"/>
                </a:lnTo>
                <a:lnTo>
                  <a:pt x="678" y="396"/>
                </a:lnTo>
                <a:lnTo>
                  <a:pt x="666" y="390"/>
                </a:lnTo>
                <a:lnTo>
                  <a:pt x="654" y="378"/>
                </a:lnTo>
                <a:lnTo>
                  <a:pt x="648" y="366"/>
                </a:lnTo>
                <a:lnTo>
                  <a:pt x="618" y="366"/>
                </a:lnTo>
                <a:lnTo>
                  <a:pt x="612" y="360"/>
                </a:lnTo>
                <a:lnTo>
                  <a:pt x="612" y="342"/>
                </a:lnTo>
                <a:lnTo>
                  <a:pt x="618" y="336"/>
                </a:lnTo>
                <a:lnTo>
                  <a:pt x="618" y="324"/>
                </a:lnTo>
                <a:lnTo>
                  <a:pt x="612" y="324"/>
                </a:lnTo>
                <a:lnTo>
                  <a:pt x="600" y="312"/>
                </a:lnTo>
                <a:lnTo>
                  <a:pt x="594" y="300"/>
                </a:lnTo>
                <a:lnTo>
                  <a:pt x="588" y="294"/>
                </a:lnTo>
                <a:lnTo>
                  <a:pt x="588" y="276"/>
                </a:lnTo>
                <a:lnTo>
                  <a:pt x="594" y="276"/>
                </a:lnTo>
                <a:lnTo>
                  <a:pt x="600" y="270"/>
                </a:lnTo>
                <a:lnTo>
                  <a:pt x="612" y="270"/>
                </a:lnTo>
                <a:lnTo>
                  <a:pt x="612" y="288"/>
                </a:lnTo>
                <a:lnTo>
                  <a:pt x="624" y="300"/>
                </a:lnTo>
                <a:lnTo>
                  <a:pt x="636" y="282"/>
                </a:lnTo>
                <a:lnTo>
                  <a:pt x="642" y="282"/>
                </a:lnTo>
                <a:lnTo>
                  <a:pt x="648" y="276"/>
                </a:lnTo>
                <a:lnTo>
                  <a:pt x="660" y="270"/>
                </a:lnTo>
                <a:lnTo>
                  <a:pt x="660" y="258"/>
                </a:lnTo>
                <a:lnTo>
                  <a:pt x="642" y="240"/>
                </a:lnTo>
                <a:lnTo>
                  <a:pt x="636" y="228"/>
                </a:lnTo>
                <a:lnTo>
                  <a:pt x="630" y="222"/>
                </a:lnTo>
                <a:lnTo>
                  <a:pt x="618" y="222"/>
                </a:lnTo>
                <a:lnTo>
                  <a:pt x="594" y="210"/>
                </a:lnTo>
                <a:lnTo>
                  <a:pt x="594" y="186"/>
                </a:lnTo>
                <a:lnTo>
                  <a:pt x="612" y="180"/>
                </a:lnTo>
                <a:lnTo>
                  <a:pt x="594" y="156"/>
                </a:lnTo>
                <a:lnTo>
                  <a:pt x="624" y="156"/>
                </a:lnTo>
                <a:lnTo>
                  <a:pt x="636" y="150"/>
                </a:lnTo>
                <a:lnTo>
                  <a:pt x="642" y="138"/>
                </a:lnTo>
                <a:lnTo>
                  <a:pt x="642" y="114"/>
                </a:lnTo>
                <a:lnTo>
                  <a:pt x="636" y="108"/>
                </a:lnTo>
                <a:lnTo>
                  <a:pt x="636" y="102"/>
                </a:lnTo>
                <a:lnTo>
                  <a:pt x="654" y="102"/>
                </a:lnTo>
                <a:lnTo>
                  <a:pt x="660" y="96"/>
                </a:lnTo>
                <a:lnTo>
                  <a:pt x="660" y="36"/>
                </a:lnTo>
                <a:lnTo>
                  <a:pt x="618" y="36"/>
                </a:lnTo>
                <a:lnTo>
                  <a:pt x="594" y="12"/>
                </a:lnTo>
                <a:lnTo>
                  <a:pt x="576" y="0"/>
                </a:lnTo>
                <a:lnTo>
                  <a:pt x="564" y="0"/>
                </a:lnTo>
                <a:lnTo>
                  <a:pt x="540" y="12"/>
                </a:lnTo>
                <a:lnTo>
                  <a:pt x="522" y="18"/>
                </a:lnTo>
                <a:lnTo>
                  <a:pt x="516" y="30"/>
                </a:lnTo>
                <a:lnTo>
                  <a:pt x="504" y="36"/>
                </a:lnTo>
                <a:lnTo>
                  <a:pt x="480" y="36"/>
                </a:lnTo>
                <a:lnTo>
                  <a:pt x="456" y="72"/>
                </a:lnTo>
                <a:lnTo>
                  <a:pt x="432" y="78"/>
                </a:lnTo>
                <a:lnTo>
                  <a:pt x="432" y="96"/>
                </a:lnTo>
                <a:lnTo>
                  <a:pt x="408" y="96"/>
                </a:lnTo>
                <a:lnTo>
                  <a:pt x="402" y="102"/>
                </a:lnTo>
                <a:lnTo>
                  <a:pt x="396" y="96"/>
                </a:lnTo>
                <a:lnTo>
                  <a:pt x="390" y="102"/>
                </a:lnTo>
                <a:lnTo>
                  <a:pt x="378" y="108"/>
                </a:lnTo>
                <a:lnTo>
                  <a:pt x="372" y="114"/>
                </a:lnTo>
                <a:lnTo>
                  <a:pt x="360" y="120"/>
                </a:lnTo>
                <a:lnTo>
                  <a:pt x="348" y="120"/>
                </a:lnTo>
                <a:lnTo>
                  <a:pt x="348" y="108"/>
                </a:lnTo>
                <a:lnTo>
                  <a:pt x="342" y="102"/>
                </a:lnTo>
                <a:lnTo>
                  <a:pt x="324" y="102"/>
                </a:lnTo>
                <a:lnTo>
                  <a:pt x="306" y="96"/>
                </a:lnTo>
                <a:lnTo>
                  <a:pt x="264" y="96"/>
                </a:lnTo>
                <a:lnTo>
                  <a:pt x="240" y="108"/>
                </a:lnTo>
                <a:lnTo>
                  <a:pt x="234" y="120"/>
                </a:lnTo>
                <a:lnTo>
                  <a:pt x="234" y="126"/>
                </a:lnTo>
                <a:lnTo>
                  <a:pt x="258" y="144"/>
                </a:lnTo>
                <a:lnTo>
                  <a:pt x="252" y="156"/>
                </a:lnTo>
                <a:lnTo>
                  <a:pt x="282" y="162"/>
                </a:lnTo>
                <a:lnTo>
                  <a:pt x="276" y="168"/>
                </a:lnTo>
                <a:lnTo>
                  <a:pt x="270" y="180"/>
                </a:lnTo>
                <a:lnTo>
                  <a:pt x="264" y="186"/>
                </a:lnTo>
                <a:lnTo>
                  <a:pt x="264" y="192"/>
                </a:lnTo>
                <a:lnTo>
                  <a:pt x="276" y="204"/>
                </a:lnTo>
                <a:lnTo>
                  <a:pt x="282" y="204"/>
                </a:lnTo>
                <a:lnTo>
                  <a:pt x="282" y="210"/>
                </a:lnTo>
                <a:lnTo>
                  <a:pt x="276" y="222"/>
                </a:lnTo>
                <a:lnTo>
                  <a:pt x="276" y="234"/>
                </a:lnTo>
                <a:lnTo>
                  <a:pt x="294" y="234"/>
                </a:lnTo>
                <a:lnTo>
                  <a:pt x="306" y="252"/>
                </a:lnTo>
                <a:lnTo>
                  <a:pt x="324" y="252"/>
                </a:lnTo>
                <a:lnTo>
                  <a:pt x="330" y="288"/>
                </a:lnTo>
                <a:lnTo>
                  <a:pt x="366" y="288"/>
                </a:lnTo>
                <a:lnTo>
                  <a:pt x="378" y="294"/>
                </a:lnTo>
                <a:lnTo>
                  <a:pt x="384" y="300"/>
                </a:lnTo>
                <a:lnTo>
                  <a:pt x="384" y="306"/>
                </a:lnTo>
                <a:lnTo>
                  <a:pt x="378" y="312"/>
                </a:lnTo>
                <a:lnTo>
                  <a:pt x="354" y="324"/>
                </a:lnTo>
                <a:lnTo>
                  <a:pt x="342" y="324"/>
                </a:lnTo>
                <a:lnTo>
                  <a:pt x="336" y="330"/>
                </a:lnTo>
                <a:lnTo>
                  <a:pt x="336" y="366"/>
                </a:lnTo>
                <a:lnTo>
                  <a:pt x="342" y="378"/>
                </a:lnTo>
                <a:lnTo>
                  <a:pt x="354" y="390"/>
                </a:lnTo>
                <a:lnTo>
                  <a:pt x="354" y="396"/>
                </a:lnTo>
                <a:lnTo>
                  <a:pt x="324" y="414"/>
                </a:lnTo>
                <a:lnTo>
                  <a:pt x="300" y="450"/>
                </a:lnTo>
                <a:lnTo>
                  <a:pt x="318" y="474"/>
                </a:lnTo>
                <a:lnTo>
                  <a:pt x="306" y="474"/>
                </a:lnTo>
                <a:lnTo>
                  <a:pt x="300" y="480"/>
                </a:lnTo>
                <a:lnTo>
                  <a:pt x="288" y="486"/>
                </a:lnTo>
                <a:lnTo>
                  <a:pt x="282" y="492"/>
                </a:lnTo>
                <a:lnTo>
                  <a:pt x="282" y="504"/>
                </a:lnTo>
                <a:lnTo>
                  <a:pt x="276" y="522"/>
                </a:lnTo>
                <a:lnTo>
                  <a:pt x="276" y="534"/>
                </a:lnTo>
                <a:lnTo>
                  <a:pt x="270" y="552"/>
                </a:lnTo>
                <a:lnTo>
                  <a:pt x="258" y="564"/>
                </a:lnTo>
                <a:lnTo>
                  <a:pt x="234" y="576"/>
                </a:lnTo>
                <a:lnTo>
                  <a:pt x="228" y="582"/>
                </a:lnTo>
                <a:lnTo>
                  <a:pt x="228" y="588"/>
                </a:lnTo>
                <a:lnTo>
                  <a:pt x="222" y="594"/>
                </a:lnTo>
                <a:lnTo>
                  <a:pt x="222" y="612"/>
                </a:lnTo>
                <a:lnTo>
                  <a:pt x="204" y="624"/>
                </a:lnTo>
                <a:lnTo>
                  <a:pt x="204" y="630"/>
                </a:lnTo>
                <a:lnTo>
                  <a:pt x="198" y="636"/>
                </a:lnTo>
                <a:lnTo>
                  <a:pt x="192" y="648"/>
                </a:lnTo>
                <a:lnTo>
                  <a:pt x="186" y="654"/>
                </a:lnTo>
                <a:lnTo>
                  <a:pt x="168" y="654"/>
                </a:lnTo>
                <a:lnTo>
                  <a:pt x="162" y="648"/>
                </a:lnTo>
                <a:lnTo>
                  <a:pt x="156" y="654"/>
                </a:lnTo>
                <a:lnTo>
                  <a:pt x="132" y="666"/>
                </a:lnTo>
                <a:lnTo>
                  <a:pt x="126" y="666"/>
                </a:lnTo>
                <a:lnTo>
                  <a:pt x="120" y="660"/>
                </a:lnTo>
                <a:lnTo>
                  <a:pt x="120" y="648"/>
                </a:lnTo>
                <a:lnTo>
                  <a:pt x="114" y="642"/>
                </a:lnTo>
                <a:lnTo>
                  <a:pt x="108" y="642"/>
                </a:lnTo>
                <a:lnTo>
                  <a:pt x="96" y="648"/>
                </a:lnTo>
                <a:lnTo>
                  <a:pt x="84" y="660"/>
                </a:lnTo>
                <a:lnTo>
                  <a:pt x="84" y="666"/>
                </a:lnTo>
                <a:lnTo>
                  <a:pt x="78" y="678"/>
                </a:lnTo>
                <a:lnTo>
                  <a:pt x="72" y="684"/>
                </a:lnTo>
                <a:lnTo>
                  <a:pt x="66" y="696"/>
                </a:lnTo>
                <a:lnTo>
                  <a:pt x="54" y="708"/>
                </a:lnTo>
                <a:lnTo>
                  <a:pt x="48" y="720"/>
                </a:lnTo>
                <a:lnTo>
                  <a:pt x="48" y="744"/>
                </a:lnTo>
                <a:lnTo>
                  <a:pt x="54" y="750"/>
                </a:lnTo>
                <a:lnTo>
                  <a:pt x="66" y="756"/>
                </a:lnTo>
                <a:lnTo>
                  <a:pt x="72" y="756"/>
                </a:lnTo>
                <a:lnTo>
                  <a:pt x="102" y="750"/>
                </a:lnTo>
                <a:lnTo>
                  <a:pt x="102" y="768"/>
                </a:lnTo>
                <a:lnTo>
                  <a:pt x="96" y="798"/>
                </a:lnTo>
                <a:lnTo>
                  <a:pt x="102" y="804"/>
                </a:lnTo>
                <a:lnTo>
                  <a:pt x="108" y="816"/>
                </a:lnTo>
                <a:lnTo>
                  <a:pt x="120" y="828"/>
                </a:lnTo>
                <a:lnTo>
                  <a:pt x="144" y="828"/>
                </a:lnTo>
                <a:lnTo>
                  <a:pt x="144" y="852"/>
                </a:lnTo>
                <a:lnTo>
                  <a:pt x="168" y="894"/>
                </a:lnTo>
                <a:lnTo>
                  <a:pt x="174" y="906"/>
                </a:lnTo>
                <a:lnTo>
                  <a:pt x="180" y="912"/>
                </a:lnTo>
                <a:lnTo>
                  <a:pt x="180" y="936"/>
                </a:lnTo>
                <a:lnTo>
                  <a:pt x="168" y="942"/>
                </a:lnTo>
                <a:lnTo>
                  <a:pt x="162" y="948"/>
                </a:lnTo>
                <a:lnTo>
                  <a:pt x="144" y="948"/>
                </a:lnTo>
                <a:lnTo>
                  <a:pt x="138" y="942"/>
                </a:lnTo>
                <a:lnTo>
                  <a:pt x="138" y="930"/>
                </a:lnTo>
                <a:lnTo>
                  <a:pt x="132" y="930"/>
                </a:lnTo>
                <a:lnTo>
                  <a:pt x="120" y="936"/>
                </a:lnTo>
                <a:lnTo>
                  <a:pt x="108" y="948"/>
                </a:lnTo>
                <a:lnTo>
                  <a:pt x="84" y="948"/>
                </a:lnTo>
                <a:lnTo>
                  <a:pt x="78" y="942"/>
                </a:lnTo>
                <a:lnTo>
                  <a:pt x="78" y="936"/>
                </a:lnTo>
                <a:lnTo>
                  <a:pt x="54" y="948"/>
                </a:lnTo>
                <a:lnTo>
                  <a:pt x="48" y="942"/>
                </a:lnTo>
                <a:lnTo>
                  <a:pt x="36" y="936"/>
                </a:lnTo>
                <a:lnTo>
                  <a:pt x="24" y="936"/>
                </a:lnTo>
                <a:lnTo>
                  <a:pt x="12" y="948"/>
                </a:lnTo>
                <a:lnTo>
                  <a:pt x="12" y="960"/>
                </a:lnTo>
                <a:lnTo>
                  <a:pt x="18" y="966"/>
                </a:lnTo>
                <a:lnTo>
                  <a:pt x="0" y="972"/>
                </a:lnTo>
                <a:lnTo>
                  <a:pt x="36" y="972"/>
                </a:lnTo>
                <a:lnTo>
                  <a:pt x="30" y="984"/>
                </a:lnTo>
                <a:lnTo>
                  <a:pt x="30" y="1014"/>
                </a:lnTo>
                <a:lnTo>
                  <a:pt x="36" y="1026"/>
                </a:lnTo>
                <a:lnTo>
                  <a:pt x="48" y="1032"/>
                </a:lnTo>
                <a:lnTo>
                  <a:pt x="66" y="1038"/>
                </a:lnTo>
                <a:lnTo>
                  <a:pt x="120" y="1038"/>
                </a:lnTo>
                <a:lnTo>
                  <a:pt x="132" y="1032"/>
                </a:lnTo>
                <a:lnTo>
                  <a:pt x="150" y="1014"/>
                </a:lnTo>
                <a:lnTo>
                  <a:pt x="162" y="1008"/>
                </a:lnTo>
                <a:lnTo>
                  <a:pt x="168" y="1020"/>
                </a:lnTo>
                <a:lnTo>
                  <a:pt x="168" y="1026"/>
                </a:lnTo>
                <a:lnTo>
                  <a:pt x="162" y="1038"/>
                </a:lnTo>
                <a:lnTo>
                  <a:pt x="144" y="1056"/>
                </a:lnTo>
                <a:lnTo>
                  <a:pt x="120" y="1068"/>
                </a:lnTo>
                <a:lnTo>
                  <a:pt x="114" y="1074"/>
                </a:lnTo>
                <a:lnTo>
                  <a:pt x="90" y="1074"/>
                </a:lnTo>
                <a:lnTo>
                  <a:pt x="78" y="1080"/>
                </a:lnTo>
                <a:lnTo>
                  <a:pt x="60" y="1086"/>
                </a:lnTo>
                <a:lnTo>
                  <a:pt x="48" y="1092"/>
                </a:lnTo>
                <a:lnTo>
                  <a:pt x="42" y="1098"/>
                </a:lnTo>
                <a:lnTo>
                  <a:pt x="54" y="1122"/>
                </a:lnTo>
                <a:lnTo>
                  <a:pt x="66" y="1128"/>
                </a:lnTo>
                <a:lnTo>
                  <a:pt x="78" y="1140"/>
                </a:lnTo>
                <a:lnTo>
                  <a:pt x="96" y="1152"/>
                </a:lnTo>
                <a:lnTo>
                  <a:pt x="108" y="1164"/>
                </a:lnTo>
                <a:lnTo>
                  <a:pt x="132" y="1182"/>
                </a:lnTo>
                <a:lnTo>
                  <a:pt x="162" y="1206"/>
                </a:lnTo>
                <a:lnTo>
                  <a:pt x="204" y="1224"/>
                </a:lnTo>
                <a:lnTo>
                  <a:pt x="240" y="1218"/>
                </a:lnTo>
                <a:lnTo>
                  <a:pt x="270" y="1200"/>
                </a:lnTo>
                <a:lnTo>
                  <a:pt x="294" y="1176"/>
                </a:lnTo>
                <a:lnTo>
                  <a:pt x="300" y="1158"/>
                </a:lnTo>
                <a:lnTo>
                  <a:pt x="300" y="1128"/>
                </a:lnTo>
                <a:lnTo>
                  <a:pt x="306" y="1116"/>
                </a:lnTo>
                <a:lnTo>
                  <a:pt x="318" y="1104"/>
                </a:lnTo>
                <a:lnTo>
                  <a:pt x="324" y="1092"/>
                </a:lnTo>
                <a:lnTo>
                  <a:pt x="330" y="1086"/>
                </a:lnTo>
                <a:lnTo>
                  <a:pt x="342" y="1086"/>
                </a:lnTo>
                <a:lnTo>
                  <a:pt x="348" y="1080"/>
                </a:lnTo>
                <a:lnTo>
                  <a:pt x="354" y="1080"/>
                </a:lnTo>
                <a:lnTo>
                  <a:pt x="360" y="1086"/>
                </a:lnTo>
                <a:lnTo>
                  <a:pt x="360" y="1098"/>
                </a:lnTo>
                <a:lnTo>
                  <a:pt x="348" y="1110"/>
                </a:lnTo>
                <a:lnTo>
                  <a:pt x="336" y="1128"/>
                </a:lnTo>
                <a:lnTo>
                  <a:pt x="324" y="1140"/>
                </a:lnTo>
                <a:lnTo>
                  <a:pt x="318" y="1152"/>
                </a:lnTo>
                <a:lnTo>
                  <a:pt x="318" y="1164"/>
                </a:lnTo>
                <a:lnTo>
                  <a:pt x="324" y="1176"/>
                </a:lnTo>
                <a:lnTo>
                  <a:pt x="336" y="1182"/>
                </a:lnTo>
                <a:lnTo>
                  <a:pt x="342" y="1182"/>
                </a:lnTo>
                <a:lnTo>
                  <a:pt x="354" y="1194"/>
                </a:lnTo>
                <a:lnTo>
                  <a:pt x="354" y="1206"/>
                </a:lnTo>
                <a:lnTo>
                  <a:pt x="348" y="1242"/>
                </a:lnTo>
                <a:lnTo>
                  <a:pt x="342" y="1284"/>
                </a:lnTo>
                <a:lnTo>
                  <a:pt x="336" y="1338"/>
                </a:lnTo>
                <a:lnTo>
                  <a:pt x="342" y="1398"/>
                </a:lnTo>
                <a:lnTo>
                  <a:pt x="354" y="1446"/>
                </a:lnTo>
                <a:lnTo>
                  <a:pt x="384" y="1536"/>
                </a:lnTo>
                <a:lnTo>
                  <a:pt x="402" y="1554"/>
                </a:lnTo>
                <a:lnTo>
                  <a:pt x="402" y="1596"/>
                </a:lnTo>
                <a:lnTo>
                  <a:pt x="414" y="1620"/>
                </a:lnTo>
                <a:lnTo>
                  <a:pt x="426" y="1626"/>
                </a:lnTo>
                <a:lnTo>
                  <a:pt x="438" y="1626"/>
                </a:lnTo>
                <a:lnTo>
                  <a:pt x="444" y="1632"/>
                </a:lnTo>
                <a:lnTo>
                  <a:pt x="450" y="1632"/>
                </a:lnTo>
                <a:lnTo>
                  <a:pt x="450" y="1644"/>
                </a:lnTo>
                <a:lnTo>
                  <a:pt x="456" y="1656"/>
                </a:lnTo>
                <a:lnTo>
                  <a:pt x="456" y="1674"/>
                </a:lnTo>
                <a:lnTo>
                  <a:pt x="474" y="1710"/>
                </a:lnTo>
                <a:lnTo>
                  <a:pt x="498" y="1722"/>
                </a:lnTo>
                <a:lnTo>
                  <a:pt x="504" y="1728"/>
                </a:lnTo>
                <a:lnTo>
                  <a:pt x="510" y="1728"/>
                </a:lnTo>
                <a:lnTo>
                  <a:pt x="510" y="1746"/>
                </a:lnTo>
                <a:lnTo>
                  <a:pt x="516" y="1782"/>
                </a:lnTo>
                <a:lnTo>
                  <a:pt x="522" y="1830"/>
                </a:lnTo>
                <a:lnTo>
                  <a:pt x="534" y="1872"/>
                </a:lnTo>
                <a:lnTo>
                  <a:pt x="552" y="1908"/>
                </a:lnTo>
                <a:lnTo>
                  <a:pt x="576" y="1944"/>
                </a:lnTo>
                <a:lnTo>
                  <a:pt x="600" y="1974"/>
                </a:lnTo>
                <a:lnTo>
                  <a:pt x="612" y="1998"/>
                </a:lnTo>
                <a:lnTo>
                  <a:pt x="618" y="2016"/>
                </a:lnTo>
                <a:lnTo>
                  <a:pt x="618" y="2070"/>
                </a:lnTo>
                <a:lnTo>
                  <a:pt x="624" y="2094"/>
                </a:lnTo>
                <a:lnTo>
                  <a:pt x="642" y="2124"/>
                </a:lnTo>
                <a:lnTo>
                  <a:pt x="672" y="2166"/>
                </a:lnTo>
                <a:lnTo>
                  <a:pt x="696" y="2202"/>
                </a:lnTo>
                <a:lnTo>
                  <a:pt x="714" y="2232"/>
                </a:lnTo>
                <a:lnTo>
                  <a:pt x="720" y="2244"/>
                </a:lnTo>
                <a:lnTo>
                  <a:pt x="726" y="2244"/>
                </a:lnTo>
                <a:lnTo>
                  <a:pt x="732" y="2238"/>
                </a:lnTo>
                <a:lnTo>
                  <a:pt x="744" y="2238"/>
                </a:lnTo>
                <a:lnTo>
                  <a:pt x="768" y="2226"/>
                </a:lnTo>
                <a:lnTo>
                  <a:pt x="774" y="2220"/>
                </a:lnTo>
                <a:lnTo>
                  <a:pt x="780" y="2208"/>
                </a:lnTo>
                <a:lnTo>
                  <a:pt x="780" y="2172"/>
                </a:lnTo>
                <a:lnTo>
                  <a:pt x="786" y="2160"/>
                </a:lnTo>
                <a:lnTo>
                  <a:pt x="798" y="2154"/>
                </a:lnTo>
                <a:lnTo>
                  <a:pt x="804" y="2154"/>
                </a:lnTo>
                <a:lnTo>
                  <a:pt x="810" y="2160"/>
                </a:lnTo>
                <a:lnTo>
                  <a:pt x="828" y="2160"/>
                </a:lnTo>
                <a:lnTo>
                  <a:pt x="834" y="2154"/>
                </a:lnTo>
                <a:lnTo>
                  <a:pt x="846" y="2148"/>
                </a:lnTo>
                <a:lnTo>
                  <a:pt x="852" y="2142"/>
                </a:lnTo>
                <a:lnTo>
                  <a:pt x="864" y="2136"/>
                </a:lnTo>
                <a:lnTo>
                  <a:pt x="852" y="2136"/>
                </a:lnTo>
                <a:lnTo>
                  <a:pt x="846" y="2130"/>
                </a:lnTo>
                <a:lnTo>
                  <a:pt x="846" y="2118"/>
                </a:lnTo>
                <a:lnTo>
                  <a:pt x="852" y="2100"/>
                </a:lnTo>
                <a:lnTo>
                  <a:pt x="858" y="2088"/>
                </a:lnTo>
                <a:lnTo>
                  <a:pt x="906" y="2064"/>
                </a:lnTo>
                <a:lnTo>
                  <a:pt x="918" y="2052"/>
                </a:lnTo>
                <a:lnTo>
                  <a:pt x="918" y="2040"/>
                </a:lnTo>
                <a:lnTo>
                  <a:pt x="912" y="2028"/>
                </a:lnTo>
                <a:lnTo>
                  <a:pt x="912" y="2010"/>
                </a:lnTo>
                <a:lnTo>
                  <a:pt x="900" y="1974"/>
                </a:lnTo>
                <a:lnTo>
                  <a:pt x="900" y="1908"/>
                </a:lnTo>
                <a:lnTo>
                  <a:pt x="906" y="1890"/>
                </a:lnTo>
                <a:lnTo>
                  <a:pt x="906" y="1884"/>
                </a:lnTo>
                <a:lnTo>
                  <a:pt x="912" y="1878"/>
                </a:lnTo>
                <a:lnTo>
                  <a:pt x="912" y="1860"/>
                </a:lnTo>
                <a:lnTo>
                  <a:pt x="918" y="1842"/>
                </a:lnTo>
                <a:lnTo>
                  <a:pt x="918" y="1800"/>
                </a:lnTo>
                <a:lnTo>
                  <a:pt x="906" y="1776"/>
                </a:lnTo>
                <a:lnTo>
                  <a:pt x="888" y="1758"/>
                </a:lnTo>
                <a:lnTo>
                  <a:pt x="888" y="1728"/>
                </a:lnTo>
                <a:lnTo>
                  <a:pt x="894" y="1722"/>
                </a:lnTo>
                <a:lnTo>
                  <a:pt x="900" y="1710"/>
                </a:lnTo>
                <a:lnTo>
                  <a:pt x="900" y="1698"/>
                </a:lnTo>
                <a:lnTo>
                  <a:pt x="894" y="1686"/>
                </a:lnTo>
                <a:lnTo>
                  <a:pt x="894" y="1644"/>
                </a:lnTo>
                <a:lnTo>
                  <a:pt x="918" y="1632"/>
                </a:lnTo>
                <a:lnTo>
                  <a:pt x="924" y="1632"/>
                </a:lnTo>
                <a:lnTo>
                  <a:pt x="948" y="1620"/>
                </a:lnTo>
                <a:lnTo>
                  <a:pt x="948" y="1596"/>
                </a:lnTo>
                <a:lnTo>
                  <a:pt x="954" y="1584"/>
                </a:lnTo>
                <a:lnTo>
                  <a:pt x="960" y="1578"/>
                </a:lnTo>
                <a:lnTo>
                  <a:pt x="972" y="1572"/>
                </a:lnTo>
                <a:lnTo>
                  <a:pt x="990" y="1572"/>
                </a:lnTo>
                <a:lnTo>
                  <a:pt x="996" y="1560"/>
                </a:lnTo>
                <a:lnTo>
                  <a:pt x="1002" y="1566"/>
                </a:lnTo>
                <a:lnTo>
                  <a:pt x="1032" y="1566"/>
                </a:lnTo>
                <a:lnTo>
                  <a:pt x="1032" y="1548"/>
                </a:lnTo>
                <a:lnTo>
                  <a:pt x="1038" y="1530"/>
                </a:lnTo>
                <a:lnTo>
                  <a:pt x="1050" y="1518"/>
                </a:lnTo>
                <a:lnTo>
                  <a:pt x="1056" y="1500"/>
                </a:lnTo>
                <a:lnTo>
                  <a:pt x="1068" y="1488"/>
                </a:lnTo>
                <a:lnTo>
                  <a:pt x="1074" y="1476"/>
                </a:lnTo>
                <a:lnTo>
                  <a:pt x="1086" y="1470"/>
                </a:lnTo>
                <a:lnTo>
                  <a:pt x="1092" y="1464"/>
                </a:lnTo>
                <a:lnTo>
                  <a:pt x="1110" y="1458"/>
                </a:lnTo>
                <a:lnTo>
                  <a:pt x="1116" y="1452"/>
                </a:lnTo>
                <a:lnTo>
                  <a:pt x="1128" y="1446"/>
                </a:lnTo>
                <a:lnTo>
                  <a:pt x="1134" y="1428"/>
                </a:lnTo>
                <a:lnTo>
                  <a:pt x="1158" y="1380"/>
                </a:lnTo>
                <a:lnTo>
                  <a:pt x="1176" y="1362"/>
                </a:lnTo>
                <a:lnTo>
                  <a:pt x="1188" y="1356"/>
                </a:lnTo>
                <a:lnTo>
                  <a:pt x="1206" y="1344"/>
                </a:lnTo>
                <a:lnTo>
                  <a:pt x="1218" y="1338"/>
                </a:lnTo>
                <a:lnTo>
                  <a:pt x="1236" y="1320"/>
                </a:lnTo>
                <a:lnTo>
                  <a:pt x="1242" y="1320"/>
                </a:lnTo>
                <a:lnTo>
                  <a:pt x="1230" y="1290"/>
                </a:lnTo>
                <a:lnTo>
                  <a:pt x="1236" y="1284"/>
                </a:lnTo>
                <a:lnTo>
                  <a:pt x="1260" y="1314"/>
                </a:lnTo>
                <a:lnTo>
                  <a:pt x="1320" y="1254"/>
                </a:lnTo>
                <a:lnTo>
                  <a:pt x="1332" y="1230"/>
                </a:lnTo>
                <a:lnTo>
                  <a:pt x="1326" y="1224"/>
                </a:lnTo>
                <a:lnTo>
                  <a:pt x="1320" y="1212"/>
                </a:lnTo>
                <a:lnTo>
                  <a:pt x="1314" y="1206"/>
                </a:lnTo>
                <a:lnTo>
                  <a:pt x="1308" y="1194"/>
                </a:lnTo>
                <a:lnTo>
                  <a:pt x="1308" y="1182"/>
                </a:lnTo>
                <a:lnTo>
                  <a:pt x="1320" y="1176"/>
                </a:lnTo>
                <a:lnTo>
                  <a:pt x="1326" y="1170"/>
                </a:lnTo>
                <a:lnTo>
                  <a:pt x="1338" y="1170"/>
                </a:lnTo>
                <a:lnTo>
                  <a:pt x="1350" y="1164"/>
                </a:lnTo>
                <a:lnTo>
                  <a:pt x="1362" y="1152"/>
                </a:lnTo>
                <a:lnTo>
                  <a:pt x="1374" y="1134"/>
                </a:lnTo>
                <a:lnTo>
                  <a:pt x="1374" y="1110"/>
                </a:lnTo>
                <a:lnTo>
                  <a:pt x="1392" y="1116"/>
                </a:lnTo>
                <a:lnTo>
                  <a:pt x="1398" y="1146"/>
                </a:lnTo>
                <a:lnTo>
                  <a:pt x="1416" y="1110"/>
                </a:lnTo>
                <a:lnTo>
                  <a:pt x="1416" y="1128"/>
                </a:lnTo>
                <a:lnTo>
                  <a:pt x="1422" y="1140"/>
                </a:lnTo>
                <a:lnTo>
                  <a:pt x="1422" y="1158"/>
                </a:lnTo>
                <a:lnTo>
                  <a:pt x="1428" y="1170"/>
                </a:lnTo>
                <a:lnTo>
                  <a:pt x="1434" y="1176"/>
                </a:lnTo>
                <a:lnTo>
                  <a:pt x="1440" y="1176"/>
                </a:lnTo>
                <a:lnTo>
                  <a:pt x="1446" y="1170"/>
                </a:lnTo>
                <a:lnTo>
                  <a:pt x="1446" y="1158"/>
                </a:lnTo>
                <a:lnTo>
                  <a:pt x="1452" y="1152"/>
                </a:lnTo>
                <a:lnTo>
                  <a:pt x="1452" y="1140"/>
                </a:lnTo>
                <a:lnTo>
                  <a:pt x="1458" y="1110"/>
                </a:lnTo>
                <a:lnTo>
                  <a:pt x="1440" y="1068"/>
                </a:lnTo>
                <a:lnTo>
                  <a:pt x="1440" y="1038"/>
                </a:lnTo>
                <a:lnTo>
                  <a:pt x="1410" y="1014"/>
                </a:lnTo>
                <a:lnTo>
                  <a:pt x="1398" y="984"/>
                </a:lnTo>
                <a:lnTo>
                  <a:pt x="1404" y="972"/>
                </a:lnTo>
                <a:lnTo>
                  <a:pt x="1410" y="966"/>
                </a:lnTo>
                <a:lnTo>
                  <a:pt x="1416" y="948"/>
                </a:lnTo>
                <a:lnTo>
                  <a:pt x="1416" y="942"/>
                </a:lnTo>
                <a:lnTo>
                  <a:pt x="1410" y="936"/>
                </a:lnTo>
                <a:lnTo>
                  <a:pt x="1398" y="930"/>
                </a:lnTo>
                <a:lnTo>
                  <a:pt x="1380" y="930"/>
                </a:lnTo>
                <a:lnTo>
                  <a:pt x="1368" y="924"/>
                </a:lnTo>
                <a:lnTo>
                  <a:pt x="1356" y="912"/>
                </a:lnTo>
                <a:lnTo>
                  <a:pt x="1368" y="900"/>
                </a:lnTo>
                <a:lnTo>
                  <a:pt x="1374" y="900"/>
                </a:lnTo>
                <a:lnTo>
                  <a:pt x="1374" y="870"/>
                </a:lnTo>
                <a:lnTo>
                  <a:pt x="1410" y="870"/>
                </a:lnTo>
                <a:lnTo>
                  <a:pt x="1410" y="858"/>
                </a:lnTo>
                <a:lnTo>
                  <a:pt x="1380" y="840"/>
                </a:lnTo>
                <a:lnTo>
                  <a:pt x="1374" y="840"/>
                </a:lnTo>
                <a:lnTo>
                  <a:pt x="1362" y="828"/>
                </a:lnTo>
                <a:lnTo>
                  <a:pt x="1350" y="822"/>
                </a:lnTo>
                <a:lnTo>
                  <a:pt x="1344" y="810"/>
                </a:lnTo>
                <a:lnTo>
                  <a:pt x="1344" y="804"/>
                </a:lnTo>
                <a:lnTo>
                  <a:pt x="1350" y="792"/>
                </a:lnTo>
                <a:lnTo>
                  <a:pt x="1362" y="780"/>
                </a:lnTo>
                <a:lnTo>
                  <a:pt x="1350" y="762"/>
                </a:lnTo>
                <a:lnTo>
                  <a:pt x="1368" y="762"/>
                </a:lnTo>
                <a:lnTo>
                  <a:pt x="1392" y="774"/>
                </a:lnTo>
                <a:lnTo>
                  <a:pt x="1386" y="768"/>
                </a:lnTo>
                <a:lnTo>
                  <a:pt x="1404" y="762"/>
                </a:lnTo>
                <a:lnTo>
                  <a:pt x="1410" y="774"/>
                </a:lnTo>
                <a:lnTo>
                  <a:pt x="1410" y="780"/>
                </a:lnTo>
                <a:lnTo>
                  <a:pt x="1416" y="792"/>
                </a:lnTo>
                <a:lnTo>
                  <a:pt x="1422" y="798"/>
                </a:lnTo>
                <a:lnTo>
                  <a:pt x="1434" y="798"/>
                </a:lnTo>
                <a:lnTo>
                  <a:pt x="1440" y="804"/>
                </a:lnTo>
                <a:lnTo>
                  <a:pt x="1446" y="786"/>
                </a:lnTo>
                <a:lnTo>
                  <a:pt x="1452" y="792"/>
                </a:lnTo>
                <a:lnTo>
                  <a:pt x="1458" y="792"/>
                </a:lnTo>
                <a:lnTo>
                  <a:pt x="1464" y="798"/>
                </a:lnTo>
                <a:lnTo>
                  <a:pt x="1464" y="828"/>
                </a:lnTo>
                <a:lnTo>
                  <a:pt x="1470" y="828"/>
                </a:lnTo>
                <a:lnTo>
                  <a:pt x="1470" y="864"/>
                </a:lnTo>
                <a:lnTo>
                  <a:pt x="1476" y="864"/>
                </a:lnTo>
                <a:lnTo>
                  <a:pt x="1482" y="870"/>
                </a:lnTo>
                <a:lnTo>
                  <a:pt x="1542" y="870"/>
                </a:lnTo>
                <a:lnTo>
                  <a:pt x="1554" y="876"/>
                </a:lnTo>
                <a:lnTo>
                  <a:pt x="1572" y="876"/>
                </a:lnTo>
                <a:lnTo>
                  <a:pt x="1620" y="864"/>
                </a:lnTo>
                <a:lnTo>
                  <a:pt x="1626" y="864"/>
                </a:lnTo>
                <a:lnTo>
                  <a:pt x="1650" y="888"/>
                </a:lnTo>
                <a:lnTo>
                  <a:pt x="1650" y="894"/>
                </a:lnTo>
                <a:lnTo>
                  <a:pt x="1644" y="900"/>
                </a:lnTo>
                <a:lnTo>
                  <a:pt x="1638" y="900"/>
                </a:lnTo>
                <a:lnTo>
                  <a:pt x="1638" y="912"/>
                </a:lnTo>
                <a:lnTo>
                  <a:pt x="1632" y="930"/>
                </a:lnTo>
                <a:lnTo>
                  <a:pt x="1626" y="942"/>
                </a:lnTo>
                <a:lnTo>
                  <a:pt x="1620" y="948"/>
                </a:lnTo>
                <a:lnTo>
                  <a:pt x="1614" y="948"/>
                </a:lnTo>
                <a:lnTo>
                  <a:pt x="1602" y="954"/>
                </a:lnTo>
                <a:lnTo>
                  <a:pt x="1596" y="954"/>
                </a:lnTo>
                <a:lnTo>
                  <a:pt x="1584" y="966"/>
                </a:lnTo>
                <a:lnTo>
                  <a:pt x="1578" y="978"/>
                </a:lnTo>
                <a:lnTo>
                  <a:pt x="1578" y="996"/>
                </a:lnTo>
                <a:lnTo>
                  <a:pt x="1584" y="1008"/>
                </a:lnTo>
                <a:lnTo>
                  <a:pt x="1602" y="1026"/>
                </a:lnTo>
                <a:lnTo>
                  <a:pt x="1608" y="1026"/>
                </a:lnTo>
                <a:lnTo>
                  <a:pt x="1626" y="1050"/>
                </a:lnTo>
                <a:lnTo>
                  <a:pt x="1632" y="1014"/>
                </a:lnTo>
                <a:lnTo>
                  <a:pt x="1632" y="990"/>
                </a:lnTo>
                <a:lnTo>
                  <a:pt x="1650" y="990"/>
                </a:lnTo>
                <a:lnTo>
                  <a:pt x="1662" y="996"/>
                </a:lnTo>
                <a:lnTo>
                  <a:pt x="1668" y="1002"/>
                </a:lnTo>
                <a:lnTo>
                  <a:pt x="1668" y="1020"/>
                </a:lnTo>
                <a:lnTo>
                  <a:pt x="1674" y="1032"/>
                </a:lnTo>
                <a:lnTo>
                  <a:pt x="1674" y="1038"/>
                </a:lnTo>
                <a:lnTo>
                  <a:pt x="1680" y="1050"/>
                </a:lnTo>
                <a:lnTo>
                  <a:pt x="1680" y="1062"/>
                </a:lnTo>
                <a:lnTo>
                  <a:pt x="1686" y="1074"/>
                </a:lnTo>
                <a:lnTo>
                  <a:pt x="1692" y="1092"/>
                </a:lnTo>
                <a:lnTo>
                  <a:pt x="1698" y="1104"/>
                </a:lnTo>
                <a:lnTo>
                  <a:pt x="1704" y="1110"/>
                </a:lnTo>
                <a:lnTo>
                  <a:pt x="1704" y="1116"/>
                </a:lnTo>
                <a:lnTo>
                  <a:pt x="1722" y="1134"/>
                </a:lnTo>
                <a:lnTo>
                  <a:pt x="1722" y="1110"/>
                </a:lnTo>
                <a:lnTo>
                  <a:pt x="1728" y="1110"/>
                </a:lnTo>
                <a:lnTo>
                  <a:pt x="1734" y="1116"/>
                </a:lnTo>
                <a:lnTo>
                  <a:pt x="1746" y="1116"/>
                </a:lnTo>
                <a:lnTo>
                  <a:pt x="1746" y="1104"/>
                </a:lnTo>
                <a:lnTo>
                  <a:pt x="1728" y="1086"/>
                </a:lnTo>
                <a:lnTo>
                  <a:pt x="1728" y="1062"/>
                </a:lnTo>
                <a:lnTo>
                  <a:pt x="1722" y="1050"/>
                </a:lnTo>
                <a:lnTo>
                  <a:pt x="1740" y="1032"/>
                </a:lnTo>
                <a:lnTo>
                  <a:pt x="1746" y="1032"/>
                </a:lnTo>
                <a:lnTo>
                  <a:pt x="1740" y="984"/>
                </a:lnTo>
                <a:lnTo>
                  <a:pt x="1722" y="966"/>
                </a:lnTo>
                <a:lnTo>
                  <a:pt x="1716" y="966"/>
                </a:lnTo>
                <a:lnTo>
                  <a:pt x="1770" y="966"/>
                </a:lnTo>
                <a:lnTo>
                  <a:pt x="1782" y="972"/>
                </a:lnTo>
                <a:lnTo>
                  <a:pt x="1794" y="972"/>
                </a:lnTo>
                <a:lnTo>
                  <a:pt x="1794" y="936"/>
                </a:lnTo>
                <a:lnTo>
                  <a:pt x="1812" y="882"/>
                </a:lnTo>
                <a:lnTo>
                  <a:pt x="1806" y="876"/>
                </a:lnTo>
                <a:lnTo>
                  <a:pt x="1800" y="864"/>
                </a:lnTo>
                <a:lnTo>
                  <a:pt x="1800" y="846"/>
                </a:lnTo>
                <a:lnTo>
                  <a:pt x="1812" y="840"/>
                </a:lnTo>
                <a:lnTo>
                  <a:pt x="1818" y="834"/>
                </a:lnTo>
                <a:lnTo>
                  <a:pt x="1836" y="804"/>
                </a:lnTo>
                <a:lnTo>
                  <a:pt x="1836" y="792"/>
                </a:lnTo>
                <a:lnTo>
                  <a:pt x="1830" y="786"/>
                </a:lnTo>
                <a:lnTo>
                  <a:pt x="1830" y="780"/>
                </a:lnTo>
                <a:lnTo>
                  <a:pt x="1824" y="774"/>
                </a:lnTo>
                <a:lnTo>
                  <a:pt x="1824" y="750"/>
                </a:lnTo>
                <a:lnTo>
                  <a:pt x="1830" y="750"/>
                </a:lnTo>
                <a:lnTo>
                  <a:pt x="1836" y="744"/>
                </a:lnTo>
                <a:lnTo>
                  <a:pt x="1848" y="744"/>
                </a:lnTo>
                <a:lnTo>
                  <a:pt x="1860" y="738"/>
                </a:lnTo>
                <a:lnTo>
                  <a:pt x="1872" y="726"/>
                </a:lnTo>
                <a:lnTo>
                  <a:pt x="1872" y="708"/>
                </a:lnTo>
                <a:lnTo>
                  <a:pt x="1878" y="708"/>
                </a:lnTo>
                <a:lnTo>
                  <a:pt x="1890" y="702"/>
                </a:lnTo>
                <a:lnTo>
                  <a:pt x="1926" y="702"/>
                </a:lnTo>
                <a:lnTo>
                  <a:pt x="1932" y="708"/>
                </a:lnTo>
                <a:lnTo>
                  <a:pt x="1950" y="708"/>
                </a:lnTo>
                <a:lnTo>
                  <a:pt x="1950" y="702"/>
                </a:lnTo>
                <a:lnTo>
                  <a:pt x="1944" y="696"/>
                </a:lnTo>
                <a:lnTo>
                  <a:pt x="1932" y="690"/>
                </a:lnTo>
                <a:lnTo>
                  <a:pt x="1926" y="684"/>
                </a:lnTo>
                <a:lnTo>
                  <a:pt x="1920" y="672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6" name="Hungary"/>
          <p:cNvSpPr>
            <a:spLocks/>
          </p:cNvSpPr>
          <p:nvPr/>
        </p:nvSpPr>
        <p:spPr bwMode="gray">
          <a:xfrm>
            <a:off x="4460146" y="2689893"/>
            <a:ext cx="171450" cy="88900"/>
          </a:xfrm>
          <a:custGeom>
            <a:avLst/>
            <a:gdLst>
              <a:gd name="T0" fmla="*/ 2147483647 w 426"/>
              <a:gd name="T1" fmla="*/ 2147483647 h 222"/>
              <a:gd name="T2" fmla="*/ 2147483647 w 426"/>
              <a:gd name="T3" fmla="*/ 2147483647 h 222"/>
              <a:gd name="T4" fmla="*/ 2147483647 w 426"/>
              <a:gd name="T5" fmla="*/ 2147483647 h 222"/>
              <a:gd name="T6" fmla="*/ 0 w 426"/>
              <a:gd name="T7" fmla="*/ 2147483647 h 222"/>
              <a:gd name="T8" fmla="*/ 2147483647 w 426"/>
              <a:gd name="T9" fmla="*/ 2147483647 h 222"/>
              <a:gd name="T10" fmla="*/ 2147483647 w 426"/>
              <a:gd name="T11" fmla="*/ 2147483647 h 222"/>
              <a:gd name="T12" fmla="*/ 2147483647 w 426"/>
              <a:gd name="T13" fmla="*/ 2147483647 h 222"/>
              <a:gd name="T14" fmla="*/ 2147483647 w 426"/>
              <a:gd name="T15" fmla="*/ 2147483647 h 222"/>
              <a:gd name="T16" fmla="*/ 2147483647 w 426"/>
              <a:gd name="T17" fmla="*/ 2147483647 h 222"/>
              <a:gd name="T18" fmla="*/ 2147483647 w 426"/>
              <a:gd name="T19" fmla="*/ 2147483647 h 222"/>
              <a:gd name="T20" fmla="*/ 2147483647 w 426"/>
              <a:gd name="T21" fmla="*/ 2147483647 h 222"/>
              <a:gd name="T22" fmla="*/ 2147483647 w 426"/>
              <a:gd name="T23" fmla="*/ 2147483647 h 222"/>
              <a:gd name="T24" fmla="*/ 2147483647 w 426"/>
              <a:gd name="T25" fmla="*/ 2147483647 h 222"/>
              <a:gd name="T26" fmla="*/ 2147483647 w 426"/>
              <a:gd name="T27" fmla="*/ 2147483647 h 222"/>
              <a:gd name="T28" fmla="*/ 2147483647 w 426"/>
              <a:gd name="T29" fmla="*/ 2147483647 h 222"/>
              <a:gd name="T30" fmla="*/ 2147483647 w 426"/>
              <a:gd name="T31" fmla="*/ 2147483647 h 222"/>
              <a:gd name="T32" fmla="*/ 2147483647 w 426"/>
              <a:gd name="T33" fmla="*/ 2147483647 h 222"/>
              <a:gd name="T34" fmla="*/ 2147483647 w 426"/>
              <a:gd name="T35" fmla="*/ 2147483647 h 222"/>
              <a:gd name="T36" fmla="*/ 2147483647 w 426"/>
              <a:gd name="T37" fmla="*/ 2147483647 h 222"/>
              <a:gd name="T38" fmla="*/ 2147483647 w 426"/>
              <a:gd name="T39" fmla="*/ 2147483647 h 222"/>
              <a:gd name="T40" fmla="*/ 2147483647 w 426"/>
              <a:gd name="T41" fmla="*/ 2147483647 h 222"/>
              <a:gd name="T42" fmla="*/ 2147483647 w 426"/>
              <a:gd name="T43" fmla="*/ 2147483647 h 222"/>
              <a:gd name="T44" fmla="*/ 2147483647 w 426"/>
              <a:gd name="T45" fmla="*/ 2147483647 h 222"/>
              <a:gd name="T46" fmla="*/ 2147483647 w 426"/>
              <a:gd name="T47" fmla="*/ 2147483647 h 222"/>
              <a:gd name="T48" fmla="*/ 2147483647 w 426"/>
              <a:gd name="T49" fmla="*/ 0 h 222"/>
              <a:gd name="T50" fmla="*/ 2147483647 w 426"/>
              <a:gd name="T51" fmla="*/ 2147483647 h 222"/>
              <a:gd name="T52" fmla="*/ 2147483647 w 426"/>
              <a:gd name="T53" fmla="*/ 0 h 222"/>
              <a:gd name="T54" fmla="*/ 2147483647 w 426"/>
              <a:gd name="T55" fmla="*/ 2147483647 h 222"/>
              <a:gd name="T56" fmla="*/ 2147483647 w 426"/>
              <a:gd name="T57" fmla="*/ 2147483647 h 222"/>
              <a:gd name="T58" fmla="*/ 2147483647 w 426"/>
              <a:gd name="T59" fmla="*/ 2147483647 h 222"/>
              <a:gd name="T60" fmla="*/ 2147483647 w 426"/>
              <a:gd name="T61" fmla="*/ 2147483647 h 222"/>
              <a:gd name="T62" fmla="*/ 2147483647 w 426"/>
              <a:gd name="T63" fmla="*/ 2147483647 h 222"/>
              <a:gd name="T64" fmla="*/ 2147483647 w 426"/>
              <a:gd name="T65" fmla="*/ 2147483647 h 222"/>
              <a:gd name="T66" fmla="*/ 2147483647 w 426"/>
              <a:gd name="T67" fmla="*/ 2147483647 h 222"/>
              <a:gd name="T68" fmla="*/ 2147483647 w 426"/>
              <a:gd name="T69" fmla="*/ 2147483647 h 222"/>
              <a:gd name="T70" fmla="*/ 2147483647 w 426"/>
              <a:gd name="T71" fmla="*/ 2147483647 h 22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426"/>
              <a:gd name="T109" fmla="*/ 0 h 222"/>
              <a:gd name="T110" fmla="*/ 426 w 426"/>
              <a:gd name="T111" fmla="*/ 222 h 22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426" h="222">
                <a:moveTo>
                  <a:pt x="42" y="66"/>
                </a:moveTo>
                <a:lnTo>
                  <a:pt x="24" y="66"/>
                </a:lnTo>
                <a:lnTo>
                  <a:pt x="18" y="78"/>
                </a:lnTo>
                <a:lnTo>
                  <a:pt x="30" y="78"/>
                </a:lnTo>
                <a:lnTo>
                  <a:pt x="18" y="96"/>
                </a:lnTo>
                <a:lnTo>
                  <a:pt x="18" y="120"/>
                </a:lnTo>
                <a:lnTo>
                  <a:pt x="0" y="120"/>
                </a:lnTo>
                <a:lnTo>
                  <a:pt x="0" y="126"/>
                </a:lnTo>
                <a:lnTo>
                  <a:pt x="6" y="132"/>
                </a:lnTo>
                <a:lnTo>
                  <a:pt x="12" y="150"/>
                </a:lnTo>
                <a:lnTo>
                  <a:pt x="30" y="162"/>
                </a:lnTo>
                <a:lnTo>
                  <a:pt x="42" y="168"/>
                </a:lnTo>
                <a:lnTo>
                  <a:pt x="48" y="174"/>
                </a:lnTo>
                <a:lnTo>
                  <a:pt x="48" y="180"/>
                </a:lnTo>
                <a:lnTo>
                  <a:pt x="60" y="192"/>
                </a:lnTo>
                <a:lnTo>
                  <a:pt x="72" y="198"/>
                </a:lnTo>
                <a:lnTo>
                  <a:pt x="78" y="204"/>
                </a:lnTo>
                <a:lnTo>
                  <a:pt x="90" y="210"/>
                </a:lnTo>
                <a:lnTo>
                  <a:pt x="108" y="210"/>
                </a:lnTo>
                <a:lnTo>
                  <a:pt x="114" y="222"/>
                </a:lnTo>
                <a:lnTo>
                  <a:pt x="156" y="216"/>
                </a:lnTo>
                <a:lnTo>
                  <a:pt x="168" y="210"/>
                </a:lnTo>
                <a:lnTo>
                  <a:pt x="174" y="204"/>
                </a:lnTo>
                <a:lnTo>
                  <a:pt x="198" y="204"/>
                </a:lnTo>
                <a:lnTo>
                  <a:pt x="216" y="186"/>
                </a:lnTo>
                <a:lnTo>
                  <a:pt x="240" y="186"/>
                </a:lnTo>
                <a:lnTo>
                  <a:pt x="258" y="198"/>
                </a:lnTo>
                <a:lnTo>
                  <a:pt x="288" y="192"/>
                </a:lnTo>
                <a:lnTo>
                  <a:pt x="288" y="174"/>
                </a:lnTo>
                <a:lnTo>
                  <a:pt x="306" y="180"/>
                </a:lnTo>
                <a:lnTo>
                  <a:pt x="312" y="174"/>
                </a:lnTo>
                <a:lnTo>
                  <a:pt x="324" y="168"/>
                </a:lnTo>
                <a:lnTo>
                  <a:pt x="330" y="162"/>
                </a:lnTo>
                <a:lnTo>
                  <a:pt x="330" y="144"/>
                </a:lnTo>
                <a:lnTo>
                  <a:pt x="336" y="138"/>
                </a:lnTo>
                <a:lnTo>
                  <a:pt x="348" y="132"/>
                </a:lnTo>
                <a:lnTo>
                  <a:pt x="366" y="114"/>
                </a:lnTo>
                <a:lnTo>
                  <a:pt x="366" y="72"/>
                </a:lnTo>
                <a:lnTo>
                  <a:pt x="378" y="60"/>
                </a:lnTo>
                <a:lnTo>
                  <a:pt x="408" y="60"/>
                </a:lnTo>
                <a:lnTo>
                  <a:pt x="426" y="42"/>
                </a:lnTo>
                <a:lnTo>
                  <a:pt x="420" y="36"/>
                </a:lnTo>
                <a:lnTo>
                  <a:pt x="408" y="36"/>
                </a:lnTo>
                <a:lnTo>
                  <a:pt x="402" y="30"/>
                </a:lnTo>
                <a:lnTo>
                  <a:pt x="396" y="30"/>
                </a:lnTo>
                <a:lnTo>
                  <a:pt x="372" y="6"/>
                </a:lnTo>
                <a:lnTo>
                  <a:pt x="348" y="6"/>
                </a:lnTo>
                <a:lnTo>
                  <a:pt x="336" y="12"/>
                </a:lnTo>
                <a:lnTo>
                  <a:pt x="324" y="12"/>
                </a:lnTo>
                <a:lnTo>
                  <a:pt x="324" y="0"/>
                </a:lnTo>
                <a:lnTo>
                  <a:pt x="312" y="0"/>
                </a:lnTo>
                <a:lnTo>
                  <a:pt x="312" y="18"/>
                </a:lnTo>
                <a:lnTo>
                  <a:pt x="294" y="12"/>
                </a:lnTo>
                <a:lnTo>
                  <a:pt x="294" y="0"/>
                </a:lnTo>
                <a:lnTo>
                  <a:pt x="270" y="0"/>
                </a:lnTo>
                <a:lnTo>
                  <a:pt x="264" y="12"/>
                </a:lnTo>
                <a:lnTo>
                  <a:pt x="252" y="24"/>
                </a:lnTo>
                <a:lnTo>
                  <a:pt x="246" y="24"/>
                </a:lnTo>
                <a:lnTo>
                  <a:pt x="234" y="30"/>
                </a:lnTo>
                <a:lnTo>
                  <a:pt x="210" y="30"/>
                </a:lnTo>
                <a:lnTo>
                  <a:pt x="204" y="42"/>
                </a:lnTo>
                <a:lnTo>
                  <a:pt x="168" y="36"/>
                </a:lnTo>
                <a:lnTo>
                  <a:pt x="156" y="60"/>
                </a:lnTo>
                <a:lnTo>
                  <a:pt x="144" y="60"/>
                </a:lnTo>
                <a:lnTo>
                  <a:pt x="126" y="66"/>
                </a:lnTo>
                <a:lnTo>
                  <a:pt x="84" y="66"/>
                </a:lnTo>
                <a:lnTo>
                  <a:pt x="78" y="60"/>
                </a:lnTo>
                <a:lnTo>
                  <a:pt x="72" y="48"/>
                </a:lnTo>
                <a:lnTo>
                  <a:pt x="66" y="42"/>
                </a:lnTo>
                <a:lnTo>
                  <a:pt x="54" y="60"/>
                </a:lnTo>
                <a:lnTo>
                  <a:pt x="42" y="54"/>
                </a:lnTo>
                <a:lnTo>
                  <a:pt x="42" y="66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7" name="Honduras"/>
          <p:cNvSpPr>
            <a:spLocks/>
          </p:cNvSpPr>
          <p:nvPr/>
        </p:nvSpPr>
        <p:spPr bwMode="gray">
          <a:xfrm>
            <a:off x="1481996" y="3740818"/>
            <a:ext cx="179387" cy="98425"/>
          </a:xfrm>
          <a:custGeom>
            <a:avLst/>
            <a:gdLst>
              <a:gd name="T0" fmla="*/ 2147483647 w 444"/>
              <a:gd name="T1" fmla="*/ 2147483647 h 246"/>
              <a:gd name="T2" fmla="*/ 2147483647 w 444"/>
              <a:gd name="T3" fmla="*/ 2147483647 h 246"/>
              <a:gd name="T4" fmla="*/ 2147483647 w 444"/>
              <a:gd name="T5" fmla="*/ 2147483647 h 246"/>
              <a:gd name="T6" fmla="*/ 2147483647 w 444"/>
              <a:gd name="T7" fmla="*/ 2147483647 h 246"/>
              <a:gd name="T8" fmla="*/ 2147483647 w 444"/>
              <a:gd name="T9" fmla="*/ 2147483647 h 246"/>
              <a:gd name="T10" fmla="*/ 2147483647 w 444"/>
              <a:gd name="T11" fmla="*/ 2147483647 h 246"/>
              <a:gd name="T12" fmla="*/ 2147483647 w 444"/>
              <a:gd name="T13" fmla="*/ 2147483647 h 246"/>
              <a:gd name="T14" fmla="*/ 2147483647 w 444"/>
              <a:gd name="T15" fmla="*/ 2147483647 h 246"/>
              <a:gd name="T16" fmla="*/ 2147483647 w 444"/>
              <a:gd name="T17" fmla="*/ 2147483647 h 246"/>
              <a:gd name="T18" fmla="*/ 2147483647 w 444"/>
              <a:gd name="T19" fmla="*/ 2147483647 h 246"/>
              <a:gd name="T20" fmla="*/ 2147483647 w 444"/>
              <a:gd name="T21" fmla="*/ 2147483647 h 246"/>
              <a:gd name="T22" fmla="*/ 2147483647 w 444"/>
              <a:gd name="T23" fmla="*/ 2147483647 h 246"/>
              <a:gd name="T24" fmla="*/ 2147483647 w 444"/>
              <a:gd name="T25" fmla="*/ 2147483647 h 246"/>
              <a:gd name="T26" fmla="*/ 2147483647 w 444"/>
              <a:gd name="T27" fmla="*/ 2147483647 h 246"/>
              <a:gd name="T28" fmla="*/ 2147483647 w 444"/>
              <a:gd name="T29" fmla="*/ 2147483647 h 246"/>
              <a:gd name="T30" fmla="*/ 2147483647 w 444"/>
              <a:gd name="T31" fmla="*/ 2147483647 h 246"/>
              <a:gd name="T32" fmla="*/ 2147483647 w 444"/>
              <a:gd name="T33" fmla="*/ 2147483647 h 246"/>
              <a:gd name="T34" fmla="*/ 2147483647 w 444"/>
              <a:gd name="T35" fmla="*/ 2147483647 h 246"/>
              <a:gd name="T36" fmla="*/ 2147483647 w 444"/>
              <a:gd name="T37" fmla="*/ 2147483647 h 246"/>
              <a:gd name="T38" fmla="*/ 2147483647 w 444"/>
              <a:gd name="T39" fmla="*/ 0 h 246"/>
              <a:gd name="T40" fmla="*/ 2147483647 w 444"/>
              <a:gd name="T41" fmla="*/ 2147483647 h 246"/>
              <a:gd name="T42" fmla="*/ 2147483647 w 444"/>
              <a:gd name="T43" fmla="*/ 2147483647 h 246"/>
              <a:gd name="T44" fmla="*/ 2147483647 w 444"/>
              <a:gd name="T45" fmla="*/ 0 h 246"/>
              <a:gd name="T46" fmla="*/ 2147483647 w 444"/>
              <a:gd name="T47" fmla="*/ 2147483647 h 246"/>
              <a:gd name="T48" fmla="*/ 2147483647 w 444"/>
              <a:gd name="T49" fmla="*/ 2147483647 h 246"/>
              <a:gd name="T50" fmla="*/ 2147483647 w 444"/>
              <a:gd name="T51" fmla="*/ 2147483647 h 246"/>
              <a:gd name="T52" fmla="*/ 2147483647 w 444"/>
              <a:gd name="T53" fmla="*/ 2147483647 h 246"/>
              <a:gd name="T54" fmla="*/ 2147483647 w 444"/>
              <a:gd name="T55" fmla="*/ 2147483647 h 246"/>
              <a:gd name="T56" fmla="*/ 2147483647 w 444"/>
              <a:gd name="T57" fmla="*/ 2147483647 h 246"/>
              <a:gd name="T58" fmla="*/ 2147483647 w 444"/>
              <a:gd name="T59" fmla="*/ 2147483647 h 246"/>
              <a:gd name="T60" fmla="*/ 2147483647 w 444"/>
              <a:gd name="T61" fmla="*/ 0 h 246"/>
              <a:gd name="T62" fmla="*/ 2147483647 w 444"/>
              <a:gd name="T63" fmla="*/ 2147483647 h 246"/>
              <a:gd name="T64" fmla="*/ 2147483647 w 444"/>
              <a:gd name="T65" fmla="*/ 2147483647 h 246"/>
              <a:gd name="T66" fmla="*/ 2147483647 w 444"/>
              <a:gd name="T67" fmla="*/ 2147483647 h 246"/>
              <a:gd name="T68" fmla="*/ 2147483647 w 444"/>
              <a:gd name="T69" fmla="*/ 2147483647 h 246"/>
              <a:gd name="T70" fmla="*/ 2147483647 w 444"/>
              <a:gd name="T71" fmla="*/ 2147483647 h 246"/>
              <a:gd name="T72" fmla="*/ 0 w 444"/>
              <a:gd name="T73" fmla="*/ 2147483647 h 246"/>
              <a:gd name="T74" fmla="*/ 2147483647 w 444"/>
              <a:gd name="T75" fmla="*/ 2147483647 h 246"/>
              <a:gd name="T76" fmla="*/ 2147483647 w 444"/>
              <a:gd name="T77" fmla="*/ 2147483647 h 246"/>
              <a:gd name="T78" fmla="*/ 2147483647 w 444"/>
              <a:gd name="T79" fmla="*/ 2147483647 h 246"/>
              <a:gd name="T80" fmla="*/ 2147483647 w 444"/>
              <a:gd name="T81" fmla="*/ 2147483647 h 246"/>
              <a:gd name="T82" fmla="*/ 2147483647 w 444"/>
              <a:gd name="T83" fmla="*/ 2147483647 h 246"/>
              <a:gd name="T84" fmla="*/ 2147483647 w 444"/>
              <a:gd name="T85" fmla="*/ 2147483647 h 246"/>
              <a:gd name="T86" fmla="*/ 2147483647 w 444"/>
              <a:gd name="T87" fmla="*/ 2147483647 h 24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44"/>
              <a:gd name="T133" fmla="*/ 0 h 246"/>
              <a:gd name="T134" fmla="*/ 444 w 444"/>
              <a:gd name="T135" fmla="*/ 246 h 24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44" h="246">
                <a:moveTo>
                  <a:pt x="156" y="240"/>
                </a:moveTo>
                <a:lnTo>
                  <a:pt x="156" y="222"/>
                </a:lnTo>
                <a:lnTo>
                  <a:pt x="174" y="222"/>
                </a:lnTo>
                <a:lnTo>
                  <a:pt x="168" y="216"/>
                </a:lnTo>
                <a:lnTo>
                  <a:pt x="168" y="204"/>
                </a:lnTo>
                <a:lnTo>
                  <a:pt x="162" y="198"/>
                </a:lnTo>
                <a:lnTo>
                  <a:pt x="162" y="186"/>
                </a:lnTo>
                <a:lnTo>
                  <a:pt x="168" y="180"/>
                </a:lnTo>
                <a:lnTo>
                  <a:pt x="204" y="180"/>
                </a:lnTo>
                <a:lnTo>
                  <a:pt x="210" y="168"/>
                </a:lnTo>
                <a:lnTo>
                  <a:pt x="216" y="162"/>
                </a:lnTo>
                <a:lnTo>
                  <a:pt x="228" y="162"/>
                </a:lnTo>
                <a:lnTo>
                  <a:pt x="228" y="168"/>
                </a:lnTo>
                <a:lnTo>
                  <a:pt x="234" y="174"/>
                </a:lnTo>
                <a:lnTo>
                  <a:pt x="252" y="174"/>
                </a:lnTo>
                <a:lnTo>
                  <a:pt x="276" y="150"/>
                </a:lnTo>
                <a:lnTo>
                  <a:pt x="288" y="126"/>
                </a:lnTo>
                <a:lnTo>
                  <a:pt x="306" y="126"/>
                </a:lnTo>
                <a:lnTo>
                  <a:pt x="306" y="108"/>
                </a:lnTo>
                <a:lnTo>
                  <a:pt x="318" y="96"/>
                </a:lnTo>
                <a:lnTo>
                  <a:pt x="330" y="96"/>
                </a:lnTo>
                <a:lnTo>
                  <a:pt x="348" y="114"/>
                </a:lnTo>
                <a:lnTo>
                  <a:pt x="360" y="114"/>
                </a:lnTo>
                <a:lnTo>
                  <a:pt x="372" y="102"/>
                </a:lnTo>
                <a:lnTo>
                  <a:pt x="372" y="96"/>
                </a:lnTo>
                <a:lnTo>
                  <a:pt x="420" y="96"/>
                </a:lnTo>
                <a:lnTo>
                  <a:pt x="426" y="90"/>
                </a:lnTo>
                <a:lnTo>
                  <a:pt x="432" y="90"/>
                </a:lnTo>
                <a:lnTo>
                  <a:pt x="444" y="84"/>
                </a:lnTo>
                <a:lnTo>
                  <a:pt x="444" y="78"/>
                </a:lnTo>
                <a:lnTo>
                  <a:pt x="426" y="60"/>
                </a:lnTo>
                <a:lnTo>
                  <a:pt x="402" y="48"/>
                </a:lnTo>
                <a:lnTo>
                  <a:pt x="396" y="48"/>
                </a:lnTo>
                <a:lnTo>
                  <a:pt x="390" y="42"/>
                </a:lnTo>
                <a:lnTo>
                  <a:pt x="384" y="30"/>
                </a:lnTo>
                <a:lnTo>
                  <a:pt x="372" y="24"/>
                </a:lnTo>
                <a:lnTo>
                  <a:pt x="366" y="18"/>
                </a:lnTo>
                <a:lnTo>
                  <a:pt x="348" y="18"/>
                </a:lnTo>
                <a:lnTo>
                  <a:pt x="342" y="6"/>
                </a:lnTo>
                <a:lnTo>
                  <a:pt x="336" y="0"/>
                </a:lnTo>
                <a:lnTo>
                  <a:pt x="312" y="0"/>
                </a:lnTo>
                <a:lnTo>
                  <a:pt x="300" y="6"/>
                </a:lnTo>
                <a:lnTo>
                  <a:pt x="294" y="12"/>
                </a:lnTo>
                <a:lnTo>
                  <a:pt x="282" y="12"/>
                </a:lnTo>
                <a:lnTo>
                  <a:pt x="270" y="0"/>
                </a:lnTo>
                <a:lnTo>
                  <a:pt x="252" y="0"/>
                </a:lnTo>
                <a:lnTo>
                  <a:pt x="240" y="6"/>
                </a:lnTo>
                <a:lnTo>
                  <a:pt x="234" y="18"/>
                </a:lnTo>
                <a:lnTo>
                  <a:pt x="222" y="24"/>
                </a:lnTo>
                <a:lnTo>
                  <a:pt x="186" y="24"/>
                </a:lnTo>
                <a:lnTo>
                  <a:pt x="174" y="18"/>
                </a:lnTo>
                <a:lnTo>
                  <a:pt x="168" y="12"/>
                </a:lnTo>
                <a:lnTo>
                  <a:pt x="156" y="12"/>
                </a:lnTo>
                <a:lnTo>
                  <a:pt x="150" y="18"/>
                </a:lnTo>
                <a:lnTo>
                  <a:pt x="144" y="18"/>
                </a:lnTo>
                <a:lnTo>
                  <a:pt x="138" y="24"/>
                </a:lnTo>
                <a:lnTo>
                  <a:pt x="132" y="24"/>
                </a:lnTo>
                <a:lnTo>
                  <a:pt x="132" y="18"/>
                </a:lnTo>
                <a:lnTo>
                  <a:pt x="126" y="12"/>
                </a:lnTo>
                <a:lnTo>
                  <a:pt x="126" y="6"/>
                </a:lnTo>
                <a:lnTo>
                  <a:pt x="120" y="0"/>
                </a:lnTo>
                <a:lnTo>
                  <a:pt x="114" y="0"/>
                </a:lnTo>
                <a:lnTo>
                  <a:pt x="96" y="18"/>
                </a:lnTo>
                <a:lnTo>
                  <a:pt x="90" y="18"/>
                </a:lnTo>
                <a:lnTo>
                  <a:pt x="84" y="30"/>
                </a:lnTo>
                <a:lnTo>
                  <a:pt x="72" y="36"/>
                </a:lnTo>
                <a:lnTo>
                  <a:pt x="60" y="48"/>
                </a:lnTo>
                <a:lnTo>
                  <a:pt x="48" y="54"/>
                </a:lnTo>
                <a:lnTo>
                  <a:pt x="36" y="66"/>
                </a:lnTo>
                <a:lnTo>
                  <a:pt x="24" y="72"/>
                </a:lnTo>
                <a:lnTo>
                  <a:pt x="18" y="84"/>
                </a:lnTo>
                <a:lnTo>
                  <a:pt x="18" y="102"/>
                </a:lnTo>
                <a:lnTo>
                  <a:pt x="12" y="114"/>
                </a:lnTo>
                <a:lnTo>
                  <a:pt x="0" y="126"/>
                </a:lnTo>
                <a:lnTo>
                  <a:pt x="6" y="138"/>
                </a:lnTo>
                <a:lnTo>
                  <a:pt x="18" y="150"/>
                </a:lnTo>
                <a:lnTo>
                  <a:pt x="42" y="150"/>
                </a:lnTo>
                <a:lnTo>
                  <a:pt x="42" y="168"/>
                </a:lnTo>
                <a:lnTo>
                  <a:pt x="48" y="174"/>
                </a:lnTo>
                <a:lnTo>
                  <a:pt x="60" y="174"/>
                </a:lnTo>
                <a:lnTo>
                  <a:pt x="66" y="168"/>
                </a:lnTo>
                <a:lnTo>
                  <a:pt x="102" y="168"/>
                </a:lnTo>
                <a:lnTo>
                  <a:pt x="102" y="210"/>
                </a:lnTo>
                <a:lnTo>
                  <a:pt x="126" y="222"/>
                </a:lnTo>
                <a:lnTo>
                  <a:pt x="132" y="228"/>
                </a:lnTo>
                <a:lnTo>
                  <a:pt x="132" y="246"/>
                </a:lnTo>
                <a:lnTo>
                  <a:pt x="144" y="246"/>
                </a:lnTo>
                <a:lnTo>
                  <a:pt x="156" y="24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8" name="Haiti"/>
          <p:cNvSpPr>
            <a:spLocks/>
          </p:cNvSpPr>
          <p:nvPr/>
        </p:nvSpPr>
        <p:spPr bwMode="gray">
          <a:xfrm>
            <a:off x="1921733" y="3615405"/>
            <a:ext cx="79375" cy="61913"/>
          </a:xfrm>
          <a:custGeom>
            <a:avLst/>
            <a:gdLst>
              <a:gd name="T0" fmla="*/ 2147483647 w 198"/>
              <a:gd name="T1" fmla="*/ 2147483647 h 156"/>
              <a:gd name="T2" fmla="*/ 2147483647 w 198"/>
              <a:gd name="T3" fmla="*/ 2147483647 h 156"/>
              <a:gd name="T4" fmla="*/ 2147483647 w 198"/>
              <a:gd name="T5" fmla="*/ 2147483647 h 156"/>
              <a:gd name="T6" fmla="*/ 2147483647 w 198"/>
              <a:gd name="T7" fmla="*/ 2147483647 h 156"/>
              <a:gd name="T8" fmla="*/ 2147483647 w 198"/>
              <a:gd name="T9" fmla="*/ 2147483647 h 156"/>
              <a:gd name="T10" fmla="*/ 2147483647 w 198"/>
              <a:gd name="T11" fmla="*/ 2147483647 h 156"/>
              <a:gd name="T12" fmla="*/ 2147483647 w 198"/>
              <a:gd name="T13" fmla="*/ 2147483647 h 156"/>
              <a:gd name="T14" fmla="*/ 2147483647 w 198"/>
              <a:gd name="T15" fmla="*/ 2147483647 h 156"/>
              <a:gd name="T16" fmla="*/ 2147483647 w 198"/>
              <a:gd name="T17" fmla="*/ 2147483647 h 156"/>
              <a:gd name="T18" fmla="*/ 2147483647 w 198"/>
              <a:gd name="T19" fmla="*/ 2147483647 h 156"/>
              <a:gd name="T20" fmla="*/ 2147483647 w 198"/>
              <a:gd name="T21" fmla="*/ 2147483647 h 156"/>
              <a:gd name="T22" fmla="*/ 2147483647 w 198"/>
              <a:gd name="T23" fmla="*/ 2147483647 h 156"/>
              <a:gd name="T24" fmla="*/ 2147483647 w 198"/>
              <a:gd name="T25" fmla="*/ 2147483647 h 156"/>
              <a:gd name="T26" fmla="*/ 2147483647 w 198"/>
              <a:gd name="T27" fmla="*/ 2147483647 h 156"/>
              <a:gd name="T28" fmla="*/ 2147483647 w 198"/>
              <a:gd name="T29" fmla="*/ 2147483647 h 156"/>
              <a:gd name="T30" fmla="*/ 2147483647 w 198"/>
              <a:gd name="T31" fmla="*/ 2147483647 h 156"/>
              <a:gd name="T32" fmla="*/ 2147483647 w 198"/>
              <a:gd name="T33" fmla="*/ 2147483647 h 156"/>
              <a:gd name="T34" fmla="*/ 2147483647 w 198"/>
              <a:gd name="T35" fmla="*/ 0 h 156"/>
              <a:gd name="T36" fmla="*/ 2147483647 w 198"/>
              <a:gd name="T37" fmla="*/ 0 h 156"/>
              <a:gd name="T38" fmla="*/ 2147483647 w 198"/>
              <a:gd name="T39" fmla="*/ 2147483647 h 156"/>
              <a:gd name="T40" fmla="*/ 2147483647 w 198"/>
              <a:gd name="T41" fmla="*/ 2147483647 h 156"/>
              <a:gd name="T42" fmla="*/ 2147483647 w 198"/>
              <a:gd name="T43" fmla="*/ 2147483647 h 156"/>
              <a:gd name="T44" fmla="*/ 2147483647 w 198"/>
              <a:gd name="T45" fmla="*/ 2147483647 h 156"/>
              <a:gd name="T46" fmla="*/ 2147483647 w 198"/>
              <a:gd name="T47" fmla="*/ 2147483647 h 156"/>
              <a:gd name="T48" fmla="*/ 2147483647 w 198"/>
              <a:gd name="T49" fmla="*/ 2147483647 h 156"/>
              <a:gd name="T50" fmla="*/ 2147483647 w 198"/>
              <a:gd name="T51" fmla="*/ 2147483647 h 156"/>
              <a:gd name="T52" fmla="*/ 2147483647 w 198"/>
              <a:gd name="T53" fmla="*/ 2147483647 h 156"/>
              <a:gd name="T54" fmla="*/ 2147483647 w 198"/>
              <a:gd name="T55" fmla="*/ 2147483647 h 156"/>
              <a:gd name="T56" fmla="*/ 2147483647 w 198"/>
              <a:gd name="T57" fmla="*/ 2147483647 h 156"/>
              <a:gd name="T58" fmla="*/ 2147483647 w 198"/>
              <a:gd name="T59" fmla="*/ 2147483647 h 156"/>
              <a:gd name="T60" fmla="*/ 2147483647 w 198"/>
              <a:gd name="T61" fmla="*/ 2147483647 h 156"/>
              <a:gd name="T62" fmla="*/ 2147483647 w 198"/>
              <a:gd name="T63" fmla="*/ 2147483647 h 156"/>
              <a:gd name="T64" fmla="*/ 2147483647 w 198"/>
              <a:gd name="T65" fmla="*/ 2147483647 h 156"/>
              <a:gd name="T66" fmla="*/ 2147483647 w 198"/>
              <a:gd name="T67" fmla="*/ 2147483647 h 156"/>
              <a:gd name="T68" fmla="*/ 2147483647 w 198"/>
              <a:gd name="T69" fmla="*/ 2147483647 h 156"/>
              <a:gd name="T70" fmla="*/ 2147483647 w 198"/>
              <a:gd name="T71" fmla="*/ 2147483647 h 156"/>
              <a:gd name="T72" fmla="*/ 2147483647 w 198"/>
              <a:gd name="T73" fmla="*/ 2147483647 h 156"/>
              <a:gd name="T74" fmla="*/ 2147483647 w 198"/>
              <a:gd name="T75" fmla="*/ 2147483647 h 156"/>
              <a:gd name="T76" fmla="*/ 2147483647 w 198"/>
              <a:gd name="T77" fmla="*/ 2147483647 h 156"/>
              <a:gd name="T78" fmla="*/ 2147483647 w 198"/>
              <a:gd name="T79" fmla="*/ 2147483647 h 156"/>
              <a:gd name="T80" fmla="*/ 2147483647 w 198"/>
              <a:gd name="T81" fmla="*/ 2147483647 h 156"/>
              <a:gd name="T82" fmla="*/ 0 w 198"/>
              <a:gd name="T83" fmla="*/ 2147483647 h 156"/>
              <a:gd name="T84" fmla="*/ 0 w 198"/>
              <a:gd name="T85" fmla="*/ 2147483647 h 156"/>
              <a:gd name="T86" fmla="*/ 2147483647 w 198"/>
              <a:gd name="T87" fmla="*/ 2147483647 h 156"/>
              <a:gd name="T88" fmla="*/ 2147483647 w 198"/>
              <a:gd name="T89" fmla="*/ 2147483647 h 156"/>
              <a:gd name="T90" fmla="*/ 2147483647 w 198"/>
              <a:gd name="T91" fmla="*/ 2147483647 h 156"/>
              <a:gd name="T92" fmla="*/ 2147483647 w 198"/>
              <a:gd name="T93" fmla="*/ 2147483647 h 156"/>
              <a:gd name="T94" fmla="*/ 2147483647 w 198"/>
              <a:gd name="T95" fmla="*/ 2147483647 h 156"/>
              <a:gd name="T96" fmla="*/ 2147483647 w 198"/>
              <a:gd name="T97" fmla="*/ 2147483647 h 156"/>
              <a:gd name="T98" fmla="*/ 2147483647 w 198"/>
              <a:gd name="T99" fmla="*/ 2147483647 h 156"/>
              <a:gd name="T100" fmla="*/ 2147483647 w 198"/>
              <a:gd name="T101" fmla="*/ 2147483647 h 156"/>
              <a:gd name="T102" fmla="*/ 2147483647 w 198"/>
              <a:gd name="T103" fmla="*/ 2147483647 h 156"/>
              <a:gd name="T104" fmla="*/ 2147483647 w 198"/>
              <a:gd name="T105" fmla="*/ 2147483647 h 156"/>
              <a:gd name="T106" fmla="*/ 2147483647 w 198"/>
              <a:gd name="T107" fmla="*/ 2147483647 h 156"/>
              <a:gd name="T108" fmla="*/ 2147483647 w 198"/>
              <a:gd name="T109" fmla="*/ 2147483647 h 156"/>
              <a:gd name="T110" fmla="*/ 2147483647 w 198"/>
              <a:gd name="T111" fmla="*/ 2147483647 h 156"/>
              <a:gd name="T112" fmla="*/ 2147483647 w 198"/>
              <a:gd name="T113" fmla="*/ 2147483647 h 15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8"/>
              <a:gd name="T172" fmla="*/ 0 h 156"/>
              <a:gd name="T173" fmla="*/ 198 w 198"/>
              <a:gd name="T174" fmla="*/ 156 h 15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8" h="156">
                <a:moveTo>
                  <a:pt x="168" y="114"/>
                </a:moveTo>
                <a:lnTo>
                  <a:pt x="168" y="108"/>
                </a:lnTo>
                <a:lnTo>
                  <a:pt x="174" y="102"/>
                </a:lnTo>
                <a:lnTo>
                  <a:pt x="180" y="90"/>
                </a:lnTo>
                <a:lnTo>
                  <a:pt x="180" y="78"/>
                </a:lnTo>
                <a:lnTo>
                  <a:pt x="186" y="72"/>
                </a:lnTo>
                <a:lnTo>
                  <a:pt x="192" y="60"/>
                </a:lnTo>
                <a:lnTo>
                  <a:pt x="198" y="54"/>
                </a:lnTo>
                <a:lnTo>
                  <a:pt x="198" y="42"/>
                </a:lnTo>
                <a:lnTo>
                  <a:pt x="186" y="6"/>
                </a:lnTo>
                <a:lnTo>
                  <a:pt x="180" y="12"/>
                </a:lnTo>
                <a:lnTo>
                  <a:pt x="180" y="18"/>
                </a:lnTo>
                <a:lnTo>
                  <a:pt x="174" y="18"/>
                </a:lnTo>
                <a:lnTo>
                  <a:pt x="168" y="12"/>
                </a:lnTo>
                <a:lnTo>
                  <a:pt x="156" y="12"/>
                </a:lnTo>
                <a:lnTo>
                  <a:pt x="144" y="6"/>
                </a:lnTo>
                <a:lnTo>
                  <a:pt x="126" y="6"/>
                </a:lnTo>
                <a:lnTo>
                  <a:pt x="114" y="0"/>
                </a:lnTo>
                <a:lnTo>
                  <a:pt x="84" y="0"/>
                </a:lnTo>
                <a:lnTo>
                  <a:pt x="72" y="6"/>
                </a:lnTo>
                <a:lnTo>
                  <a:pt x="66" y="12"/>
                </a:lnTo>
                <a:lnTo>
                  <a:pt x="66" y="18"/>
                </a:lnTo>
                <a:lnTo>
                  <a:pt x="72" y="24"/>
                </a:lnTo>
                <a:lnTo>
                  <a:pt x="108" y="24"/>
                </a:lnTo>
                <a:lnTo>
                  <a:pt x="114" y="30"/>
                </a:lnTo>
                <a:lnTo>
                  <a:pt x="120" y="42"/>
                </a:lnTo>
                <a:lnTo>
                  <a:pt x="126" y="48"/>
                </a:lnTo>
                <a:lnTo>
                  <a:pt x="114" y="54"/>
                </a:lnTo>
                <a:lnTo>
                  <a:pt x="108" y="60"/>
                </a:lnTo>
                <a:lnTo>
                  <a:pt x="108" y="72"/>
                </a:lnTo>
                <a:lnTo>
                  <a:pt x="114" y="84"/>
                </a:lnTo>
                <a:lnTo>
                  <a:pt x="114" y="96"/>
                </a:lnTo>
                <a:lnTo>
                  <a:pt x="120" y="102"/>
                </a:lnTo>
                <a:lnTo>
                  <a:pt x="114" y="108"/>
                </a:lnTo>
                <a:lnTo>
                  <a:pt x="96" y="108"/>
                </a:lnTo>
                <a:lnTo>
                  <a:pt x="78" y="102"/>
                </a:lnTo>
                <a:lnTo>
                  <a:pt x="66" y="102"/>
                </a:lnTo>
                <a:lnTo>
                  <a:pt x="54" y="96"/>
                </a:lnTo>
                <a:lnTo>
                  <a:pt x="36" y="96"/>
                </a:lnTo>
                <a:lnTo>
                  <a:pt x="24" y="102"/>
                </a:lnTo>
                <a:lnTo>
                  <a:pt x="6" y="102"/>
                </a:lnTo>
                <a:lnTo>
                  <a:pt x="0" y="108"/>
                </a:lnTo>
                <a:lnTo>
                  <a:pt x="0" y="114"/>
                </a:lnTo>
                <a:lnTo>
                  <a:pt x="6" y="120"/>
                </a:lnTo>
                <a:lnTo>
                  <a:pt x="12" y="132"/>
                </a:lnTo>
                <a:lnTo>
                  <a:pt x="24" y="138"/>
                </a:lnTo>
                <a:lnTo>
                  <a:pt x="30" y="150"/>
                </a:lnTo>
                <a:lnTo>
                  <a:pt x="36" y="156"/>
                </a:lnTo>
                <a:lnTo>
                  <a:pt x="42" y="156"/>
                </a:lnTo>
                <a:lnTo>
                  <a:pt x="48" y="150"/>
                </a:lnTo>
                <a:lnTo>
                  <a:pt x="54" y="138"/>
                </a:lnTo>
                <a:lnTo>
                  <a:pt x="60" y="132"/>
                </a:lnTo>
                <a:lnTo>
                  <a:pt x="138" y="132"/>
                </a:lnTo>
                <a:lnTo>
                  <a:pt x="156" y="126"/>
                </a:lnTo>
                <a:lnTo>
                  <a:pt x="168" y="126"/>
                </a:lnTo>
                <a:lnTo>
                  <a:pt x="180" y="144"/>
                </a:lnTo>
                <a:lnTo>
                  <a:pt x="168" y="11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9" name="Guyane (French Guiana)"/>
          <p:cNvSpPr>
            <a:spLocks/>
          </p:cNvSpPr>
          <p:nvPr/>
        </p:nvSpPr>
        <p:spPr bwMode="gray">
          <a:xfrm>
            <a:off x="2450371" y="4072605"/>
            <a:ext cx="82550" cy="119063"/>
          </a:xfrm>
          <a:custGeom>
            <a:avLst/>
            <a:gdLst>
              <a:gd name="T0" fmla="*/ 2147483647 w 52"/>
              <a:gd name="T1" fmla="*/ 2147483647 h 76"/>
              <a:gd name="T2" fmla="*/ 2147483647 w 52"/>
              <a:gd name="T3" fmla="*/ 2147483647 h 76"/>
              <a:gd name="T4" fmla="*/ 2147483647 w 52"/>
              <a:gd name="T5" fmla="*/ 2147483647 h 76"/>
              <a:gd name="T6" fmla="*/ 2147483647 w 52"/>
              <a:gd name="T7" fmla="*/ 2147483647 h 76"/>
              <a:gd name="T8" fmla="*/ 2147483647 w 52"/>
              <a:gd name="T9" fmla="*/ 2147483647 h 76"/>
              <a:gd name="T10" fmla="*/ 2147483647 w 52"/>
              <a:gd name="T11" fmla="*/ 2147483647 h 76"/>
              <a:gd name="T12" fmla="*/ 2147483647 w 52"/>
              <a:gd name="T13" fmla="*/ 2147483647 h 76"/>
              <a:gd name="T14" fmla="*/ 2147483647 w 52"/>
              <a:gd name="T15" fmla="*/ 2147483647 h 76"/>
              <a:gd name="T16" fmla="*/ 2147483647 w 52"/>
              <a:gd name="T17" fmla="*/ 2147483647 h 76"/>
              <a:gd name="T18" fmla="*/ 2147483647 w 52"/>
              <a:gd name="T19" fmla="*/ 2147483647 h 76"/>
              <a:gd name="T20" fmla="*/ 2147483647 w 52"/>
              <a:gd name="T21" fmla="*/ 2147483647 h 76"/>
              <a:gd name="T22" fmla="*/ 2147483647 w 52"/>
              <a:gd name="T23" fmla="*/ 0 h 76"/>
              <a:gd name="T24" fmla="*/ 2147483647 w 52"/>
              <a:gd name="T25" fmla="*/ 2147483647 h 76"/>
              <a:gd name="T26" fmla="*/ 2147483647 w 52"/>
              <a:gd name="T27" fmla="*/ 2147483647 h 76"/>
              <a:gd name="T28" fmla="*/ 2147483647 w 52"/>
              <a:gd name="T29" fmla="*/ 2147483647 h 76"/>
              <a:gd name="T30" fmla="*/ 2147483647 w 52"/>
              <a:gd name="T31" fmla="*/ 2147483647 h 76"/>
              <a:gd name="T32" fmla="*/ 2147483647 w 52"/>
              <a:gd name="T33" fmla="*/ 2147483647 h 76"/>
              <a:gd name="T34" fmla="*/ 2147483647 w 52"/>
              <a:gd name="T35" fmla="*/ 2147483647 h 76"/>
              <a:gd name="T36" fmla="*/ 2147483647 w 52"/>
              <a:gd name="T37" fmla="*/ 2147483647 h 76"/>
              <a:gd name="T38" fmla="*/ 2147483647 w 52"/>
              <a:gd name="T39" fmla="*/ 2147483647 h 76"/>
              <a:gd name="T40" fmla="*/ 2147483647 w 52"/>
              <a:gd name="T41" fmla="*/ 2147483647 h 76"/>
              <a:gd name="T42" fmla="*/ 2147483647 w 52"/>
              <a:gd name="T43" fmla="*/ 2147483647 h 76"/>
              <a:gd name="T44" fmla="*/ 2147483647 w 52"/>
              <a:gd name="T45" fmla="*/ 2147483647 h 76"/>
              <a:gd name="T46" fmla="*/ 2147483647 w 52"/>
              <a:gd name="T47" fmla="*/ 2147483647 h 76"/>
              <a:gd name="T48" fmla="*/ 2147483647 w 52"/>
              <a:gd name="T49" fmla="*/ 2147483647 h 76"/>
              <a:gd name="T50" fmla="*/ 2147483647 w 52"/>
              <a:gd name="T51" fmla="*/ 2147483647 h 76"/>
              <a:gd name="T52" fmla="*/ 2147483647 w 52"/>
              <a:gd name="T53" fmla="*/ 2147483647 h 76"/>
              <a:gd name="T54" fmla="*/ 2147483647 w 52"/>
              <a:gd name="T55" fmla="*/ 2147483647 h 76"/>
              <a:gd name="T56" fmla="*/ 2147483647 w 52"/>
              <a:gd name="T57" fmla="*/ 2147483647 h 76"/>
              <a:gd name="T58" fmla="*/ 2147483647 w 52"/>
              <a:gd name="T59" fmla="*/ 2147483647 h 76"/>
              <a:gd name="T60" fmla="*/ 2147483647 w 52"/>
              <a:gd name="T61" fmla="*/ 2147483647 h 76"/>
              <a:gd name="T62" fmla="*/ 2147483647 w 52"/>
              <a:gd name="T63" fmla="*/ 2147483647 h 76"/>
              <a:gd name="T64" fmla="*/ 0 w 52"/>
              <a:gd name="T65" fmla="*/ 2147483647 h 76"/>
              <a:gd name="T66" fmla="*/ 0 w 52"/>
              <a:gd name="T67" fmla="*/ 2147483647 h 76"/>
              <a:gd name="T68" fmla="*/ 2147483647 w 52"/>
              <a:gd name="T69" fmla="*/ 2147483647 h 76"/>
              <a:gd name="T70" fmla="*/ 2147483647 w 52"/>
              <a:gd name="T71" fmla="*/ 2147483647 h 76"/>
              <a:gd name="T72" fmla="*/ 2147483647 w 52"/>
              <a:gd name="T73" fmla="*/ 2147483647 h 76"/>
              <a:gd name="T74" fmla="*/ 2147483647 w 52"/>
              <a:gd name="T75" fmla="*/ 2147483647 h 76"/>
              <a:gd name="T76" fmla="*/ 2147483647 w 52"/>
              <a:gd name="T77" fmla="*/ 2147483647 h 76"/>
              <a:gd name="T78" fmla="*/ 2147483647 w 52"/>
              <a:gd name="T79" fmla="*/ 2147483647 h 76"/>
              <a:gd name="T80" fmla="*/ 2147483647 w 52"/>
              <a:gd name="T81" fmla="*/ 2147483647 h 76"/>
              <a:gd name="T82" fmla="*/ 2147483647 w 52"/>
              <a:gd name="T83" fmla="*/ 2147483647 h 76"/>
              <a:gd name="T84" fmla="*/ 2147483647 w 52"/>
              <a:gd name="T85" fmla="*/ 2147483647 h 76"/>
              <a:gd name="T86" fmla="*/ 2147483647 w 52"/>
              <a:gd name="T87" fmla="*/ 2147483647 h 76"/>
              <a:gd name="T88" fmla="*/ 2147483647 w 52"/>
              <a:gd name="T89" fmla="*/ 2147483647 h 76"/>
              <a:gd name="T90" fmla="*/ 2147483647 w 52"/>
              <a:gd name="T91" fmla="*/ 2147483647 h 76"/>
              <a:gd name="T92" fmla="*/ 2147483647 w 52"/>
              <a:gd name="T93" fmla="*/ 2147483647 h 76"/>
              <a:gd name="T94" fmla="*/ 2147483647 w 52"/>
              <a:gd name="T95" fmla="*/ 2147483647 h 76"/>
              <a:gd name="T96" fmla="*/ 2147483647 w 52"/>
              <a:gd name="T97" fmla="*/ 2147483647 h 76"/>
              <a:gd name="T98" fmla="*/ 2147483647 w 52"/>
              <a:gd name="T99" fmla="*/ 2147483647 h 76"/>
              <a:gd name="T100" fmla="*/ 2147483647 w 52"/>
              <a:gd name="T101" fmla="*/ 2147483647 h 76"/>
              <a:gd name="T102" fmla="*/ 2147483647 w 52"/>
              <a:gd name="T103" fmla="*/ 2147483647 h 76"/>
              <a:gd name="T104" fmla="*/ 2147483647 w 52"/>
              <a:gd name="T105" fmla="*/ 2147483647 h 76"/>
              <a:gd name="T106" fmla="*/ 2147483647 w 52"/>
              <a:gd name="T107" fmla="*/ 2147483647 h 76"/>
              <a:gd name="T108" fmla="*/ 2147483647 w 52"/>
              <a:gd name="T109" fmla="*/ 2147483647 h 76"/>
              <a:gd name="T110" fmla="*/ 2147483647 w 52"/>
              <a:gd name="T111" fmla="*/ 2147483647 h 76"/>
              <a:gd name="T112" fmla="*/ 2147483647 w 52"/>
              <a:gd name="T113" fmla="*/ 2147483647 h 76"/>
              <a:gd name="T114" fmla="*/ 2147483647 w 52"/>
              <a:gd name="T115" fmla="*/ 2147483647 h 7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2"/>
              <a:gd name="T175" fmla="*/ 0 h 76"/>
              <a:gd name="T176" fmla="*/ 52 w 52"/>
              <a:gd name="T177" fmla="*/ 76 h 7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2" h="76">
                <a:moveTo>
                  <a:pt x="52" y="32"/>
                </a:moveTo>
                <a:lnTo>
                  <a:pt x="50" y="26"/>
                </a:lnTo>
                <a:lnTo>
                  <a:pt x="48" y="24"/>
                </a:lnTo>
                <a:lnTo>
                  <a:pt x="46" y="22"/>
                </a:lnTo>
                <a:lnTo>
                  <a:pt x="46" y="20"/>
                </a:lnTo>
                <a:lnTo>
                  <a:pt x="40" y="20"/>
                </a:lnTo>
                <a:lnTo>
                  <a:pt x="32" y="6"/>
                </a:lnTo>
                <a:lnTo>
                  <a:pt x="24" y="6"/>
                </a:lnTo>
                <a:lnTo>
                  <a:pt x="22" y="4"/>
                </a:lnTo>
                <a:lnTo>
                  <a:pt x="20" y="4"/>
                </a:lnTo>
                <a:lnTo>
                  <a:pt x="16" y="2"/>
                </a:lnTo>
                <a:lnTo>
                  <a:pt x="14" y="0"/>
                </a:lnTo>
                <a:lnTo>
                  <a:pt x="12" y="4"/>
                </a:lnTo>
                <a:lnTo>
                  <a:pt x="12" y="10"/>
                </a:lnTo>
                <a:lnTo>
                  <a:pt x="10" y="10"/>
                </a:lnTo>
                <a:lnTo>
                  <a:pt x="8" y="12"/>
                </a:lnTo>
                <a:lnTo>
                  <a:pt x="6" y="14"/>
                </a:lnTo>
                <a:lnTo>
                  <a:pt x="4" y="16"/>
                </a:lnTo>
                <a:lnTo>
                  <a:pt x="2" y="20"/>
                </a:lnTo>
                <a:lnTo>
                  <a:pt x="2" y="28"/>
                </a:lnTo>
                <a:lnTo>
                  <a:pt x="4" y="32"/>
                </a:lnTo>
                <a:lnTo>
                  <a:pt x="4" y="36"/>
                </a:lnTo>
                <a:lnTo>
                  <a:pt x="6" y="40"/>
                </a:lnTo>
                <a:lnTo>
                  <a:pt x="10" y="44"/>
                </a:lnTo>
                <a:lnTo>
                  <a:pt x="12" y="46"/>
                </a:lnTo>
                <a:lnTo>
                  <a:pt x="12" y="48"/>
                </a:lnTo>
                <a:lnTo>
                  <a:pt x="6" y="54"/>
                </a:lnTo>
                <a:lnTo>
                  <a:pt x="8" y="62"/>
                </a:lnTo>
                <a:lnTo>
                  <a:pt x="6" y="64"/>
                </a:lnTo>
                <a:lnTo>
                  <a:pt x="4" y="64"/>
                </a:lnTo>
                <a:lnTo>
                  <a:pt x="4" y="66"/>
                </a:lnTo>
                <a:lnTo>
                  <a:pt x="2" y="68"/>
                </a:lnTo>
                <a:lnTo>
                  <a:pt x="0" y="72"/>
                </a:lnTo>
                <a:lnTo>
                  <a:pt x="4" y="76"/>
                </a:lnTo>
                <a:lnTo>
                  <a:pt x="10" y="76"/>
                </a:lnTo>
                <a:lnTo>
                  <a:pt x="12" y="74"/>
                </a:lnTo>
                <a:lnTo>
                  <a:pt x="12" y="72"/>
                </a:lnTo>
                <a:lnTo>
                  <a:pt x="14" y="72"/>
                </a:lnTo>
                <a:lnTo>
                  <a:pt x="16" y="72"/>
                </a:lnTo>
                <a:lnTo>
                  <a:pt x="18" y="72"/>
                </a:lnTo>
                <a:lnTo>
                  <a:pt x="20" y="72"/>
                </a:lnTo>
                <a:lnTo>
                  <a:pt x="22" y="72"/>
                </a:lnTo>
                <a:lnTo>
                  <a:pt x="26" y="74"/>
                </a:lnTo>
                <a:lnTo>
                  <a:pt x="30" y="74"/>
                </a:lnTo>
                <a:lnTo>
                  <a:pt x="32" y="72"/>
                </a:lnTo>
                <a:lnTo>
                  <a:pt x="40" y="64"/>
                </a:lnTo>
                <a:lnTo>
                  <a:pt x="40" y="60"/>
                </a:lnTo>
                <a:lnTo>
                  <a:pt x="44" y="50"/>
                </a:lnTo>
                <a:lnTo>
                  <a:pt x="46" y="46"/>
                </a:lnTo>
                <a:lnTo>
                  <a:pt x="48" y="44"/>
                </a:lnTo>
                <a:lnTo>
                  <a:pt x="50" y="42"/>
                </a:lnTo>
                <a:lnTo>
                  <a:pt x="50" y="40"/>
                </a:lnTo>
                <a:lnTo>
                  <a:pt x="52" y="38"/>
                </a:lnTo>
                <a:lnTo>
                  <a:pt x="52" y="36"/>
                </a:lnTo>
                <a:lnTo>
                  <a:pt x="52" y="34"/>
                </a:lnTo>
                <a:lnTo>
                  <a:pt x="52" y="3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0" name="Guyana"/>
          <p:cNvSpPr>
            <a:spLocks/>
          </p:cNvSpPr>
          <p:nvPr/>
        </p:nvSpPr>
        <p:spPr bwMode="gray">
          <a:xfrm>
            <a:off x="2258283" y="3985293"/>
            <a:ext cx="131763" cy="234950"/>
          </a:xfrm>
          <a:custGeom>
            <a:avLst/>
            <a:gdLst>
              <a:gd name="T0" fmla="*/ 2147483647 w 324"/>
              <a:gd name="T1" fmla="*/ 2147483647 h 582"/>
              <a:gd name="T2" fmla="*/ 2147483647 w 324"/>
              <a:gd name="T3" fmla="*/ 2147483647 h 582"/>
              <a:gd name="T4" fmla="*/ 2147483647 w 324"/>
              <a:gd name="T5" fmla="*/ 2147483647 h 582"/>
              <a:gd name="T6" fmla="*/ 2147483647 w 324"/>
              <a:gd name="T7" fmla="*/ 2147483647 h 582"/>
              <a:gd name="T8" fmla="*/ 2147483647 w 324"/>
              <a:gd name="T9" fmla="*/ 2147483647 h 582"/>
              <a:gd name="T10" fmla="*/ 2147483647 w 324"/>
              <a:gd name="T11" fmla="*/ 2147483647 h 582"/>
              <a:gd name="T12" fmla="*/ 2147483647 w 324"/>
              <a:gd name="T13" fmla="*/ 2147483647 h 582"/>
              <a:gd name="T14" fmla="*/ 2147483647 w 324"/>
              <a:gd name="T15" fmla="*/ 2147483647 h 582"/>
              <a:gd name="T16" fmla="*/ 0 w 324"/>
              <a:gd name="T17" fmla="*/ 2147483647 h 582"/>
              <a:gd name="T18" fmla="*/ 2147483647 w 324"/>
              <a:gd name="T19" fmla="*/ 2147483647 h 582"/>
              <a:gd name="T20" fmla="*/ 2147483647 w 324"/>
              <a:gd name="T21" fmla="*/ 2147483647 h 582"/>
              <a:gd name="T22" fmla="*/ 2147483647 w 324"/>
              <a:gd name="T23" fmla="*/ 2147483647 h 582"/>
              <a:gd name="T24" fmla="*/ 2147483647 w 324"/>
              <a:gd name="T25" fmla="*/ 2147483647 h 582"/>
              <a:gd name="T26" fmla="*/ 2147483647 w 324"/>
              <a:gd name="T27" fmla="*/ 2147483647 h 582"/>
              <a:gd name="T28" fmla="*/ 2147483647 w 324"/>
              <a:gd name="T29" fmla="*/ 2147483647 h 582"/>
              <a:gd name="T30" fmla="*/ 2147483647 w 324"/>
              <a:gd name="T31" fmla="*/ 2147483647 h 582"/>
              <a:gd name="T32" fmla="*/ 2147483647 w 324"/>
              <a:gd name="T33" fmla="*/ 2147483647 h 582"/>
              <a:gd name="T34" fmla="*/ 2147483647 w 324"/>
              <a:gd name="T35" fmla="*/ 2147483647 h 582"/>
              <a:gd name="T36" fmla="*/ 2147483647 w 324"/>
              <a:gd name="T37" fmla="*/ 2147483647 h 582"/>
              <a:gd name="T38" fmla="*/ 2147483647 w 324"/>
              <a:gd name="T39" fmla="*/ 2147483647 h 582"/>
              <a:gd name="T40" fmla="*/ 2147483647 w 324"/>
              <a:gd name="T41" fmla="*/ 2147483647 h 582"/>
              <a:gd name="T42" fmla="*/ 2147483647 w 324"/>
              <a:gd name="T43" fmla="*/ 2147483647 h 582"/>
              <a:gd name="T44" fmla="*/ 2147483647 w 324"/>
              <a:gd name="T45" fmla="*/ 2147483647 h 582"/>
              <a:gd name="T46" fmla="*/ 2147483647 w 324"/>
              <a:gd name="T47" fmla="*/ 2147483647 h 582"/>
              <a:gd name="T48" fmla="*/ 2147483647 w 324"/>
              <a:gd name="T49" fmla="*/ 2147483647 h 582"/>
              <a:gd name="T50" fmla="*/ 2147483647 w 324"/>
              <a:gd name="T51" fmla="*/ 2147483647 h 582"/>
              <a:gd name="T52" fmla="*/ 2147483647 w 324"/>
              <a:gd name="T53" fmla="*/ 2147483647 h 582"/>
              <a:gd name="T54" fmla="*/ 2147483647 w 324"/>
              <a:gd name="T55" fmla="*/ 2147483647 h 582"/>
              <a:gd name="T56" fmla="*/ 2147483647 w 324"/>
              <a:gd name="T57" fmla="*/ 2147483647 h 582"/>
              <a:gd name="T58" fmla="*/ 2147483647 w 324"/>
              <a:gd name="T59" fmla="*/ 2147483647 h 582"/>
              <a:gd name="T60" fmla="*/ 2147483647 w 324"/>
              <a:gd name="T61" fmla="*/ 2147483647 h 582"/>
              <a:gd name="T62" fmla="*/ 2147483647 w 324"/>
              <a:gd name="T63" fmla="*/ 2147483647 h 582"/>
              <a:gd name="T64" fmla="*/ 2147483647 w 324"/>
              <a:gd name="T65" fmla="*/ 2147483647 h 582"/>
              <a:gd name="T66" fmla="*/ 2147483647 w 324"/>
              <a:gd name="T67" fmla="*/ 2147483647 h 582"/>
              <a:gd name="T68" fmla="*/ 2147483647 w 324"/>
              <a:gd name="T69" fmla="*/ 2147483647 h 582"/>
              <a:gd name="T70" fmla="*/ 2147483647 w 324"/>
              <a:gd name="T71" fmla="*/ 2147483647 h 582"/>
              <a:gd name="T72" fmla="*/ 2147483647 w 324"/>
              <a:gd name="T73" fmla="*/ 2147483647 h 582"/>
              <a:gd name="T74" fmla="*/ 2147483647 w 324"/>
              <a:gd name="T75" fmla="*/ 2147483647 h 582"/>
              <a:gd name="T76" fmla="*/ 2147483647 w 324"/>
              <a:gd name="T77" fmla="*/ 2147483647 h 582"/>
              <a:gd name="T78" fmla="*/ 2147483647 w 324"/>
              <a:gd name="T79" fmla="*/ 2147483647 h 582"/>
              <a:gd name="T80" fmla="*/ 2147483647 w 324"/>
              <a:gd name="T81" fmla="*/ 2147483647 h 582"/>
              <a:gd name="T82" fmla="*/ 2147483647 w 324"/>
              <a:gd name="T83" fmla="*/ 2147483647 h 582"/>
              <a:gd name="T84" fmla="*/ 2147483647 w 324"/>
              <a:gd name="T85" fmla="*/ 2147483647 h 582"/>
              <a:gd name="T86" fmla="*/ 2147483647 w 324"/>
              <a:gd name="T87" fmla="*/ 2147483647 h 582"/>
              <a:gd name="T88" fmla="*/ 2147483647 w 324"/>
              <a:gd name="T89" fmla="*/ 2147483647 h 582"/>
              <a:gd name="T90" fmla="*/ 2147483647 w 324"/>
              <a:gd name="T91" fmla="*/ 2147483647 h 582"/>
              <a:gd name="T92" fmla="*/ 2147483647 w 324"/>
              <a:gd name="T93" fmla="*/ 2147483647 h 582"/>
              <a:gd name="T94" fmla="*/ 2147483647 w 324"/>
              <a:gd name="T95" fmla="*/ 2147483647 h 582"/>
              <a:gd name="T96" fmla="*/ 2147483647 w 324"/>
              <a:gd name="T97" fmla="*/ 2147483647 h 582"/>
              <a:gd name="T98" fmla="*/ 2147483647 w 324"/>
              <a:gd name="T99" fmla="*/ 2147483647 h 582"/>
              <a:gd name="T100" fmla="*/ 2147483647 w 324"/>
              <a:gd name="T101" fmla="*/ 2147483647 h 582"/>
              <a:gd name="T102" fmla="*/ 2147483647 w 324"/>
              <a:gd name="T103" fmla="*/ 2147483647 h 582"/>
              <a:gd name="T104" fmla="*/ 2147483647 w 324"/>
              <a:gd name="T105" fmla="*/ 2147483647 h 582"/>
              <a:gd name="T106" fmla="*/ 2147483647 w 324"/>
              <a:gd name="T107" fmla="*/ 2147483647 h 582"/>
              <a:gd name="T108" fmla="*/ 2147483647 w 324"/>
              <a:gd name="T109" fmla="*/ 2147483647 h 582"/>
              <a:gd name="T110" fmla="*/ 2147483647 w 324"/>
              <a:gd name="T111" fmla="*/ 2147483647 h 582"/>
              <a:gd name="T112" fmla="*/ 2147483647 w 324"/>
              <a:gd name="T113" fmla="*/ 2147483647 h 582"/>
              <a:gd name="T114" fmla="*/ 2147483647 w 324"/>
              <a:gd name="T115" fmla="*/ 2147483647 h 582"/>
              <a:gd name="T116" fmla="*/ 2147483647 w 324"/>
              <a:gd name="T117" fmla="*/ 2147483647 h 582"/>
              <a:gd name="T118" fmla="*/ 2147483647 w 324"/>
              <a:gd name="T119" fmla="*/ 2147483647 h 582"/>
              <a:gd name="T120" fmla="*/ 2147483647 w 324"/>
              <a:gd name="T121" fmla="*/ 2147483647 h 582"/>
              <a:gd name="T122" fmla="*/ 2147483647 w 324"/>
              <a:gd name="T123" fmla="*/ 0 h 582"/>
              <a:gd name="T124" fmla="*/ 2147483647 w 324"/>
              <a:gd name="T125" fmla="*/ 2147483647 h 5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24"/>
              <a:gd name="T190" fmla="*/ 0 h 582"/>
              <a:gd name="T191" fmla="*/ 324 w 324"/>
              <a:gd name="T192" fmla="*/ 582 h 58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24" h="582">
                <a:moveTo>
                  <a:pt x="90" y="42"/>
                </a:moveTo>
                <a:lnTo>
                  <a:pt x="84" y="48"/>
                </a:lnTo>
                <a:lnTo>
                  <a:pt x="72" y="48"/>
                </a:lnTo>
                <a:lnTo>
                  <a:pt x="60" y="60"/>
                </a:lnTo>
                <a:lnTo>
                  <a:pt x="60" y="102"/>
                </a:lnTo>
                <a:lnTo>
                  <a:pt x="84" y="102"/>
                </a:lnTo>
                <a:lnTo>
                  <a:pt x="84" y="120"/>
                </a:lnTo>
                <a:lnTo>
                  <a:pt x="78" y="126"/>
                </a:lnTo>
                <a:lnTo>
                  <a:pt x="66" y="132"/>
                </a:lnTo>
                <a:lnTo>
                  <a:pt x="54" y="132"/>
                </a:lnTo>
                <a:lnTo>
                  <a:pt x="42" y="138"/>
                </a:lnTo>
                <a:lnTo>
                  <a:pt x="12" y="138"/>
                </a:lnTo>
                <a:lnTo>
                  <a:pt x="12" y="144"/>
                </a:lnTo>
                <a:lnTo>
                  <a:pt x="30" y="162"/>
                </a:lnTo>
                <a:lnTo>
                  <a:pt x="30" y="180"/>
                </a:lnTo>
                <a:lnTo>
                  <a:pt x="18" y="186"/>
                </a:lnTo>
                <a:lnTo>
                  <a:pt x="12" y="186"/>
                </a:lnTo>
                <a:lnTo>
                  <a:pt x="0" y="192"/>
                </a:lnTo>
                <a:lnTo>
                  <a:pt x="0" y="204"/>
                </a:lnTo>
                <a:lnTo>
                  <a:pt x="6" y="210"/>
                </a:lnTo>
                <a:lnTo>
                  <a:pt x="12" y="222"/>
                </a:lnTo>
                <a:lnTo>
                  <a:pt x="48" y="258"/>
                </a:lnTo>
                <a:lnTo>
                  <a:pt x="72" y="264"/>
                </a:lnTo>
                <a:lnTo>
                  <a:pt x="78" y="252"/>
                </a:lnTo>
                <a:lnTo>
                  <a:pt x="90" y="264"/>
                </a:lnTo>
                <a:lnTo>
                  <a:pt x="96" y="276"/>
                </a:lnTo>
                <a:lnTo>
                  <a:pt x="96" y="294"/>
                </a:lnTo>
                <a:lnTo>
                  <a:pt x="90" y="306"/>
                </a:lnTo>
                <a:lnTo>
                  <a:pt x="84" y="312"/>
                </a:lnTo>
                <a:lnTo>
                  <a:pt x="84" y="318"/>
                </a:lnTo>
                <a:lnTo>
                  <a:pt x="90" y="324"/>
                </a:lnTo>
                <a:lnTo>
                  <a:pt x="96" y="324"/>
                </a:lnTo>
                <a:lnTo>
                  <a:pt x="108" y="318"/>
                </a:lnTo>
                <a:lnTo>
                  <a:pt x="114" y="318"/>
                </a:lnTo>
                <a:lnTo>
                  <a:pt x="114" y="348"/>
                </a:lnTo>
                <a:lnTo>
                  <a:pt x="120" y="354"/>
                </a:lnTo>
                <a:lnTo>
                  <a:pt x="126" y="354"/>
                </a:lnTo>
                <a:lnTo>
                  <a:pt x="126" y="366"/>
                </a:lnTo>
                <a:lnTo>
                  <a:pt x="120" y="378"/>
                </a:lnTo>
                <a:lnTo>
                  <a:pt x="108" y="390"/>
                </a:lnTo>
                <a:lnTo>
                  <a:pt x="96" y="432"/>
                </a:lnTo>
                <a:lnTo>
                  <a:pt x="90" y="444"/>
                </a:lnTo>
                <a:lnTo>
                  <a:pt x="90" y="450"/>
                </a:lnTo>
                <a:lnTo>
                  <a:pt x="84" y="462"/>
                </a:lnTo>
                <a:lnTo>
                  <a:pt x="84" y="468"/>
                </a:lnTo>
                <a:lnTo>
                  <a:pt x="90" y="480"/>
                </a:lnTo>
                <a:lnTo>
                  <a:pt x="114" y="504"/>
                </a:lnTo>
                <a:lnTo>
                  <a:pt x="114" y="534"/>
                </a:lnTo>
                <a:lnTo>
                  <a:pt x="144" y="570"/>
                </a:lnTo>
                <a:lnTo>
                  <a:pt x="156" y="570"/>
                </a:lnTo>
                <a:lnTo>
                  <a:pt x="162" y="582"/>
                </a:lnTo>
                <a:lnTo>
                  <a:pt x="198" y="582"/>
                </a:lnTo>
                <a:lnTo>
                  <a:pt x="204" y="576"/>
                </a:lnTo>
                <a:lnTo>
                  <a:pt x="204" y="564"/>
                </a:lnTo>
                <a:lnTo>
                  <a:pt x="216" y="552"/>
                </a:lnTo>
                <a:lnTo>
                  <a:pt x="234" y="552"/>
                </a:lnTo>
                <a:lnTo>
                  <a:pt x="240" y="540"/>
                </a:lnTo>
                <a:lnTo>
                  <a:pt x="270" y="540"/>
                </a:lnTo>
                <a:lnTo>
                  <a:pt x="270" y="534"/>
                </a:lnTo>
                <a:lnTo>
                  <a:pt x="288" y="516"/>
                </a:lnTo>
                <a:lnTo>
                  <a:pt x="300" y="516"/>
                </a:lnTo>
                <a:lnTo>
                  <a:pt x="312" y="528"/>
                </a:lnTo>
                <a:lnTo>
                  <a:pt x="318" y="528"/>
                </a:lnTo>
                <a:lnTo>
                  <a:pt x="324" y="522"/>
                </a:lnTo>
                <a:lnTo>
                  <a:pt x="324" y="510"/>
                </a:lnTo>
                <a:lnTo>
                  <a:pt x="318" y="504"/>
                </a:lnTo>
                <a:lnTo>
                  <a:pt x="312" y="492"/>
                </a:lnTo>
                <a:lnTo>
                  <a:pt x="306" y="474"/>
                </a:lnTo>
                <a:lnTo>
                  <a:pt x="288" y="456"/>
                </a:lnTo>
                <a:lnTo>
                  <a:pt x="282" y="444"/>
                </a:lnTo>
                <a:lnTo>
                  <a:pt x="282" y="420"/>
                </a:lnTo>
                <a:lnTo>
                  <a:pt x="288" y="414"/>
                </a:lnTo>
                <a:lnTo>
                  <a:pt x="288" y="396"/>
                </a:lnTo>
                <a:lnTo>
                  <a:pt x="276" y="408"/>
                </a:lnTo>
                <a:lnTo>
                  <a:pt x="276" y="414"/>
                </a:lnTo>
                <a:lnTo>
                  <a:pt x="264" y="414"/>
                </a:lnTo>
                <a:lnTo>
                  <a:pt x="258" y="402"/>
                </a:lnTo>
                <a:lnTo>
                  <a:pt x="252" y="396"/>
                </a:lnTo>
                <a:lnTo>
                  <a:pt x="246" y="384"/>
                </a:lnTo>
                <a:lnTo>
                  <a:pt x="246" y="372"/>
                </a:lnTo>
                <a:lnTo>
                  <a:pt x="240" y="372"/>
                </a:lnTo>
                <a:lnTo>
                  <a:pt x="240" y="366"/>
                </a:lnTo>
                <a:lnTo>
                  <a:pt x="234" y="360"/>
                </a:lnTo>
                <a:lnTo>
                  <a:pt x="234" y="348"/>
                </a:lnTo>
                <a:lnTo>
                  <a:pt x="240" y="336"/>
                </a:lnTo>
                <a:lnTo>
                  <a:pt x="246" y="330"/>
                </a:lnTo>
                <a:lnTo>
                  <a:pt x="246" y="288"/>
                </a:lnTo>
                <a:lnTo>
                  <a:pt x="252" y="282"/>
                </a:lnTo>
                <a:lnTo>
                  <a:pt x="264" y="276"/>
                </a:lnTo>
                <a:lnTo>
                  <a:pt x="294" y="276"/>
                </a:lnTo>
                <a:lnTo>
                  <a:pt x="300" y="270"/>
                </a:lnTo>
                <a:lnTo>
                  <a:pt x="300" y="258"/>
                </a:lnTo>
                <a:lnTo>
                  <a:pt x="288" y="246"/>
                </a:lnTo>
                <a:lnTo>
                  <a:pt x="288" y="234"/>
                </a:lnTo>
                <a:lnTo>
                  <a:pt x="294" y="222"/>
                </a:lnTo>
                <a:lnTo>
                  <a:pt x="300" y="216"/>
                </a:lnTo>
                <a:lnTo>
                  <a:pt x="306" y="204"/>
                </a:lnTo>
                <a:lnTo>
                  <a:pt x="306" y="192"/>
                </a:lnTo>
                <a:lnTo>
                  <a:pt x="300" y="180"/>
                </a:lnTo>
                <a:lnTo>
                  <a:pt x="294" y="174"/>
                </a:lnTo>
                <a:lnTo>
                  <a:pt x="276" y="174"/>
                </a:lnTo>
                <a:lnTo>
                  <a:pt x="270" y="180"/>
                </a:lnTo>
                <a:lnTo>
                  <a:pt x="270" y="156"/>
                </a:lnTo>
                <a:lnTo>
                  <a:pt x="258" y="150"/>
                </a:lnTo>
                <a:lnTo>
                  <a:pt x="252" y="138"/>
                </a:lnTo>
                <a:lnTo>
                  <a:pt x="234" y="132"/>
                </a:lnTo>
                <a:lnTo>
                  <a:pt x="216" y="132"/>
                </a:lnTo>
                <a:lnTo>
                  <a:pt x="204" y="138"/>
                </a:lnTo>
                <a:lnTo>
                  <a:pt x="198" y="150"/>
                </a:lnTo>
                <a:lnTo>
                  <a:pt x="198" y="156"/>
                </a:lnTo>
                <a:lnTo>
                  <a:pt x="192" y="162"/>
                </a:lnTo>
                <a:lnTo>
                  <a:pt x="192" y="168"/>
                </a:lnTo>
                <a:lnTo>
                  <a:pt x="192" y="162"/>
                </a:lnTo>
                <a:lnTo>
                  <a:pt x="198" y="156"/>
                </a:lnTo>
                <a:lnTo>
                  <a:pt x="198" y="144"/>
                </a:lnTo>
                <a:lnTo>
                  <a:pt x="204" y="132"/>
                </a:lnTo>
                <a:lnTo>
                  <a:pt x="204" y="114"/>
                </a:lnTo>
                <a:lnTo>
                  <a:pt x="210" y="102"/>
                </a:lnTo>
                <a:lnTo>
                  <a:pt x="210" y="78"/>
                </a:lnTo>
                <a:lnTo>
                  <a:pt x="192" y="42"/>
                </a:lnTo>
                <a:lnTo>
                  <a:pt x="180" y="30"/>
                </a:lnTo>
                <a:lnTo>
                  <a:pt x="132" y="6"/>
                </a:lnTo>
                <a:lnTo>
                  <a:pt x="126" y="0"/>
                </a:lnTo>
                <a:lnTo>
                  <a:pt x="120" y="0"/>
                </a:lnTo>
                <a:lnTo>
                  <a:pt x="102" y="36"/>
                </a:lnTo>
                <a:lnTo>
                  <a:pt x="96" y="42"/>
                </a:lnTo>
                <a:lnTo>
                  <a:pt x="90" y="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1" name="Guinea-Bissau"/>
          <p:cNvSpPr>
            <a:spLocks/>
          </p:cNvSpPr>
          <p:nvPr/>
        </p:nvSpPr>
        <p:spPr bwMode="gray">
          <a:xfrm>
            <a:off x="3553683" y="3845593"/>
            <a:ext cx="74613" cy="63500"/>
          </a:xfrm>
          <a:custGeom>
            <a:avLst/>
            <a:gdLst>
              <a:gd name="T0" fmla="*/ 2147483647 w 186"/>
              <a:gd name="T1" fmla="*/ 2147483647 h 156"/>
              <a:gd name="T2" fmla="*/ 2147483647 w 186"/>
              <a:gd name="T3" fmla="*/ 2147483647 h 156"/>
              <a:gd name="T4" fmla="*/ 2147483647 w 186"/>
              <a:gd name="T5" fmla="*/ 2147483647 h 156"/>
              <a:gd name="T6" fmla="*/ 2147483647 w 186"/>
              <a:gd name="T7" fmla="*/ 2147483647 h 156"/>
              <a:gd name="T8" fmla="*/ 2147483647 w 186"/>
              <a:gd name="T9" fmla="*/ 2147483647 h 156"/>
              <a:gd name="T10" fmla="*/ 2147483647 w 186"/>
              <a:gd name="T11" fmla="*/ 2147483647 h 156"/>
              <a:gd name="T12" fmla="*/ 2147483647 w 186"/>
              <a:gd name="T13" fmla="*/ 2147483647 h 156"/>
              <a:gd name="T14" fmla="*/ 2147483647 w 186"/>
              <a:gd name="T15" fmla="*/ 2147483647 h 156"/>
              <a:gd name="T16" fmla="*/ 2147483647 w 186"/>
              <a:gd name="T17" fmla="*/ 2147483647 h 156"/>
              <a:gd name="T18" fmla="*/ 2147483647 w 186"/>
              <a:gd name="T19" fmla="*/ 2147483647 h 156"/>
              <a:gd name="T20" fmla="*/ 2147483647 w 186"/>
              <a:gd name="T21" fmla="*/ 2147483647 h 156"/>
              <a:gd name="T22" fmla="*/ 2147483647 w 186"/>
              <a:gd name="T23" fmla="*/ 2147483647 h 156"/>
              <a:gd name="T24" fmla="*/ 2147483647 w 186"/>
              <a:gd name="T25" fmla="*/ 2147483647 h 156"/>
              <a:gd name="T26" fmla="*/ 2147483647 w 186"/>
              <a:gd name="T27" fmla="*/ 2147483647 h 156"/>
              <a:gd name="T28" fmla="*/ 2147483647 w 186"/>
              <a:gd name="T29" fmla="*/ 0 h 156"/>
              <a:gd name="T30" fmla="*/ 2147483647 w 186"/>
              <a:gd name="T31" fmla="*/ 2147483647 h 156"/>
              <a:gd name="T32" fmla="*/ 2147483647 w 186"/>
              <a:gd name="T33" fmla="*/ 2147483647 h 156"/>
              <a:gd name="T34" fmla="*/ 2147483647 w 186"/>
              <a:gd name="T35" fmla="*/ 2147483647 h 156"/>
              <a:gd name="T36" fmla="*/ 0 w 186"/>
              <a:gd name="T37" fmla="*/ 2147483647 h 156"/>
              <a:gd name="T38" fmla="*/ 2147483647 w 186"/>
              <a:gd name="T39" fmla="*/ 2147483647 h 156"/>
              <a:gd name="T40" fmla="*/ 2147483647 w 186"/>
              <a:gd name="T41" fmla="*/ 2147483647 h 156"/>
              <a:gd name="T42" fmla="*/ 2147483647 w 186"/>
              <a:gd name="T43" fmla="*/ 2147483647 h 156"/>
              <a:gd name="T44" fmla="*/ 2147483647 w 186"/>
              <a:gd name="T45" fmla="*/ 2147483647 h 156"/>
              <a:gd name="T46" fmla="*/ 2147483647 w 186"/>
              <a:gd name="T47" fmla="*/ 2147483647 h 156"/>
              <a:gd name="T48" fmla="*/ 2147483647 w 186"/>
              <a:gd name="T49" fmla="*/ 2147483647 h 156"/>
              <a:gd name="T50" fmla="*/ 2147483647 w 186"/>
              <a:gd name="T51" fmla="*/ 2147483647 h 156"/>
              <a:gd name="T52" fmla="*/ 2147483647 w 186"/>
              <a:gd name="T53" fmla="*/ 2147483647 h 156"/>
              <a:gd name="T54" fmla="*/ 2147483647 w 186"/>
              <a:gd name="T55" fmla="*/ 2147483647 h 156"/>
              <a:gd name="T56" fmla="*/ 2147483647 w 186"/>
              <a:gd name="T57" fmla="*/ 2147483647 h 156"/>
              <a:gd name="T58" fmla="*/ 2147483647 w 186"/>
              <a:gd name="T59" fmla="*/ 2147483647 h 156"/>
              <a:gd name="T60" fmla="*/ 2147483647 w 186"/>
              <a:gd name="T61" fmla="*/ 2147483647 h 156"/>
              <a:gd name="T62" fmla="*/ 2147483647 w 186"/>
              <a:gd name="T63" fmla="*/ 2147483647 h 156"/>
              <a:gd name="T64" fmla="*/ 2147483647 w 186"/>
              <a:gd name="T65" fmla="*/ 2147483647 h 156"/>
              <a:gd name="T66" fmla="*/ 2147483647 w 186"/>
              <a:gd name="T67" fmla="*/ 2147483647 h 156"/>
              <a:gd name="T68" fmla="*/ 2147483647 w 186"/>
              <a:gd name="T69" fmla="*/ 2147483647 h 156"/>
              <a:gd name="T70" fmla="*/ 2147483647 w 186"/>
              <a:gd name="T71" fmla="*/ 2147483647 h 156"/>
              <a:gd name="T72" fmla="*/ 2147483647 w 186"/>
              <a:gd name="T73" fmla="*/ 2147483647 h 1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6"/>
              <a:gd name="T112" fmla="*/ 0 h 156"/>
              <a:gd name="T113" fmla="*/ 186 w 186"/>
              <a:gd name="T114" fmla="*/ 156 h 15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6" h="156">
                <a:moveTo>
                  <a:pt x="126" y="102"/>
                </a:moveTo>
                <a:lnTo>
                  <a:pt x="132" y="96"/>
                </a:lnTo>
                <a:lnTo>
                  <a:pt x="144" y="90"/>
                </a:lnTo>
                <a:lnTo>
                  <a:pt x="174" y="90"/>
                </a:lnTo>
                <a:lnTo>
                  <a:pt x="180" y="84"/>
                </a:lnTo>
                <a:lnTo>
                  <a:pt x="186" y="72"/>
                </a:lnTo>
                <a:lnTo>
                  <a:pt x="186" y="66"/>
                </a:lnTo>
                <a:lnTo>
                  <a:pt x="180" y="60"/>
                </a:lnTo>
                <a:lnTo>
                  <a:pt x="168" y="54"/>
                </a:lnTo>
                <a:lnTo>
                  <a:pt x="162" y="48"/>
                </a:lnTo>
                <a:lnTo>
                  <a:pt x="162" y="36"/>
                </a:lnTo>
                <a:lnTo>
                  <a:pt x="168" y="30"/>
                </a:lnTo>
                <a:lnTo>
                  <a:pt x="186" y="30"/>
                </a:lnTo>
                <a:lnTo>
                  <a:pt x="186" y="6"/>
                </a:lnTo>
                <a:lnTo>
                  <a:pt x="84" y="0"/>
                </a:lnTo>
                <a:lnTo>
                  <a:pt x="54" y="24"/>
                </a:lnTo>
                <a:lnTo>
                  <a:pt x="18" y="24"/>
                </a:lnTo>
                <a:lnTo>
                  <a:pt x="6" y="36"/>
                </a:lnTo>
                <a:lnTo>
                  <a:pt x="0" y="72"/>
                </a:lnTo>
                <a:lnTo>
                  <a:pt x="6" y="78"/>
                </a:lnTo>
                <a:lnTo>
                  <a:pt x="18" y="78"/>
                </a:lnTo>
                <a:lnTo>
                  <a:pt x="42" y="66"/>
                </a:lnTo>
                <a:lnTo>
                  <a:pt x="66" y="66"/>
                </a:lnTo>
                <a:lnTo>
                  <a:pt x="90" y="60"/>
                </a:lnTo>
                <a:lnTo>
                  <a:pt x="90" y="84"/>
                </a:lnTo>
                <a:lnTo>
                  <a:pt x="78" y="78"/>
                </a:lnTo>
                <a:lnTo>
                  <a:pt x="72" y="78"/>
                </a:lnTo>
                <a:lnTo>
                  <a:pt x="66" y="72"/>
                </a:lnTo>
                <a:lnTo>
                  <a:pt x="54" y="72"/>
                </a:lnTo>
                <a:lnTo>
                  <a:pt x="54" y="96"/>
                </a:lnTo>
                <a:lnTo>
                  <a:pt x="60" y="102"/>
                </a:lnTo>
                <a:lnTo>
                  <a:pt x="90" y="96"/>
                </a:lnTo>
                <a:lnTo>
                  <a:pt x="54" y="114"/>
                </a:lnTo>
                <a:lnTo>
                  <a:pt x="84" y="156"/>
                </a:lnTo>
                <a:lnTo>
                  <a:pt x="90" y="132"/>
                </a:lnTo>
                <a:lnTo>
                  <a:pt x="108" y="102"/>
                </a:lnTo>
                <a:lnTo>
                  <a:pt x="126" y="10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2" name="Colombia"/>
          <p:cNvSpPr>
            <a:spLocks/>
          </p:cNvSpPr>
          <p:nvPr/>
        </p:nvSpPr>
        <p:spPr bwMode="gray">
          <a:xfrm>
            <a:off x="1750283" y="3855118"/>
            <a:ext cx="349250" cy="541337"/>
          </a:xfrm>
          <a:custGeom>
            <a:avLst/>
            <a:gdLst>
              <a:gd name="T0" fmla="*/ 2147483647 w 870"/>
              <a:gd name="T1" fmla="*/ 2147483647 h 1344"/>
              <a:gd name="T2" fmla="*/ 2147483647 w 870"/>
              <a:gd name="T3" fmla="*/ 2147483647 h 1344"/>
              <a:gd name="T4" fmla="*/ 2147483647 w 870"/>
              <a:gd name="T5" fmla="*/ 2147483647 h 1344"/>
              <a:gd name="T6" fmla="*/ 2147483647 w 870"/>
              <a:gd name="T7" fmla="*/ 2147483647 h 1344"/>
              <a:gd name="T8" fmla="*/ 2147483647 w 870"/>
              <a:gd name="T9" fmla="*/ 2147483647 h 1344"/>
              <a:gd name="T10" fmla="*/ 2147483647 w 870"/>
              <a:gd name="T11" fmla="*/ 2147483647 h 1344"/>
              <a:gd name="T12" fmla="*/ 2147483647 w 870"/>
              <a:gd name="T13" fmla="*/ 2147483647 h 1344"/>
              <a:gd name="T14" fmla="*/ 2147483647 w 870"/>
              <a:gd name="T15" fmla="*/ 2147483647 h 1344"/>
              <a:gd name="T16" fmla="*/ 2147483647 w 870"/>
              <a:gd name="T17" fmla="*/ 2147483647 h 1344"/>
              <a:gd name="T18" fmla="*/ 2147483647 w 870"/>
              <a:gd name="T19" fmla="*/ 2147483647 h 1344"/>
              <a:gd name="T20" fmla="*/ 2147483647 w 870"/>
              <a:gd name="T21" fmla="*/ 2147483647 h 1344"/>
              <a:gd name="T22" fmla="*/ 2147483647 w 870"/>
              <a:gd name="T23" fmla="*/ 2147483647 h 1344"/>
              <a:gd name="T24" fmla="*/ 2147483647 w 870"/>
              <a:gd name="T25" fmla="*/ 2147483647 h 1344"/>
              <a:gd name="T26" fmla="*/ 2147483647 w 870"/>
              <a:gd name="T27" fmla="*/ 2147483647 h 1344"/>
              <a:gd name="T28" fmla="*/ 2147483647 w 870"/>
              <a:gd name="T29" fmla="*/ 2147483647 h 1344"/>
              <a:gd name="T30" fmla="*/ 2147483647 w 870"/>
              <a:gd name="T31" fmla="*/ 2147483647 h 1344"/>
              <a:gd name="T32" fmla="*/ 2147483647 w 870"/>
              <a:gd name="T33" fmla="*/ 2147483647 h 1344"/>
              <a:gd name="T34" fmla="*/ 2147483647 w 870"/>
              <a:gd name="T35" fmla="*/ 2147483647 h 1344"/>
              <a:gd name="T36" fmla="*/ 2147483647 w 870"/>
              <a:gd name="T37" fmla="*/ 2147483647 h 1344"/>
              <a:gd name="T38" fmla="*/ 2147483647 w 870"/>
              <a:gd name="T39" fmla="*/ 2147483647 h 1344"/>
              <a:gd name="T40" fmla="*/ 2147483647 w 870"/>
              <a:gd name="T41" fmla="*/ 2147483647 h 1344"/>
              <a:gd name="T42" fmla="*/ 2147483647 w 870"/>
              <a:gd name="T43" fmla="*/ 2147483647 h 1344"/>
              <a:gd name="T44" fmla="*/ 2147483647 w 870"/>
              <a:gd name="T45" fmla="*/ 2147483647 h 1344"/>
              <a:gd name="T46" fmla="*/ 2147483647 w 870"/>
              <a:gd name="T47" fmla="*/ 2147483647 h 1344"/>
              <a:gd name="T48" fmla="*/ 2147483647 w 870"/>
              <a:gd name="T49" fmla="*/ 2147483647 h 1344"/>
              <a:gd name="T50" fmla="*/ 2147483647 w 870"/>
              <a:gd name="T51" fmla="*/ 2147483647 h 1344"/>
              <a:gd name="T52" fmla="*/ 2147483647 w 870"/>
              <a:gd name="T53" fmla="*/ 2147483647 h 1344"/>
              <a:gd name="T54" fmla="*/ 2147483647 w 870"/>
              <a:gd name="T55" fmla="*/ 2147483647 h 1344"/>
              <a:gd name="T56" fmla="*/ 2147483647 w 870"/>
              <a:gd name="T57" fmla="*/ 2147483647 h 1344"/>
              <a:gd name="T58" fmla="*/ 2147483647 w 870"/>
              <a:gd name="T59" fmla="*/ 2147483647 h 1344"/>
              <a:gd name="T60" fmla="*/ 2147483647 w 870"/>
              <a:gd name="T61" fmla="*/ 2147483647 h 1344"/>
              <a:gd name="T62" fmla="*/ 2147483647 w 870"/>
              <a:gd name="T63" fmla="*/ 2147483647 h 1344"/>
              <a:gd name="T64" fmla="*/ 2147483647 w 870"/>
              <a:gd name="T65" fmla="*/ 2147483647 h 1344"/>
              <a:gd name="T66" fmla="*/ 2147483647 w 870"/>
              <a:gd name="T67" fmla="*/ 2147483647 h 1344"/>
              <a:gd name="T68" fmla="*/ 2147483647 w 870"/>
              <a:gd name="T69" fmla="*/ 2147483647 h 1344"/>
              <a:gd name="T70" fmla="*/ 2147483647 w 870"/>
              <a:gd name="T71" fmla="*/ 2147483647 h 1344"/>
              <a:gd name="T72" fmla="*/ 2147483647 w 870"/>
              <a:gd name="T73" fmla="*/ 0 h 1344"/>
              <a:gd name="T74" fmla="*/ 2147483647 w 870"/>
              <a:gd name="T75" fmla="*/ 2147483647 h 1344"/>
              <a:gd name="T76" fmla="*/ 2147483647 w 870"/>
              <a:gd name="T77" fmla="*/ 2147483647 h 1344"/>
              <a:gd name="T78" fmla="*/ 2147483647 w 870"/>
              <a:gd name="T79" fmla="*/ 2147483647 h 1344"/>
              <a:gd name="T80" fmla="*/ 2147483647 w 870"/>
              <a:gd name="T81" fmla="*/ 2147483647 h 1344"/>
              <a:gd name="T82" fmla="*/ 2147483647 w 870"/>
              <a:gd name="T83" fmla="*/ 2147483647 h 1344"/>
              <a:gd name="T84" fmla="*/ 2147483647 w 870"/>
              <a:gd name="T85" fmla="*/ 2147483647 h 1344"/>
              <a:gd name="T86" fmla="*/ 2147483647 w 870"/>
              <a:gd name="T87" fmla="*/ 2147483647 h 1344"/>
              <a:gd name="T88" fmla="*/ 2147483647 w 870"/>
              <a:gd name="T89" fmla="*/ 2147483647 h 1344"/>
              <a:gd name="T90" fmla="*/ 2147483647 w 870"/>
              <a:gd name="T91" fmla="*/ 2147483647 h 1344"/>
              <a:gd name="T92" fmla="*/ 2147483647 w 870"/>
              <a:gd name="T93" fmla="*/ 2147483647 h 1344"/>
              <a:gd name="T94" fmla="*/ 2147483647 w 870"/>
              <a:gd name="T95" fmla="*/ 2147483647 h 1344"/>
              <a:gd name="T96" fmla="*/ 2147483647 w 870"/>
              <a:gd name="T97" fmla="*/ 2147483647 h 1344"/>
              <a:gd name="T98" fmla="*/ 2147483647 w 870"/>
              <a:gd name="T99" fmla="*/ 2147483647 h 1344"/>
              <a:gd name="T100" fmla="*/ 2147483647 w 870"/>
              <a:gd name="T101" fmla="*/ 2147483647 h 1344"/>
              <a:gd name="T102" fmla="*/ 2147483647 w 870"/>
              <a:gd name="T103" fmla="*/ 2147483647 h 1344"/>
              <a:gd name="T104" fmla="*/ 2147483647 w 870"/>
              <a:gd name="T105" fmla="*/ 2147483647 h 1344"/>
              <a:gd name="T106" fmla="*/ 2147483647 w 870"/>
              <a:gd name="T107" fmla="*/ 2147483647 h 134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70"/>
              <a:gd name="T163" fmla="*/ 0 h 1344"/>
              <a:gd name="T164" fmla="*/ 870 w 870"/>
              <a:gd name="T165" fmla="*/ 1344 h 134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70" h="1344">
                <a:moveTo>
                  <a:pt x="36" y="912"/>
                </a:moveTo>
                <a:lnTo>
                  <a:pt x="60" y="924"/>
                </a:lnTo>
                <a:lnTo>
                  <a:pt x="66" y="936"/>
                </a:lnTo>
                <a:lnTo>
                  <a:pt x="84" y="936"/>
                </a:lnTo>
                <a:lnTo>
                  <a:pt x="96" y="942"/>
                </a:lnTo>
                <a:lnTo>
                  <a:pt x="102" y="948"/>
                </a:lnTo>
                <a:lnTo>
                  <a:pt x="108" y="960"/>
                </a:lnTo>
                <a:lnTo>
                  <a:pt x="108" y="966"/>
                </a:lnTo>
                <a:lnTo>
                  <a:pt x="114" y="972"/>
                </a:lnTo>
                <a:lnTo>
                  <a:pt x="126" y="978"/>
                </a:lnTo>
                <a:lnTo>
                  <a:pt x="138" y="978"/>
                </a:lnTo>
                <a:lnTo>
                  <a:pt x="144" y="972"/>
                </a:lnTo>
                <a:lnTo>
                  <a:pt x="156" y="978"/>
                </a:lnTo>
                <a:lnTo>
                  <a:pt x="162" y="984"/>
                </a:lnTo>
                <a:lnTo>
                  <a:pt x="186" y="984"/>
                </a:lnTo>
                <a:lnTo>
                  <a:pt x="186" y="972"/>
                </a:lnTo>
                <a:lnTo>
                  <a:pt x="192" y="966"/>
                </a:lnTo>
                <a:lnTo>
                  <a:pt x="198" y="966"/>
                </a:lnTo>
                <a:lnTo>
                  <a:pt x="210" y="972"/>
                </a:lnTo>
                <a:lnTo>
                  <a:pt x="210" y="978"/>
                </a:lnTo>
                <a:lnTo>
                  <a:pt x="216" y="984"/>
                </a:lnTo>
                <a:lnTo>
                  <a:pt x="216" y="990"/>
                </a:lnTo>
                <a:lnTo>
                  <a:pt x="228" y="1002"/>
                </a:lnTo>
                <a:lnTo>
                  <a:pt x="264" y="1002"/>
                </a:lnTo>
                <a:lnTo>
                  <a:pt x="276" y="1008"/>
                </a:lnTo>
                <a:lnTo>
                  <a:pt x="282" y="1014"/>
                </a:lnTo>
                <a:lnTo>
                  <a:pt x="294" y="1020"/>
                </a:lnTo>
                <a:lnTo>
                  <a:pt x="312" y="1038"/>
                </a:lnTo>
                <a:lnTo>
                  <a:pt x="324" y="1044"/>
                </a:lnTo>
                <a:lnTo>
                  <a:pt x="330" y="1050"/>
                </a:lnTo>
                <a:lnTo>
                  <a:pt x="342" y="1086"/>
                </a:lnTo>
                <a:lnTo>
                  <a:pt x="360" y="1086"/>
                </a:lnTo>
                <a:lnTo>
                  <a:pt x="372" y="1104"/>
                </a:lnTo>
                <a:lnTo>
                  <a:pt x="384" y="1104"/>
                </a:lnTo>
                <a:lnTo>
                  <a:pt x="390" y="1110"/>
                </a:lnTo>
                <a:lnTo>
                  <a:pt x="390" y="1134"/>
                </a:lnTo>
                <a:lnTo>
                  <a:pt x="396" y="1140"/>
                </a:lnTo>
                <a:lnTo>
                  <a:pt x="396" y="1146"/>
                </a:lnTo>
                <a:lnTo>
                  <a:pt x="408" y="1146"/>
                </a:lnTo>
                <a:lnTo>
                  <a:pt x="420" y="1152"/>
                </a:lnTo>
                <a:lnTo>
                  <a:pt x="426" y="1158"/>
                </a:lnTo>
                <a:lnTo>
                  <a:pt x="426" y="1164"/>
                </a:lnTo>
                <a:lnTo>
                  <a:pt x="420" y="1170"/>
                </a:lnTo>
                <a:lnTo>
                  <a:pt x="420" y="1194"/>
                </a:lnTo>
                <a:lnTo>
                  <a:pt x="432" y="1200"/>
                </a:lnTo>
                <a:lnTo>
                  <a:pt x="456" y="1206"/>
                </a:lnTo>
                <a:lnTo>
                  <a:pt x="492" y="1206"/>
                </a:lnTo>
                <a:lnTo>
                  <a:pt x="492" y="1194"/>
                </a:lnTo>
                <a:lnTo>
                  <a:pt x="504" y="1182"/>
                </a:lnTo>
                <a:lnTo>
                  <a:pt x="528" y="1182"/>
                </a:lnTo>
                <a:lnTo>
                  <a:pt x="534" y="1188"/>
                </a:lnTo>
                <a:lnTo>
                  <a:pt x="540" y="1188"/>
                </a:lnTo>
                <a:lnTo>
                  <a:pt x="546" y="1194"/>
                </a:lnTo>
                <a:lnTo>
                  <a:pt x="558" y="1194"/>
                </a:lnTo>
                <a:lnTo>
                  <a:pt x="570" y="1188"/>
                </a:lnTo>
                <a:lnTo>
                  <a:pt x="576" y="1182"/>
                </a:lnTo>
                <a:lnTo>
                  <a:pt x="588" y="1182"/>
                </a:lnTo>
                <a:lnTo>
                  <a:pt x="588" y="1188"/>
                </a:lnTo>
                <a:lnTo>
                  <a:pt x="594" y="1200"/>
                </a:lnTo>
                <a:lnTo>
                  <a:pt x="600" y="1206"/>
                </a:lnTo>
                <a:lnTo>
                  <a:pt x="624" y="1206"/>
                </a:lnTo>
                <a:lnTo>
                  <a:pt x="636" y="1212"/>
                </a:lnTo>
                <a:lnTo>
                  <a:pt x="642" y="1218"/>
                </a:lnTo>
                <a:lnTo>
                  <a:pt x="642" y="1236"/>
                </a:lnTo>
                <a:lnTo>
                  <a:pt x="636" y="1248"/>
                </a:lnTo>
                <a:lnTo>
                  <a:pt x="630" y="1254"/>
                </a:lnTo>
                <a:lnTo>
                  <a:pt x="624" y="1254"/>
                </a:lnTo>
                <a:lnTo>
                  <a:pt x="618" y="1260"/>
                </a:lnTo>
                <a:lnTo>
                  <a:pt x="618" y="1266"/>
                </a:lnTo>
                <a:lnTo>
                  <a:pt x="606" y="1290"/>
                </a:lnTo>
                <a:lnTo>
                  <a:pt x="606" y="1308"/>
                </a:lnTo>
                <a:lnTo>
                  <a:pt x="612" y="1314"/>
                </a:lnTo>
                <a:lnTo>
                  <a:pt x="630" y="1314"/>
                </a:lnTo>
                <a:lnTo>
                  <a:pt x="642" y="1332"/>
                </a:lnTo>
                <a:lnTo>
                  <a:pt x="660" y="1344"/>
                </a:lnTo>
                <a:lnTo>
                  <a:pt x="660" y="1308"/>
                </a:lnTo>
                <a:lnTo>
                  <a:pt x="666" y="1236"/>
                </a:lnTo>
                <a:lnTo>
                  <a:pt x="684" y="1188"/>
                </a:lnTo>
                <a:lnTo>
                  <a:pt x="678" y="1140"/>
                </a:lnTo>
                <a:lnTo>
                  <a:pt x="690" y="1128"/>
                </a:lnTo>
                <a:lnTo>
                  <a:pt x="696" y="1116"/>
                </a:lnTo>
                <a:lnTo>
                  <a:pt x="696" y="1104"/>
                </a:lnTo>
                <a:lnTo>
                  <a:pt x="690" y="1092"/>
                </a:lnTo>
                <a:lnTo>
                  <a:pt x="678" y="1080"/>
                </a:lnTo>
                <a:lnTo>
                  <a:pt x="678" y="1074"/>
                </a:lnTo>
                <a:lnTo>
                  <a:pt x="672" y="1068"/>
                </a:lnTo>
                <a:lnTo>
                  <a:pt x="672" y="1044"/>
                </a:lnTo>
                <a:lnTo>
                  <a:pt x="666" y="1038"/>
                </a:lnTo>
                <a:lnTo>
                  <a:pt x="654" y="1032"/>
                </a:lnTo>
                <a:lnTo>
                  <a:pt x="642" y="1020"/>
                </a:lnTo>
                <a:lnTo>
                  <a:pt x="636" y="1020"/>
                </a:lnTo>
                <a:lnTo>
                  <a:pt x="642" y="954"/>
                </a:lnTo>
                <a:lnTo>
                  <a:pt x="672" y="948"/>
                </a:lnTo>
                <a:lnTo>
                  <a:pt x="678" y="954"/>
                </a:lnTo>
                <a:lnTo>
                  <a:pt x="708" y="954"/>
                </a:lnTo>
                <a:lnTo>
                  <a:pt x="714" y="948"/>
                </a:lnTo>
                <a:lnTo>
                  <a:pt x="714" y="942"/>
                </a:lnTo>
                <a:lnTo>
                  <a:pt x="708" y="936"/>
                </a:lnTo>
                <a:lnTo>
                  <a:pt x="708" y="930"/>
                </a:lnTo>
                <a:lnTo>
                  <a:pt x="696" y="918"/>
                </a:lnTo>
                <a:lnTo>
                  <a:pt x="684" y="924"/>
                </a:lnTo>
                <a:lnTo>
                  <a:pt x="660" y="912"/>
                </a:lnTo>
                <a:lnTo>
                  <a:pt x="660" y="900"/>
                </a:lnTo>
                <a:lnTo>
                  <a:pt x="654" y="888"/>
                </a:lnTo>
                <a:lnTo>
                  <a:pt x="654" y="876"/>
                </a:lnTo>
                <a:lnTo>
                  <a:pt x="660" y="864"/>
                </a:lnTo>
                <a:lnTo>
                  <a:pt x="666" y="858"/>
                </a:lnTo>
                <a:lnTo>
                  <a:pt x="684" y="858"/>
                </a:lnTo>
                <a:lnTo>
                  <a:pt x="696" y="870"/>
                </a:lnTo>
                <a:lnTo>
                  <a:pt x="762" y="864"/>
                </a:lnTo>
                <a:lnTo>
                  <a:pt x="762" y="846"/>
                </a:lnTo>
                <a:lnTo>
                  <a:pt x="768" y="840"/>
                </a:lnTo>
                <a:lnTo>
                  <a:pt x="774" y="840"/>
                </a:lnTo>
                <a:lnTo>
                  <a:pt x="798" y="864"/>
                </a:lnTo>
                <a:lnTo>
                  <a:pt x="828" y="834"/>
                </a:lnTo>
                <a:lnTo>
                  <a:pt x="834" y="834"/>
                </a:lnTo>
                <a:lnTo>
                  <a:pt x="834" y="846"/>
                </a:lnTo>
                <a:lnTo>
                  <a:pt x="840" y="852"/>
                </a:lnTo>
                <a:lnTo>
                  <a:pt x="840" y="864"/>
                </a:lnTo>
                <a:lnTo>
                  <a:pt x="846" y="876"/>
                </a:lnTo>
                <a:lnTo>
                  <a:pt x="846" y="906"/>
                </a:lnTo>
                <a:lnTo>
                  <a:pt x="870" y="906"/>
                </a:lnTo>
                <a:lnTo>
                  <a:pt x="864" y="900"/>
                </a:lnTo>
                <a:lnTo>
                  <a:pt x="864" y="882"/>
                </a:lnTo>
                <a:lnTo>
                  <a:pt x="858" y="870"/>
                </a:lnTo>
                <a:lnTo>
                  <a:pt x="858" y="852"/>
                </a:lnTo>
                <a:lnTo>
                  <a:pt x="852" y="846"/>
                </a:lnTo>
                <a:lnTo>
                  <a:pt x="852" y="828"/>
                </a:lnTo>
                <a:lnTo>
                  <a:pt x="846" y="822"/>
                </a:lnTo>
                <a:lnTo>
                  <a:pt x="846" y="798"/>
                </a:lnTo>
                <a:lnTo>
                  <a:pt x="834" y="798"/>
                </a:lnTo>
                <a:lnTo>
                  <a:pt x="822" y="786"/>
                </a:lnTo>
                <a:lnTo>
                  <a:pt x="798" y="774"/>
                </a:lnTo>
                <a:lnTo>
                  <a:pt x="804" y="774"/>
                </a:lnTo>
                <a:lnTo>
                  <a:pt x="834" y="744"/>
                </a:lnTo>
                <a:lnTo>
                  <a:pt x="840" y="732"/>
                </a:lnTo>
                <a:lnTo>
                  <a:pt x="840" y="726"/>
                </a:lnTo>
                <a:lnTo>
                  <a:pt x="834" y="714"/>
                </a:lnTo>
                <a:lnTo>
                  <a:pt x="822" y="708"/>
                </a:lnTo>
                <a:lnTo>
                  <a:pt x="816" y="696"/>
                </a:lnTo>
                <a:lnTo>
                  <a:pt x="816" y="672"/>
                </a:lnTo>
                <a:lnTo>
                  <a:pt x="804" y="672"/>
                </a:lnTo>
                <a:lnTo>
                  <a:pt x="798" y="666"/>
                </a:lnTo>
                <a:lnTo>
                  <a:pt x="798" y="654"/>
                </a:lnTo>
                <a:lnTo>
                  <a:pt x="804" y="642"/>
                </a:lnTo>
                <a:lnTo>
                  <a:pt x="804" y="612"/>
                </a:lnTo>
                <a:lnTo>
                  <a:pt x="798" y="600"/>
                </a:lnTo>
                <a:lnTo>
                  <a:pt x="798" y="576"/>
                </a:lnTo>
                <a:lnTo>
                  <a:pt x="810" y="564"/>
                </a:lnTo>
                <a:lnTo>
                  <a:pt x="816" y="564"/>
                </a:lnTo>
                <a:lnTo>
                  <a:pt x="822" y="558"/>
                </a:lnTo>
                <a:lnTo>
                  <a:pt x="822" y="534"/>
                </a:lnTo>
                <a:lnTo>
                  <a:pt x="840" y="516"/>
                </a:lnTo>
                <a:lnTo>
                  <a:pt x="840" y="504"/>
                </a:lnTo>
                <a:lnTo>
                  <a:pt x="834" y="498"/>
                </a:lnTo>
                <a:lnTo>
                  <a:pt x="816" y="498"/>
                </a:lnTo>
                <a:lnTo>
                  <a:pt x="804" y="504"/>
                </a:lnTo>
                <a:lnTo>
                  <a:pt x="798" y="510"/>
                </a:lnTo>
                <a:lnTo>
                  <a:pt x="774" y="504"/>
                </a:lnTo>
                <a:lnTo>
                  <a:pt x="768" y="510"/>
                </a:lnTo>
                <a:lnTo>
                  <a:pt x="744" y="510"/>
                </a:lnTo>
                <a:lnTo>
                  <a:pt x="738" y="504"/>
                </a:lnTo>
                <a:lnTo>
                  <a:pt x="720" y="504"/>
                </a:lnTo>
                <a:lnTo>
                  <a:pt x="720" y="510"/>
                </a:lnTo>
                <a:lnTo>
                  <a:pt x="696" y="510"/>
                </a:lnTo>
                <a:lnTo>
                  <a:pt x="672" y="486"/>
                </a:lnTo>
                <a:lnTo>
                  <a:pt x="666" y="468"/>
                </a:lnTo>
                <a:lnTo>
                  <a:pt x="660" y="456"/>
                </a:lnTo>
                <a:lnTo>
                  <a:pt x="654" y="450"/>
                </a:lnTo>
                <a:lnTo>
                  <a:pt x="654" y="444"/>
                </a:lnTo>
                <a:lnTo>
                  <a:pt x="630" y="444"/>
                </a:lnTo>
                <a:lnTo>
                  <a:pt x="618" y="438"/>
                </a:lnTo>
                <a:lnTo>
                  <a:pt x="612" y="432"/>
                </a:lnTo>
                <a:lnTo>
                  <a:pt x="600" y="432"/>
                </a:lnTo>
                <a:lnTo>
                  <a:pt x="600" y="438"/>
                </a:lnTo>
                <a:lnTo>
                  <a:pt x="594" y="444"/>
                </a:lnTo>
                <a:lnTo>
                  <a:pt x="582" y="444"/>
                </a:lnTo>
                <a:lnTo>
                  <a:pt x="570" y="438"/>
                </a:lnTo>
                <a:lnTo>
                  <a:pt x="564" y="438"/>
                </a:lnTo>
                <a:lnTo>
                  <a:pt x="552" y="432"/>
                </a:lnTo>
                <a:lnTo>
                  <a:pt x="540" y="432"/>
                </a:lnTo>
                <a:lnTo>
                  <a:pt x="534" y="438"/>
                </a:lnTo>
                <a:lnTo>
                  <a:pt x="510" y="438"/>
                </a:lnTo>
                <a:lnTo>
                  <a:pt x="504" y="432"/>
                </a:lnTo>
                <a:lnTo>
                  <a:pt x="498" y="420"/>
                </a:lnTo>
                <a:lnTo>
                  <a:pt x="498" y="408"/>
                </a:lnTo>
                <a:lnTo>
                  <a:pt x="486" y="408"/>
                </a:lnTo>
                <a:lnTo>
                  <a:pt x="486" y="366"/>
                </a:lnTo>
                <a:lnTo>
                  <a:pt x="498" y="342"/>
                </a:lnTo>
                <a:lnTo>
                  <a:pt x="498" y="330"/>
                </a:lnTo>
                <a:lnTo>
                  <a:pt x="492" y="324"/>
                </a:lnTo>
                <a:lnTo>
                  <a:pt x="480" y="318"/>
                </a:lnTo>
                <a:lnTo>
                  <a:pt x="474" y="312"/>
                </a:lnTo>
                <a:lnTo>
                  <a:pt x="474" y="276"/>
                </a:lnTo>
                <a:lnTo>
                  <a:pt x="468" y="264"/>
                </a:lnTo>
                <a:lnTo>
                  <a:pt x="456" y="252"/>
                </a:lnTo>
                <a:lnTo>
                  <a:pt x="450" y="252"/>
                </a:lnTo>
                <a:lnTo>
                  <a:pt x="438" y="264"/>
                </a:lnTo>
                <a:lnTo>
                  <a:pt x="438" y="270"/>
                </a:lnTo>
                <a:lnTo>
                  <a:pt x="432" y="264"/>
                </a:lnTo>
                <a:lnTo>
                  <a:pt x="432" y="252"/>
                </a:lnTo>
                <a:lnTo>
                  <a:pt x="438" y="240"/>
                </a:lnTo>
                <a:lnTo>
                  <a:pt x="462" y="216"/>
                </a:lnTo>
                <a:lnTo>
                  <a:pt x="462" y="192"/>
                </a:lnTo>
                <a:lnTo>
                  <a:pt x="468" y="186"/>
                </a:lnTo>
                <a:lnTo>
                  <a:pt x="468" y="168"/>
                </a:lnTo>
                <a:lnTo>
                  <a:pt x="480" y="132"/>
                </a:lnTo>
                <a:lnTo>
                  <a:pt x="504" y="108"/>
                </a:lnTo>
                <a:lnTo>
                  <a:pt x="522" y="102"/>
                </a:lnTo>
                <a:lnTo>
                  <a:pt x="534" y="90"/>
                </a:lnTo>
                <a:lnTo>
                  <a:pt x="540" y="78"/>
                </a:lnTo>
                <a:lnTo>
                  <a:pt x="540" y="72"/>
                </a:lnTo>
                <a:lnTo>
                  <a:pt x="546" y="66"/>
                </a:lnTo>
                <a:lnTo>
                  <a:pt x="558" y="66"/>
                </a:lnTo>
                <a:lnTo>
                  <a:pt x="564" y="60"/>
                </a:lnTo>
                <a:lnTo>
                  <a:pt x="570" y="60"/>
                </a:lnTo>
                <a:lnTo>
                  <a:pt x="576" y="54"/>
                </a:lnTo>
                <a:lnTo>
                  <a:pt x="582" y="54"/>
                </a:lnTo>
                <a:lnTo>
                  <a:pt x="600" y="36"/>
                </a:lnTo>
                <a:lnTo>
                  <a:pt x="600" y="12"/>
                </a:lnTo>
                <a:lnTo>
                  <a:pt x="594" y="6"/>
                </a:lnTo>
                <a:lnTo>
                  <a:pt x="582" y="0"/>
                </a:lnTo>
                <a:lnTo>
                  <a:pt x="570" y="6"/>
                </a:lnTo>
                <a:lnTo>
                  <a:pt x="546" y="6"/>
                </a:lnTo>
                <a:lnTo>
                  <a:pt x="540" y="12"/>
                </a:lnTo>
                <a:lnTo>
                  <a:pt x="534" y="12"/>
                </a:lnTo>
                <a:lnTo>
                  <a:pt x="522" y="24"/>
                </a:lnTo>
                <a:lnTo>
                  <a:pt x="522" y="36"/>
                </a:lnTo>
                <a:lnTo>
                  <a:pt x="516" y="48"/>
                </a:lnTo>
                <a:lnTo>
                  <a:pt x="504" y="60"/>
                </a:lnTo>
                <a:lnTo>
                  <a:pt x="492" y="60"/>
                </a:lnTo>
                <a:lnTo>
                  <a:pt x="480" y="54"/>
                </a:lnTo>
                <a:lnTo>
                  <a:pt x="474" y="54"/>
                </a:lnTo>
                <a:lnTo>
                  <a:pt x="444" y="84"/>
                </a:lnTo>
                <a:lnTo>
                  <a:pt x="444" y="90"/>
                </a:lnTo>
                <a:lnTo>
                  <a:pt x="408" y="102"/>
                </a:lnTo>
                <a:lnTo>
                  <a:pt x="402" y="96"/>
                </a:lnTo>
                <a:lnTo>
                  <a:pt x="390" y="90"/>
                </a:lnTo>
                <a:lnTo>
                  <a:pt x="384" y="90"/>
                </a:lnTo>
                <a:lnTo>
                  <a:pt x="378" y="102"/>
                </a:lnTo>
                <a:lnTo>
                  <a:pt x="378" y="120"/>
                </a:lnTo>
                <a:lnTo>
                  <a:pt x="372" y="132"/>
                </a:lnTo>
                <a:lnTo>
                  <a:pt x="366" y="138"/>
                </a:lnTo>
                <a:lnTo>
                  <a:pt x="354" y="138"/>
                </a:lnTo>
                <a:lnTo>
                  <a:pt x="354" y="132"/>
                </a:lnTo>
                <a:lnTo>
                  <a:pt x="360" y="126"/>
                </a:lnTo>
                <a:lnTo>
                  <a:pt x="354" y="120"/>
                </a:lnTo>
                <a:lnTo>
                  <a:pt x="342" y="120"/>
                </a:lnTo>
                <a:lnTo>
                  <a:pt x="330" y="126"/>
                </a:lnTo>
                <a:lnTo>
                  <a:pt x="318" y="126"/>
                </a:lnTo>
                <a:lnTo>
                  <a:pt x="312" y="132"/>
                </a:lnTo>
                <a:lnTo>
                  <a:pt x="306" y="132"/>
                </a:lnTo>
                <a:lnTo>
                  <a:pt x="300" y="144"/>
                </a:lnTo>
                <a:lnTo>
                  <a:pt x="288" y="150"/>
                </a:lnTo>
                <a:lnTo>
                  <a:pt x="282" y="162"/>
                </a:lnTo>
                <a:lnTo>
                  <a:pt x="276" y="168"/>
                </a:lnTo>
                <a:lnTo>
                  <a:pt x="276" y="186"/>
                </a:lnTo>
                <a:lnTo>
                  <a:pt x="282" y="192"/>
                </a:lnTo>
                <a:lnTo>
                  <a:pt x="264" y="222"/>
                </a:lnTo>
                <a:lnTo>
                  <a:pt x="276" y="246"/>
                </a:lnTo>
                <a:lnTo>
                  <a:pt x="252" y="246"/>
                </a:lnTo>
                <a:lnTo>
                  <a:pt x="240" y="252"/>
                </a:lnTo>
                <a:lnTo>
                  <a:pt x="228" y="264"/>
                </a:lnTo>
                <a:lnTo>
                  <a:pt x="228" y="276"/>
                </a:lnTo>
                <a:lnTo>
                  <a:pt x="222" y="288"/>
                </a:lnTo>
                <a:lnTo>
                  <a:pt x="216" y="294"/>
                </a:lnTo>
                <a:lnTo>
                  <a:pt x="204" y="294"/>
                </a:lnTo>
                <a:lnTo>
                  <a:pt x="198" y="300"/>
                </a:lnTo>
                <a:lnTo>
                  <a:pt x="192" y="300"/>
                </a:lnTo>
                <a:lnTo>
                  <a:pt x="174" y="306"/>
                </a:lnTo>
                <a:lnTo>
                  <a:pt x="186" y="330"/>
                </a:lnTo>
                <a:lnTo>
                  <a:pt x="186" y="366"/>
                </a:lnTo>
                <a:lnTo>
                  <a:pt x="168" y="366"/>
                </a:lnTo>
                <a:lnTo>
                  <a:pt x="168" y="360"/>
                </a:lnTo>
                <a:lnTo>
                  <a:pt x="174" y="354"/>
                </a:lnTo>
                <a:lnTo>
                  <a:pt x="174" y="342"/>
                </a:lnTo>
                <a:lnTo>
                  <a:pt x="144" y="312"/>
                </a:lnTo>
                <a:lnTo>
                  <a:pt x="138" y="312"/>
                </a:lnTo>
                <a:lnTo>
                  <a:pt x="132" y="318"/>
                </a:lnTo>
                <a:lnTo>
                  <a:pt x="132" y="336"/>
                </a:lnTo>
                <a:lnTo>
                  <a:pt x="138" y="348"/>
                </a:lnTo>
                <a:lnTo>
                  <a:pt x="150" y="354"/>
                </a:lnTo>
                <a:lnTo>
                  <a:pt x="150" y="366"/>
                </a:lnTo>
                <a:lnTo>
                  <a:pt x="138" y="390"/>
                </a:lnTo>
                <a:lnTo>
                  <a:pt x="132" y="396"/>
                </a:lnTo>
                <a:lnTo>
                  <a:pt x="120" y="390"/>
                </a:lnTo>
                <a:lnTo>
                  <a:pt x="114" y="384"/>
                </a:lnTo>
                <a:lnTo>
                  <a:pt x="102" y="414"/>
                </a:lnTo>
                <a:lnTo>
                  <a:pt x="114" y="438"/>
                </a:lnTo>
                <a:lnTo>
                  <a:pt x="114" y="450"/>
                </a:lnTo>
                <a:lnTo>
                  <a:pt x="126" y="462"/>
                </a:lnTo>
                <a:lnTo>
                  <a:pt x="132" y="474"/>
                </a:lnTo>
                <a:lnTo>
                  <a:pt x="132" y="480"/>
                </a:lnTo>
                <a:lnTo>
                  <a:pt x="120" y="492"/>
                </a:lnTo>
                <a:lnTo>
                  <a:pt x="114" y="492"/>
                </a:lnTo>
                <a:lnTo>
                  <a:pt x="132" y="516"/>
                </a:lnTo>
                <a:lnTo>
                  <a:pt x="138" y="552"/>
                </a:lnTo>
                <a:lnTo>
                  <a:pt x="114" y="558"/>
                </a:lnTo>
                <a:lnTo>
                  <a:pt x="132" y="576"/>
                </a:lnTo>
                <a:lnTo>
                  <a:pt x="132" y="636"/>
                </a:lnTo>
                <a:lnTo>
                  <a:pt x="120" y="642"/>
                </a:lnTo>
                <a:lnTo>
                  <a:pt x="114" y="654"/>
                </a:lnTo>
                <a:lnTo>
                  <a:pt x="114" y="678"/>
                </a:lnTo>
                <a:lnTo>
                  <a:pt x="138" y="702"/>
                </a:lnTo>
                <a:lnTo>
                  <a:pt x="138" y="720"/>
                </a:lnTo>
                <a:lnTo>
                  <a:pt x="132" y="732"/>
                </a:lnTo>
                <a:lnTo>
                  <a:pt x="120" y="738"/>
                </a:lnTo>
                <a:lnTo>
                  <a:pt x="114" y="750"/>
                </a:lnTo>
                <a:lnTo>
                  <a:pt x="102" y="756"/>
                </a:lnTo>
                <a:lnTo>
                  <a:pt x="96" y="762"/>
                </a:lnTo>
                <a:lnTo>
                  <a:pt x="114" y="774"/>
                </a:lnTo>
                <a:lnTo>
                  <a:pt x="84" y="798"/>
                </a:lnTo>
                <a:lnTo>
                  <a:pt x="66" y="798"/>
                </a:lnTo>
                <a:lnTo>
                  <a:pt x="54" y="804"/>
                </a:lnTo>
                <a:lnTo>
                  <a:pt x="36" y="810"/>
                </a:lnTo>
                <a:lnTo>
                  <a:pt x="30" y="822"/>
                </a:lnTo>
                <a:lnTo>
                  <a:pt x="30" y="846"/>
                </a:lnTo>
                <a:lnTo>
                  <a:pt x="36" y="852"/>
                </a:lnTo>
                <a:lnTo>
                  <a:pt x="36" y="858"/>
                </a:lnTo>
                <a:lnTo>
                  <a:pt x="6" y="858"/>
                </a:lnTo>
                <a:lnTo>
                  <a:pt x="0" y="864"/>
                </a:lnTo>
                <a:lnTo>
                  <a:pt x="0" y="876"/>
                </a:lnTo>
                <a:lnTo>
                  <a:pt x="6" y="888"/>
                </a:lnTo>
                <a:lnTo>
                  <a:pt x="18" y="894"/>
                </a:lnTo>
                <a:lnTo>
                  <a:pt x="24" y="906"/>
                </a:lnTo>
                <a:lnTo>
                  <a:pt x="36" y="912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" name="Guinea, Equatorial"/>
          <p:cNvSpPr>
            <a:spLocks/>
          </p:cNvSpPr>
          <p:nvPr/>
        </p:nvSpPr>
        <p:spPr bwMode="gray">
          <a:xfrm>
            <a:off x="4282346" y="4183730"/>
            <a:ext cx="58737" cy="44450"/>
          </a:xfrm>
          <a:custGeom>
            <a:avLst/>
            <a:gdLst>
              <a:gd name="T0" fmla="*/ 2147483647 w 144"/>
              <a:gd name="T1" fmla="*/ 2147483647 h 108"/>
              <a:gd name="T2" fmla="*/ 2147483647 w 144"/>
              <a:gd name="T3" fmla="*/ 2147483647 h 108"/>
              <a:gd name="T4" fmla="*/ 2147483647 w 144"/>
              <a:gd name="T5" fmla="*/ 2147483647 h 108"/>
              <a:gd name="T6" fmla="*/ 2147483647 w 144"/>
              <a:gd name="T7" fmla="*/ 0 h 108"/>
              <a:gd name="T8" fmla="*/ 2147483647 w 144"/>
              <a:gd name="T9" fmla="*/ 2147483647 h 108"/>
              <a:gd name="T10" fmla="*/ 2147483647 w 144"/>
              <a:gd name="T11" fmla="*/ 2147483647 h 108"/>
              <a:gd name="T12" fmla="*/ 2147483647 w 144"/>
              <a:gd name="T13" fmla="*/ 2147483647 h 108"/>
              <a:gd name="T14" fmla="*/ 2147483647 w 144"/>
              <a:gd name="T15" fmla="*/ 2147483647 h 108"/>
              <a:gd name="T16" fmla="*/ 2147483647 w 144"/>
              <a:gd name="T17" fmla="*/ 2147483647 h 108"/>
              <a:gd name="T18" fmla="*/ 0 w 144"/>
              <a:gd name="T19" fmla="*/ 2147483647 h 108"/>
              <a:gd name="T20" fmla="*/ 0 w 144"/>
              <a:gd name="T21" fmla="*/ 2147483647 h 108"/>
              <a:gd name="T22" fmla="*/ 2147483647 w 144"/>
              <a:gd name="T23" fmla="*/ 2147483647 h 108"/>
              <a:gd name="T24" fmla="*/ 2147483647 w 144"/>
              <a:gd name="T25" fmla="*/ 2147483647 h 108"/>
              <a:gd name="T26" fmla="*/ 2147483647 w 144"/>
              <a:gd name="T27" fmla="*/ 2147483647 h 108"/>
              <a:gd name="T28" fmla="*/ 2147483647 w 144"/>
              <a:gd name="T29" fmla="*/ 2147483647 h 108"/>
              <a:gd name="T30" fmla="*/ 2147483647 w 144"/>
              <a:gd name="T31" fmla="*/ 2147483647 h 108"/>
              <a:gd name="T32" fmla="*/ 2147483647 w 144"/>
              <a:gd name="T33" fmla="*/ 2147483647 h 108"/>
              <a:gd name="T34" fmla="*/ 2147483647 w 144"/>
              <a:gd name="T35" fmla="*/ 2147483647 h 108"/>
              <a:gd name="T36" fmla="*/ 2147483647 w 144"/>
              <a:gd name="T37" fmla="*/ 2147483647 h 108"/>
              <a:gd name="T38" fmla="*/ 2147483647 w 144"/>
              <a:gd name="T39" fmla="*/ 2147483647 h 10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4"/>
              <a:gd name="T61" fmla="*/ 0 h 108"/>
              <a:gd name="T62" fmla="*/ 144 w 144"/>
              <a:gd name="T63" fmla="*/ 108 h 10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4" h="108">
                <a:moveTo>
                  <a:pt x="138" y="48"/>
                </a:moveTo>
                <a:lnTo>
                  <a:pt x="144" y="12"/>
                </a:lnTo>
                <a:lnTo>
                  <a:pt x="48" y="12"/>
                </a:lnTo>
                <a:lnTo>
                  <a:pt x="36" y="0"/>
                </a:lnTo>
                <a:lnTo>
                  <a:pt x="30" y="6"/>
                </a:lnTo>
                <a:lnTo>
                  <a:pt x="30" y="42"/>
                </a:lnTo>
                <a:lnTo>
                  <a:pt x="18" y="54"/>
                </a:lnTo>
                <a:lnTo>
                  <a:pt x="12" y="66"/>
                </a:lnTo>
                <a:lnTo>
                  <a:pt x="6" y="72"/>
                </a:lnTo>
                <a:lnTo>
                  <a:pt x="0" y="84"/>
                </a:lnTo>
                <a:lnTo>
                  <a:pt x="0" y="90"/>
                </a:lnTo>
                <a:lnTo>
                  <a:pt x="6" y="96"/>
                </a:lnTo>
                <a:lnTo>
                  <a:pt x="18" y="102"/>
                </a:lnTo>
                <a:lnTo>
                  <a:pt x="36" y="102"/>
                </a:lnTo>
                <a:lnTo>
                  <a:pt x="36" y="108"/>
                </a:lnTo>
                <a:lnTo>
                  <a:pt x="138" y="108"/>
                </a:lnTo>
                <a:lnTo>
                  <a:pt x="138" y="102"/>
                </a:lnTo>
                <a:lnTo>
                  <a:pt x="144" y="84"/>
                </a:lnTo>
                <a:lnTo>
                  <a:pt x="144" y="54"/>
                </a:lnTo>
                <a:lnTo>
                  <a:pt x="138" y="4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4" name="Guinea"/>
          <p:cNvSpPr>
            <a:spLocks/>
          </p:cNvSpPr>
          <p:nvPr/>
        </p:nvSpPr>
        <p:spPr bwMode="gray">
          <a:xfrm>
            <a:off x="3590196" y="3848768"/>
            <a:ext cx="209550" cy="177800"/>
          </a:xfrm>
          <a:custGeom>
            <a:avLst/>
            <a:gdLst>
              <a:gd name="T0" fmla="*/ 2147483647 w 522"/>
              <a:gd name="T1" fmla="*/ 2147483647 h 444"/>
              <a:gd name="T2" fmla="*/ 2147483647 w 522"/>
              <a:gd name="T3" fmla="*/ 2147483647 h 444"/>
              <a:gd name="T4" fmla="*/ 2147483647 w 522"/>
              <a:gd name="T5" fmla="*/ 2147483647 h 444"/>
              <a:gd name="T6" fmla="*/ 2147483647 w 522"/>
              <a:gd name="T7" fmla="*/ 2147483647 h 444"/>
              <a:gd name="T8" fmla="*/ 2147483647 w 522"/>
              <a:gd name="T9" fmla="*/ 2147483647 h 444"/>
              <a:gd name="T10" fmla="*/ 2147483647 w 522"/>
              <a:gd name="T11" fmla="*/ 2147483647 h 444"/>
              <a:gd name="T12" fmla="*/ 2147483647 w 522"/>
              <a:gd name="T13" fmla="*/ 2147483647 h 444"/>
              <a:gd name="T14" fmla="*/ 2147483647 w 522"/>
              <a:gd name="T15" fmla="*/ 2147483647 h 444"/>
              <a:gd name="T16" fmla="*/ 2147483647 w 522"/>
              <a:gd name="T17" fmla="*/ 2147483647 h 444"/>
              <a:gd name="T18" fmla="*/ 2147483647 w 522"/>
              <a:gd name="T19" fmla="*/ 2147483647 h 444"/>
              <a:gd name="T20" fmla="*/ 2147483647 w 522"/>
              <a:gd name="T21" fmla="*/ 2147483647 h 444"/>
              <a:gd name="T22" fmla="*/ 2147483647 w 522"/>
              <a:gd name="T23" fmla="*/ 2147483647 h 444"/>
              <a:gd name="T24" fmla="*/ 2147483647 w 522"/>
              <a:gd name="T25" fmla="*/ 2147483647 h 444"/>
              <a:gd name="T26" fmla="*/ 2147483647 w 522"/>
              <a:gd name="T27" fmla="*/ 2147483647 h 444"/>
              <a:gd name="T28" fmla="*/ 2147483647 w 522"/>
              <a:gd name="T29" fmla="*/ 2147483647 h 444"/>
              <a:gd name="T30" fmla="*/ 2147483647 w 522"/>
              <a:gd name="T31" fmla="*/ 2147483647 h 444"/>
              <a:gd name="T32" fmla="*/ 2147483647 w 522"/>
              <a:gd name="T33" fmla="*/ 2147483647 h 444"/>
              <a:gd name="T34" fmla="*/ 2147483647 w 522"/>
              <a:gd name="T35" fmla="*/ 2147483647 h 444"/>
              <a:gd name="T36" fmla="*/ 2147483647 w 522"/>
              <a:gd name="T37" fmla="*/ 2147483647 h 444"/>
              <a:gd name="T38" fmla="*/ 2147483647 w 522"/>
              <a:gd name="T39" fmla="*/ 2147483647 h 444"/>
              <a:gd name="T40" fmla="*/ 2147483647 w 522"/>
              <a:gd name="T41" fmla="*/ 2147483647 h 444"/>
              <a:gd name="T42" fmla="*/ 2147483647 w 522"/>
              <a:gd name="T43" fmla="*/ 2147483647 h 444"/>
              <a:gd name="T44" fmla="*/ 2147483647 w 522"/>
              <a:gd name="T45" fmla="*/ 2147483647 h 444"/>
              <a:gd name="T46" fmla="*/ 2147483647 w 522"/>
              <a:gd name="T47" fmla="*/ 2147483647 h 444"/>
              <a:gd name="T48" fmla="*/ 2147483647 w 522"/>
              <a:gd name="T49" fmla="*/ 2147483647 h 444"/>
              <a:gd name="T50" fmla="*/ 2147483647 w 522"/>
              <a:gd name="T51" fmla="*/ 2147483647 h 444"/>
              <a:gd name="T52" fmla="*/ 2147483647 w 522"/>
              <a:gd name="T53" fmla="*/ 2147483647 h 444"/>
              <a:gd name="T54" fmla="*/ 2147483647 w 522"/>
              <a:gd name="T55" fmla="*/ 2147483647 h 444"/>
              <a:gd name="T56" fmla="*/ 2147483647 w 522"/>
              <a:gd name="T57" fmla="*/ 2147483647 h 444"/>
              <a:gd name="T58" fmla="*/ 2147483647 w 522"/>
              <a:gd name="T59" fmla="*/ 2147483647 h 444"/>
              <a:gd name="T60" fmla="*/ 2147483647 w 522"/>
              <a:gd name="T61" fmla="*/ 2147483647 h 444"/>
              <a:gd name="T62" fmla="*/ 2147483647 w 522"/>
              <a:gd name="T63" fmla="*/ 2147483647 h 444"/>
              <a:gd name="T64" fmla="*/ 2147483647 w 522"/>
              <a:gd name="T65" fmla="*/ 2147483647 h 444"/>
              <a:gd name="T66" fmla="*/ 2147483647 w 522"/>
              <a:gd name="T67" fmla="*/ 2147483647 h 444"/>
              <a:gd name="T68" fmla="*/ 2147483647 w 522"/>
              <a:gd name="T69" fmla="*/ 2147483647 h 444"/>
              <a:gd name="T70" fmla="*/ 2147483647 w 522"/>
              <a:gd name="T71" fmla="*/ 2147483647 h 444"/>
              <a:gd name="T72" fmla="*/ 2147483647 w 522"/>
              <a:gd name="T73" fmla="*/ 2147483647 h 444"/>
              <a:gd name="T74" fmla="*/ 2147483647 w 522"/>
              <a:gd name="T75" fmla="*/ 2147483647 h 444"/>
              <a:gd name="T76" fmla="*/ 2147483647 w 522"/>
              <a:gd name="T77" fmla="*/ 2147483647 h 444"/>
              <a:gd name="T78" fmla="*/ 2147483647 w 522"/>
              <a:gd name="T79" fmla="*/ 2147483647 h 444"/>
              <a:gd name="T80" fmla="*/ 2147483647 w 522"/>
              <a:gd name="T81" fmla="*/ 2147483647 h 444"/>
              <a:gd name="T82" fmla="*/ 2147483647 w 522"/>
              <a:gd name="T83" fmla="*/ 2147483647 h 444"/>
              <a:gd name="T84" fmla="*/ 2147483647 w 522"/>
              <a:gd name="T85" fmla="*/ 2147483647 h 444"/>
              <a:gd name="T86" fmla="*/ 2147483647 w 522"/>
              <a:gd name="T87" fmla="*/ 2147483647 h 444"/>
              <a:gd name="T88" fmla="*/ 2147483647 w 522"/>
              <a:gd name="T89" fmla="*/ 2147483647 h 444"/>
              <a:gd name="T90" fmla="*/ 2147483647 w 522"/>
              <a:gd name="T91" fmla="*/ 2147483647 h 444"/>
              <a:gd name="T92" fmla="*/ 2147483647 w 522"/>
              <a:gd name="T93" fmla="*/ 2147483647 h 4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522"/>
              <a:gd name="T142" fmla="*/ 0 h 444"/>
              <a:gd name="T143" fmla="*/ 522 w 522"/>
              <a:gd name="T144" fmla="*/ 444 h 4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522" h="444">
                <a:moveTo>
                  <a:pt x="96" y="0"/>
                </a:moveTo>
                <a:lnTo>
                  <a:pt x="96" y="24"/>
                </a:lnTo>
                <a:lnTo>
                  <a:pt x="78" y="24"/>
                </a:lnTo>
                <a:lnTo>
                  <a:pt x="72" y="30"/>
                </a:lnTo>
                <a:lnTo>
                  <a:pt x="72" y="42"/>
                </a:lnTo>
                <a:lnTo>
                  <a:pt x="78" y="48"/>
                </a:lnTo>
                <a:lnTo>
                  <a:pt x="90" y="54"/>
                </a:lnTo>
                <a:lnTo>
                  <a:pt x="96" y="60"/>
                </a:lnTo>
                <a:lnTo>
                  <a:pt x="96" y="66"/>
                </a:lnTo>
                <a:lnTo>
                  <a:pt x="90" y="78"/>
                </a:lnTo>
                <a:lnTo>
                  <a:pt x="84" y="84"/>
                </a:lnTo>
                <a:lnTo>
                  <a:pt x="54" y="84"/>
                </a:lnTo>
                <a:lnTo>
                  <a:pt x="42" y="90"/>
                </a:lnTo>
                <a:lnTo>
                  <a:pt x="36" y="96"/>
                </a:lnTo>
                <a:lnTo>
                  <a:pt x="18" y="96"/>
                </a:lnTo>
                <a:lnTo>
                  <a:pt x="0" y="126"/>
                </a:lnTo>
                <a:lnTo>
                  <a:pt x="0" y="132"/>
                </a:lnTo>
                <a:lnTo>
                  <a:pt x="18" y="150"/>
                </a:lnTo>
                <a:lnTo>
                  <a:pt x="30" y="150"/>
                </a:lnTo>
                <a:lnTo>
                  <a:pt x="30" y="162"/>
                </a:lnTo>
                <a:lnTo>
                  <a:pt x="24" y="168"/>
                </a:lnTo>
                <a:lnTo>
                  <a:pt x="30" y="180"/>
                </a:lnTo>
                <a:lnTo>
                  <a:pt x="30" y="192"/>
                </a:lnTo>
                <a:lnTo>
                  <a:pt x="54" y="204"/>
                </a:lnTo>
                <a:lnTo>
                  <a:pt x="72" y="204"/>
                </a:lnTo>
                <a:lnTo>
                  <a:pt x="72" y="228"/>
                </a:lnTo>
                <a:lnTo>
                  <a:pt x="84" y="228"/>
                </a:lnTo>
                <a:lnTo>
                  <a:pt x="90" y="222"/>
                </a:lnTo>
                <a:lnTo>
                  <a:pt x="90" y="234"/>
                </a:lnTo>
                <a:lnTo>
                  <a:pt x="96" y="246"/>
                </a:lnTo>
                <a:lnTo>
                  <a:pt x="96" y="258"/>
                </a:lnTo>
                <a:lnTo>
                  <a:pt x="114" y="276"/>
                </a:lnTo>
                <a:lnTo>
                  <a:pt x="126" y="282"/>
                </a:lnTo>
                <a:lnTo>
                  <a:pt x="132" y="288"/>
                </a:lnTo>
                <a:lnTo>
                  <a:pt x="138" y="282"/>
                </a:lnTo>
                <a:lnTo>
                  <a:pt x="150" y="276"/>
                </a:lnTo>
                <a:lnTo>
                  <a:pt x="156" y="264"/>
                </a:lnTo>
                <a:lnTo>
                  <a:pt x="168" y="252"/>
                </a:lnTo>
                <a:lnTo>
                  <a:pt x="174" y="240"/>
                </a:lnTo>
                <a:lnTo>
                  <a:pt x="180" y="234"/>
                </a:lnTo>
                <a:lnTo>
                  <a:pt x="180" y="228"/>
                </a:lnTo>
                <a:lnTo>
                  <a:pt x="216" y="228"/>
                </a:lnTo>
                <a:lnTo>
                  <a:pt x="222" y="210"/>
                </a:lnTo>
                <a:lnTo>
                  <a:pt x="258" y="210"/>
                </a:lnTo>
                <a:lnTo>
                  <a:pt x="300" y="270"/>
                </a:lnTo>
                <a:lnTo>
                  <a:pt x="300" y="288"/>
                </a:lnTo>
                <a:lnTo>
                  <a:pt x="312" y="300"/>
                </a:lnTo>
                <a:lnTo>
                  <a:pt x="312" y="318"/>
                </a:lnTo>
                <a:lnTo>
                  <a:pt x="306" y="330"/>
                </a:lnTo>
                <a:lnTo>
                  <a:pt x="300" y="336"/>
                </a:lnTo>
                <a:lnTo>
                  <a:pt x="294" y="354"/>
                </a:lnTo>
                <a:lnTo>
                  <a:pt x="324" y="342"/>
                </a:lnTo>
                <a:lnTo>
                  <a:pt x="348" y="348"/>
                </a:lnTo>
                <a:lnTo>
                  <a:pt x="348" y="336"/>
                </a:lnTo>
                <a:lnTo>
                  <a:pt x="354" y="330"/>
                </a:lnTo>
                <a:lnTo>
                  <a:pt x="360" y="330"/>
                </a:lnTo>
                <a:lnTo>
                  <a:pt x="372" y="336"/>
                </a:lnTo>
                <a:lnTo>
                  <a:pt x="384" y="348"/>
                </a:lnTo>
                <a:lnTo>
                  <a:pt x="390" y="366"/>
                </a:lnTo>
                <a:lnTo>
                  <a:pt x="390" y="426"/>
                </a:lnTo>
                <a:lnTo>
                  <a:pt x="402" y="426"/>
                </a:lnTo>
                <a:lnTo>
                  <a:pt x="402" y="432"/>
                </a:lnTo>
                <a:lnTo>
                  <a:pt x="414" y="444"/>
                </a:lnTo>
                <a:lnTo>
                  <a:pt x="420" y="444"/>
                </a:lnTo>
                <a:lnTo>
                  <a:pt x="432" y="432"/>
                </a:lnTo>
                <a:lnTo>
                  <a:pt x="432" y="420"/>
                </a:lnTo>
                <a:lnTo>
                  <a:pt x="438" y="408"/>
                </a:lnTo>
                <a:lnTo>
                  <a:pt x="444" y="402"/>
                </a:lnTo>
                <a:lnTo>
                  <a:pt x="456" y="402"/>
                </a:lnTo>
                <a:lnTo>
                  <a:pt x="468" y="408"/>
                </a:lnTo>
                <a:lnTo>
                  <a:pt x="474" y="414"/>
                </a:lnTo>
                <a:lnTo>
                  <a:pt x="480" y="414"/>
                </a:lnTo>
                <a:lnTo>
                  <a:pt x="486" y="408"/>
                </a:lnTo>
                <a:lnTo>
                  <a:pt x="486" y="390"/>
                </a:lnTo>
                <a:lnTo>
                  <a:pt x="480" y="384"/>
                </a:lnTo>
                <a:lnTo>
                  <a:pt x="480" y="378"/>
                </a:lnTo>
                <a:lnTo>
                  <a:pt x="498" y="378"/>
                </a:lnTo>
                <a:lnTo>
                  <a:pt x="492" y="366"/>
                </a:lnTo>
                <a:lnTo>
                  <a:pt x="480" y="360"/>
                </a:lnTo>
                <a:lnTo>
                  <a:pt x="474" y="348"/>
                </a:lnTo>
                <a:lnTo>
                  <a:pt x="474" y="336"/>
                </a:lnTo>
                <a:lnTo>
                  <a:pt x="492" y="336"/>
                </a:lnTo>
                <a:lnTo>
                  <a:pt x="498" y="342"/>
                </a:lnTo>
                <a:lnTo>
                  <a:pt x="510" y="342"/>
                </a:lnTo>
                <a:lnTo>
                  <a:pt x="516" y="348"/>
                </a:lnTo>
                <a:lnTo>
                  <a:pt x="516" y="342"/>
                </a:lnTo>
                <a:lnTo>
                  <a:pt x="522" y="336"/>
                </a:lnTo>
                <a:lnTo>
                  <a:pt x="522" y="324"/>
                </a:lnTo>
                <a:lnTo>
                  <a:pt x="516" y="324"/>
                </a:lnTo>
                <a:lnTo>
                  <a:pt x="504" y="318"/>
                </a:lnTo>
                <a:lnTo>
                  <a:pt x="498" y="318"/>
                </a:lnTo>
                <a:lnTo>
                  <a:pt x="498" y="306"/>
                </a:lnTo>
                <a:lnTo>
                  <a:pt x="504" y="294"/>
                </a:lnTo>
                <a:lnTo>
                  <a:pt x="510" y="288"/>
                </a:lnTo>
                <a:lnTo>
                  <a:pt x="492" y="282"/>
                </a:lnTo>
                <a:lnTo>
                  <a:pt x="504" y="264"/>
                </a:lnTo>
                <a:lnTo>
                  <a:pt x="486" y="258"/>
                </a:lnTo>
                <a:lnTo>
                  <a:pt x="480" y="222"/>
                </a:lnTo>
                <a:lnTo>
                  <a:pt x="498" y="198"/>
                </a:lnTo>
                <a:lnTo>
                  <a:pt x="468" y="168"/>
                </a:lnTo>
                <a:lnTo>
                  <a:pt x="468" y="132"/>
                </a:lnTo>
                <a:lnTo>
                  <a:pt x="444" y="132"/>
                </a:lnTo>
                <a:lnTo>
                  <a:pt x="468" y="96"/>
                </a:lnTo>
                <a:lnTo>
                  <a:pt x="432" y="78"/>
                </a:lnTo>
                <a:lnTo>
                  <a:pt x="444" y="48"/>
                </a:lnTo>
                <a:lnTo>
                  <a:pt x="426" y="36"/>
                </a:lnTo>
                <a:lnTo>
                  <a:pt x="426" y="18"/>
                </a:lnTo>
                <a:lnTo>
                  <a:pt x="414" y="12"/>
                </a:lnTo>
                <a:lnTo>
                  <a:pt x="402" y="12"/>
                </a:lnTo>
                <a:lnTo>
                  <a:pt x="396" y="18"/>
                </a:lnTo>
                <a:lnTo>
                  <a:pt x="396" y="36"/>
                </a:lnTo>
                <a:lnTo>
                  <a:pt x="378" y="54"/>
                </a:lnTo>
                <a:lnTo>
                  <a:pt x="366" y="48"/>
                </a:lnTo>
                <a:lnTo>
                  <a:pt x="360" y="42"/>
                </a:lnTo>
                <a:lnTo>
                  <a:pt x="348" y="36"/>
                </a:lnTo>
                <a:lnTo>
                  <a:pt x="342" y="36"/>
                </a:lnTo>
                <a:lnTo>
                  <a:pt x="336" y="30"/>
                </a:lnTo>
                <a:lnTo>
                  <a:pt x="330" y="30"/>
                </a:lnTo>
                <a:lnTo>
                  <a:pt x="324" y="42"/>
                </a:lnTo>
                <a:lnTo>
                  <a:pt x="312" y="54"/>
                </a:lnTo>
                <a:lnTo>
                  <a:pt x="306" y="66"/>
                </a:lnTo>
                <a:lnTo>
                  <a:pt x="306" y="54"/>
                </a:lnTo>
                <a:lnTo>
                  <a:pt x="300" y="42"/>
                </a:lnTo>
                <a:lnTo>
                  <a:pt x="288" y="30"/>
                </a:lnTo>
                <a:lnTo>
                  <a:pt x="276" y="42"/>
                </a:lnTo>
                <a:lnTo>
                  <a:pt x="270" y="54"/>
                </a:lnTo>
                <a:lnTo>
                  <a:pt x="264" y="60"/>
                </a:lnTo>
                <a:lnTo>
                  <a:pt x="258" y="54"/>
                </a:lnTo>
                <a:lnTo>
                  <a:pt x="258" y="48"/>
                </a:lnTo>
                <a:lnTo>
                  <a:pt x="252" y="36"/>
                </a:lnTo>
                <a:lnTo>
                  <a:pt x="252" y="24"/>
                </a:lnTo>
                <a:lnTo>
                  <a:pt x="210" y="24"/>
                </a:lnTo>
                <a:lnTo>
                  <a:pt x="204" y="30"/>
                </a:lnTo>
                <a:lnTo>
                  <a:pt x="192" y="36"/>
                </a:lnTo>
                <a:lnTo>
                  <a:pt x="180" y="36"/>
                </a:lnTo>
                <a:lnTo>
                  <a:pt x="174" y="30"/>
                </a:lnTo>
                <a:lnTo>
                  <a:pt x="168" y="18"/>
                </a:lnTo>
                <a:lnTo>
                  <a:pt x="162" y="12"/>
                </a:lnTo>
                <a:lnTo>
                  <a:pt x="156" y="18"/>
                </a:lnTo>
                <a:lnTo>
                  <a:pt x="138" y="18"/>
                </a:lnTo>
                <a:lnTo>
                  <a:pt x="132" y="6"/>
                </a:lnTo>
                <a:lnTo>
                  <a:pt x="132" y="0"/>
                </a:lnTo>
                <a:lnTo>
                  <a:pt x="96" y="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5" name="Guatemala"/>
          <p:cNvSpPr>
            <a:spLocks/>
          </p:cNvSpPr>
          <p:nvPr/>
        </p:nvSpPr>
        <p:spPr bwMode="gray">
          <a:xfrm>
            <a:off x="1397858" y="3678905"/>
            <a:ext cx="119063" cy="134938"/>
          </a:xfrm>
          <a:custGeom>
            <a:avLst/>
            <a:gdLst>
              <a:gd name="T0" fmla="*/ 2147483647 w 300"/>
              <a:gd name="T1" fmla="*/ 2147483647 h 336"/>
              <a:gd name="T2" fmla="*/ 2147483647 w 300"/>
              <a:gd name="T3" fmla="*/ 2147483647 h 336"/>
              <a:gd name="T4" fmla="*/ 2147483647 w 300"/>
              <a:gd name="T5" fmla="*/ 2147483647 h 336"/>
              <a:gd name="T6" fmla="*/ 2147483647 w 300"/>
              <a:gd name="T7" fmla="*/ 2147483647 h 336"/>
              <a:gd name="T8" fmla="*/ 2147483647 w 300"/>
              <a:gd name="T9" fmla="*/ 2147483647 h 336"/>
              <a:gd name="T10" fmla="*/ 2147483647 w 300"/>
              <a:gd name="T11" fmla="*/ 0 h 336"/>
              <a:gd name="T12" fmla="*/ 2147483647 w 300"/>
              <a:gd name="T13" fmla="*/ 2147483647 h 336"/>
              <a:gd name="T14" fmla="*/ 2147483647 w 300"/>
              <a:gd name="T15" fmla="*/ 2147483647 h 336"/>
              <a:gd name="T16" fmla="*/ 2147483647 w 300"/>
              <a:gd name="T17" fmla="*/ 2147483647 h 336"/>
              <a:gd name="T18" fmla="*/ 2147483647 w 300"/>
              <a:gd name="T19" fmla="*/ 2147483647 h 336"/>
              <a:gd name="T20" fmla="*/ 2147483647 w 300"/>
              <a:gd name="T21" fmla="*/ 2147483647 h 336"/>
              <a:gd name="T22" fmla="*/ 2147483647 w 300"/>
              <a:gd name="T23" fmla="*/ 2147483647 h 336"/>
              <a:gd name="T24" fmla="*/ 2147483647 w 300"/>
              <a:gd name="T25" fmla="*/ 2147483647 h 336"/>
              <a:gd name="T26" fmla="*/ 2147483647 w 300"/>
              <a:gd name="T27" fmla="*/ 2147483647 h 336"/>
              <a:gd name="T28" fmla="*/ 2147483647 w 300"/>
              <a:gd name="T29" fmla="*/ 2147483647 h 336"/>
              <a:gd name="T30" fmla="*/ 2147483647 w 300"/>
              <a:gd name="T31" fmla="*/ 2147483647 h 336"/>
              <a:gd name="T32" fmla="*/ 2147483647 w 300"/>
              <a:gd name="T33" fmla="*/ 2147483647 h 336"/>
              <a:gd name="T34" fmla="*/ 2147483647 w 300"/>
              <a:gd name="T35" fmla="*/ 2147483647 h 336"/>
              <a:gd name="T36" fmla="*/ 2147483647 w 300"/>
              <a:gd name="T37" fmla="*/ 2147483647 h 336"/>
              <a:gd name="T38" fmla="*/ 2147483647 w 300"/>
              <a:gd name="T39" fmla="*/ 2147483647 h 336"/>
              <a:gd name="T40" fmla="*/ 2147483647 w 300"/>
              <a:gd name="T41" fmla="*/ 2147483647 h 336"/>
              <a:gd name="T42" fmla="*/ 2147483647 w 300"/>
              <a:gd name="T43" fmla="*/ 2147483647 h 336"/>
              <a:gd name="T44" fmla="*/ 2147483647 w 300"/>
              <a:gd name="T45" fmla="*/ 2147483647 h 336"/>
              <a:gd name="T46" fmla="*/ 2147483647 w 300"/>
              <a:gd name="T47" fmla="*/ 2147483647 h 336"/>
              <a:gd name="T48" fmla="*/ 2147483647 w 300"/>
              <a:gd name="T49" fmla="*/ 2147483647 h 336"/>
              <a:gd name="T50" fmla="*/ 2147483647 w 300"/>
              <a:gd name="T51" fmla="*/ 2147483647 h 336"/>
              <a:gd name="T52" fmla="*/ 2147483647 w 300"/>
              <a:gd name="T53" fmla="*/ 2147483647 h 336"/>
              <a:gd name="T54" fmla="*/ 2147483647 w 300"/>
              <a:gd name="T55" fmla="*/ 2147483647 h 336"/>
              <a:gd name="T56" fmla="*/ 2147483647 w 300"/>
              <a:gd name="T57" fmla="*/ 2147483647 h 336"/>
              <a:gd name="T58" fmla="*/ 0 w 300"/>
              <a:gd name="T59" fmla="*/ 2147483647 h 336"/>
              <a:gd name="T60" fmla="*/ 2147483647 w 300"/>
              <a:gd name="T61" fmla="*/ 2147483647 h 336"/>
              <a:gd name="T62" fmla="*/ 2147483647 w 300"/>
              <a:gd name="T63" fmla="*/ 2147483647 h 336"/>
              <a:gd name="T64" fmla="*/ 2147483647 w 300"/>
              <a:gd name="T65" fmla="*/ 2147483647 h 336"/>
              <a:gd name="T66" fmla="*/ 2147483647 w 300"/>
              <a:gd name="T67" fmla="*/ 2147483647 h 336"/>
              <a:gd name="T68" fmla="*/ 2147483647 w 300"/>
              <a:gd name="T69" fmla="*/ 2147483647 h 336"/>
              <a:gd name="T70" fmla="*/ 2147483647 w 300"/>
              <a:gd name="T71" fmla="*/ 2147483647 h 336"/>
              <a:gd name="T72" fmla="*/ 2147483647 w 300"/>
              <a:gd name="T73" fmla="*/ 2147483647 h 336"/>
              <a:gd name="T74" fmla="*/ 2147483647 w 300"/>
              <a:gd name="T75" fmla="*/ 2147483647 h 336"/>
              <a:gd name="T76" fmla="*/ 2147483647 w 300"/>
              <a:gd name="T77" fmla="*/ 2147483647 h 336"/>
              <a:gd name="T78" fmla="*/ 2147483647 w 300"/>
              <a:gd name="T79" fmla="*/ 2147483647 h 336"/>
              <a:gd name="T80" fmla="*/ 2147483647 w 300"/>
              <a:gd name="T81" fmla="*/ 2147483647 h 336"/>
              <a:gd name="T82" fmla="*/ 2147483647 w 300"/>
              <a:gd name="T83" fmla="*/ 2147483647 h 336"/>
              <a:gd name="T84" fmla="*/ 2147483647 w 300"/>
              <a:gd name="T85" fmla="*/ 2147483647 h 336"/>
              <a:gd name="T86" fmla="*/ 2147483647 w 300"/>
              <a:gd name="T87" fmla="*/ 2147483647 h 336"/>
              <a:gd name="T88" fmla="*/ 2147483647 w 300"/>
              <a:gd name="T89" fmla="*/ 2147483647 h 336"/>
              <a:gd name="T90" fmla="*/ 2147483647 w 300"/>
              <a:gd name="T91" fmla="*/ 2147483647 h 336"/>
              <a:gd name="T92" fmla="*/ 2147483647 w 300"/>
              <a:gd name="T93" fmla="*/ 2147483647 h 336"/>
              <a:gd name="T94" fmla="*/ 2147483647 w 300"/>
              <a:gd name="T95" fmla="*/ 2147483647 h 336"/>
              <a:gd name="T96" fmla="*/ 2147483647 w 300"/>
              <a:gd name="T97" fmla="*/ 2147483647 h 336"/>
              <a:gd name="T98" fmla="*/ 2147483647 w 300"/>
              <a:gd name="T99" fmla="*/ 2147483647 h 336"/>
              <a:gd name="T100" fmla="*/ 2147483647 w 300"/>
              <a:gd name="T101" fmla="*/ 2147483647 h 336"/>
              <a:gd name="T102" fmla="*/ 2147483647 w 300"/>
              <a:gd name="T103" fmla="*/ 2147483647 h 336"/>
              <a:gd name="T104" fmla="*/ 2147483647 w 300"/>
              <a:gd name="T105" fmla="*/ 2147483647 h 336"/>
              <a:gd name="T106" fmla="*/ 2147483647 w 300"/>
              <a:gd name="T107" fmla="*/ 2147483647 h 336"/>
              <a:gd name="T108" fmla="*/ 2147483647 w 300"/>
              <a:gd name="T109" fmla="*/ 2147483647 h 336"/>
              <a:gd name="T110" fmla="*/ 2147483647 w 300"/>
              <a:gd name="T111" fmla="*/ 2147483647 h 336"/>
              <a:gd name="T112" fmla="*/ 2147483647 w 300"/>
              <a:gd name="T113" fmla="*/ 2147483647 h 336"/>
              <a:gd name="T114" fmla="*/ 2147483647 w 300"/>
              <a:gd name="T115" fmla="*/ 2147483647 h 336"/>
              <a:gd name="T116" fmla="*/ 2147483647 w 300"/>
              <a:gd name="T117" fmla="*/ 2147483647 h 336"/>
              <a:gd name="T118" fmla="*/ 2147483647 w 300"/>
              <a:gd name="T119" fmla="*/ 2147483647 h 336"/>
              <a:gd name="T120" fmla="*/ 2147483647 w 300"/>
              <a:gd name="T121" fmla="*/ 2147483647 h 3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0"/>
              <a:gd name="T184" fmla="*/ 0 h 336"/>
              <a:gd name="T185" fmla="*/ 300 w 300"/>
              <a:gd name="T186" fmla="*/ 336 h 3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0" h="336">
                <a:moveTo>
                  <a:pt x="288" y="156"/>
                </a:moveTo>
                <a:lnTo>
                  <a:pt x="270" y="168"/>
                </a:lnTo>
                <a:lnTo>
                  <a:pt x="258" y="162"/>
                </a:lnTo>
                <a:lnTo>
                  <a:pt x="228" y="162"/>
                </a:lnTo>
                <a:lnTo>
                  <a:pt x="252" y="6"/>
                </a:lnTo>
                <a:lnTo>
                  <a:pt x="120" y="0"/>
                </a:lnTo>
                <a:lnTo>
                  <a:pt x="120" y="12"/>
                </a:lnTo>
                <a:lnTo>
                  <a:pt x="126" y="24"/>
                </a:lnTo>
                <a:lnTo>
                  <a:pt x="126" y="48"/>
                </a:lnTo>
                <a:lnTo>
                  <a:pt x="120" y="48"/>
                </a:lnTo>
                <a:lnTo>
                  <a:pt x="108" y="54"/>
                </a:lnTo>
                <a:lnTo>
                  <a:pt x="84" y="54"/>
                </a:lnTo>
                <a:lnTo>
                  <a:pt x="96" y="60"/>
                </a:lnTo>
                <a:lnTo>
                  <a:pt x="96" y="66"/>
                </a:lnTo>
                <a:lnTo>
                  <a:pt x="102" y="78"/>
                </a:lnTo>
                <a:lnTo>
                  <a:pt x="108" y="84"/>
                </a:lnTo>
                <a:lnTo>
                  <a:pt x="114" y="84"/>
                </a:lnTo>
                <a:lnTo>
                  <a:pt x="126" y="90"/>
                </a:lnTo>
                <a:lnTo>
                  <a:pt x="132" y="90"/>
                </a:lnTo>
                <a:lnTo>
                  <a:pt x="138" y="114"/>
                </a:lnTo>
                <a:lnTo>
                  <a:pt x="156" y="114"/>
                </a:lnTo>
                <a:lnTo>
                  <a:pt x="156" y="126"/>
                </a:lnTo>
                <a:lnTo>
                  <a:pt x="150" y="132"/>
                </a:lnTo>
                <a:lnTo>
                  <a:pt x="144" y="132"/>
                </a:lnTo>
                <a:lnTo>
                  <a:pt x="144" y="150"/>
                </a:lnTo>
                <a:lnTo>
                  <a:pt x="54" y="144"/>
                </a:lnTo>
                <a:lnTo>
                  <a:pt x="24" y="192"/>
                </a:lnTo>
                <a:lnTo>
                  <a:pt x="24" y="264"/>
                </a:lnTo>
                <a:lnTo>
                  <a:pt x="18" y="270"/>
                </a:lnTo>
                <a:lnTo>
                  <a:pt x="0" y="270"/>
                </a:lnTo>
                <a:lnTo>
                  <a:pt x="6" y="282"/>
                </a:lnTo>
                <a:lnTo>
                  <a:pt x="12" y="288"/>
                </a:lnTo>
                <a:lnTo>
                  <a:pt x="24" y="288"/>
                </a:lnTo>
                <a:lnTo>
                  <a:pt x="42" y="300"/>
                </a:lnTo>
                <a:lnTo>
                  <a:pt x="60" y="318"/>
                </a:lnTo>
                <a:lnTo>
                  <a:pt x="72" y="324"/>
                </a:lnTo>
                <a:lnTo>
                  <a:pt x="120" y="324"/>
                </a:lnTo>
                <a:lnTo>
                  <a:pt x="126" y="330"/>
                </a:lnTo>
                <a:lnTo>
                  <a:pt x="132" y="330"/>
                </a:lnTo>
                <a:lnTo>
                  <a:pt x="138" y="336"/>
                </a:lnTo>
                <a:lnTo>
                  <a:pt x="150" y="324"/>
                </a:lnTo>
                <a:lnTo>
                  <a:pt x="162" y="318"/>
                </a:lnTo>
                <a:lnTo>
                  <a:pt x="168" y="312"/>
                </a:lnTo>
                <a:lnTo>
                  <a:pt x="174" y="312"/>
                </a:lnTo>
                <a:lnTo>
                  <a:pt x="180" y="300"/>
                </a:lnTo>
                <a:lnTo>
                  <a:pt x="186" y="294"/>
                </a:lnTo>
                <a:lnTo>
                  <a:pt x="186" y="282"/>
                </a:lnTo>
                <a:lnTo>
                  <a:pt x="204" y="282"/>
                </a:lnTo>
                <a:lnTo>
                  <a:pt x="210" y="276"/>
                </a:lnTo>
                <a:lnTo>
                  <a:pt x="222" y="270"/>
                </a:lnTo>
                <a:lnTo>
                  <a:pt x="222" y="264"/>
                </a:lnTo>
                <a:lnTo>
                  <a:pt x="228" y="252"/>
                </a:lnTo>
                <a:lnTo>
                  <a:pt x="228" y="234"/>
                </a:lnTo>
                <a:lnTo>
                  <a:pt x="234" y="222"/>
                </a:lnTo>
                <a:lnTo>
                  <a:pt x="246" y="216"/>
                </a:lnTo>
                <a:lnTo>
                  <a:pt x="258" y="204"/>
                </a:lnTo>
                <a:lnTo>
                  <a:pt x="270" y="198"/>
                </a:lnTo>
                <a:lnTo>
                  <a:pt x="282" y="186"/>
                </a:lnTo>
                <a:lnTo>
                  <a:pt x="294" y="180"/>
                </a:lnTo>
                <a:lnTo>
                  <a:pt x="300" y="168"/>
                </a:lnTo>
                <a:lnTo>
                  <a:pt x="288" y="15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6" name="Greenland"/>
          <p:cNvSpPr>
            <a:spLocks noEditPoints="1"/>
          </p:cNvSpPr>
          <p:nvPr/>
        </p:nvSpPr>
        <p:spPr bwMode="gray">
          <a:xfrm>
            <a:off x="2786921" y="1729455"/>
            <a:ext cx="1127125" cy="614363"/>
          </a:xfrm>
          <a:custGeom>
            <a:avLst/>
            <a:gdLst>
              <a:gd name="T0" fmla="*/ 2147483647 w 732"/>
              <a:gd name="T1" fmla="*/ 2147483647 h 398"/>
              <a:gd name="T2" fmla="*/ 2147483647 w 732"/>
              <a:gd name="T3" fmla="*/ 2147483647 h 398"/>
              <a:gd name="T4" fmla="*/ 2147483647 w 732"/>
              <a:gd name="T5" fmla="*/ 2147483647 h 398"/>
              <a:gd name="T6" fmla="*/ 2147483647 w 732"/>
              <a:gd name="T7" fmla="*/ 2147483647 h 398"/>
              <a:gd name="T8" fmla="*/ 2147483647 w 732"/>
              <a:gd name="T9" fmla="*/ 2147483647 h 398"/>
              <a:gd name="T10" fmla="*/ 2147483647 w 732"/>
              <a:gd name="T11" fmla="*/ 2147483647 h 398"/>
              <a:gd name="T12" fmla="*/ 2147483647 w 732"/>
              <a:gd name="T13" fmla="*/ 2147483647 h 398"/>
              <a:gd name="T14" fmla="*/ 2147483647 w 732"/>
              <a:gd name="T15" fmla="*/ 2147483647 h 398"/>
              <a:gd name="T16" fmla="*/ 2147483647 w 732"/>
              <a:gd name="T17" fmla="*/ 2147483647 h 398"/>
              <a:gd name="T18" fmla="*/ 2147483647 w 732"/>
              <a:gd name="T19" fmla="*/ 2147483647 h 398"/>
              <a:gd name="T20" fmla="*/ 2147483647 w 732"/>
              <a:gd name="T21" fmla="*/ 2147483647 h 398"/>
              <a:gd name="T22" fmla="*/ 2147483647 w 732"/>
              <a:gd name="T23" fmla="*/ 2147483647 h 398"/>
              <a:gd name="T24" fmla="*/ 2147483647 w 732"/>
              <a:gd name="T25" fmla="*/ 2147483647 h 398"/>
              <a:gd name="T26" fmla="*/ 2147483647 w 732"/>
              <a:gd name="T27" fmla="*/ 2147483647 h 398"/>
              <a:gd name="T28" fmla="*/ 2147483647 w 732"/>
              <a:gd name="T29" fmla="*/ 2147483647 h 398"/>
              <a:gd name="T30" fmla="*/ 2147483647 w 732"/>
              <a:gd name="T31" fmla="*/ 2147483647 h 398"/>
              <a:gd name="T32" fmla="*/ 2147483647 w 732"/>
              <a:gd name="T33" fmla="*/ 2147483647 h 398"/>
              <a:gd name="T34" fmla="*/ 2147483647 w 732"/>
              <a:gd name="T35" fmla="*/ 2147483647 h 398"/>
              <a:gd name="T36" fmla="*/ 2147483647 w 732"/>
              <a:gd name="T37" fmla="*/ 2147483647 h 398"/>
              <a:gd name="T38" fmla="*/ 2147483647 w 732"/>
              <a:gd name="T39" fmla="*/ 2147483647 h 398"/>
              <a:gd name="T40" fmla="*/ 2147483647 w 732"/>
              <a:gd name="T41" fmla="*/ 2147483647 h 398"/>
              <a:gd name="T42" fmla="*/ 2147483647 w 732"/>
              <a:gd name="T43" fmla="*/ 2147483647 h 398"/>
              <a:gd name="T44" fmla="*/ 2147483647 w 732"/>
              <a:gd name="T45" fmla="*/ 2147483647 h 398"/>
              <a:gd name="T46" fmla="*/ 2147483647 w 732"/>
              <a:gd name="T47" fmla="*/ 2147483647 h 398"/>
              <a:gd name="T48" fmla="*/ 2147483647 w 732"/>
              <a:gd name="T49" fmla="*/ 2147483647 h 398"/>
              <a:gd name="T50" fmla="*/ 2147483647 w 732"/>
              <a:gd name="T51" fmla="*/ 2147483647 h 398"/>
              <a:gd name="T52" fmla="*/ 2147483647 w 732"/>
              <a:gd name="T53" fmla="*/ 2147483647 h 398"/>
              <a:gd name="T54" fmla="*/ 2147483647 w 732"/>
              <a:gd name="T55" fmla="*/ 2147483647 h 398"/>
              <a:gd name="T56" fmla="*/ 2147483647 w 732"/>
              <a:gd name="T57" fmla="*/ 2147483647 h 398"/>
              <a:gd name="T58" fmla="*/ 2147483647 w 732"/>
              <a:gd name="T59" fmla="*/ 2147483647 h 398"/>
              <a:gd name="T60" fmla="*/ 2147483647 w 732"/>
              <a:gd name="T61" fmla="*/ 2147483647 h 398"/>
              <a:gd name="T62" fmla="*/ 2147483647 w 732"/>
              <a:gd name="T63" fmla="*/ 2147483647 h 398"/>
              <a:gd name="T64" fmla="*/ 2147483647 w 732"/>
              <a:gd name="T65" fmla="*/ 2147483647 h 398"/>
              <a:gd name="T66" fmla="*/ 2147483647 w 732"/>
              <a:gd name="T67" fmla="*/ 2147483647 h 398"/>
              <a:gd name="T68" fmla="*/ 2147483647 w 732"/>
              <a:gd name="T69" fmla="*/ 2147483647 h 398"/>
              <a:gd name="T70" fmla="*/ 2147483647 w 732"/>
              <a:gd name="T71" fmla="*/ 2147483647 h 398"/>
              <a:gd name="T72" fmla="*/ 2147483647 w 732"/>
              <a:gd name="T73" fmla="*/ 2147483647 h 398"/>
              <a:gd name="T74" fmla="*/ 2147483647 w 732"/>
              <a:gd name="T75" fmla="*/ 2147483647 h 398"/>
              <a:gd name="T76" fmla="*/ 2147483647 w 732"/>
              <a:gd name="T77" fmla="*/ 2147483647 h 398"/>
              <a:gd name="T78" fmla="*/ 2147483647 w 732"/>
              <a:gd name="T79" fmla="*/ 2147483647 h 398"/>
              <a:gd name="T80" fmla="*/ 2147483647 w 732"/>
              <a:gd name="T81" fmla="*/ 2147483647 h 398"/>
              <a:gd name="T82" fmla="*/ 2147483647 w 732"/>
              <a:gd name="T83" fmla="*/ 2147483647 h 398"/>
              <a:gd name="T84" fmla="*/ 2147483647 w 732"/>
              <a:gd name="T85" fmla="*/ 2147483647 h 398"/>
              <a:gd name="T86" fmla="*/ 2147483647 w 732"/>
              <a:gd name="T87" fmla="*/ 2147483647 h 398"/>
              <a:gd name="T88" fmla="*/ 2147483647 w 732"/>
              <a:gd name="T89" fmla="*/ 2147483647 h 398"/>
              <a:gd name="T90" fmla="*/ 2147483647 w 732"/>
              <a:gd name="T91" fmla="*/ 2147483647 h 398"/>
              <a:gd name="T92" fmla="*/ 2147483647 w 732"/>
              <a:gd name="T93" fmla="*/ 2147483647 h 398"/>
              <a:gd name="T94" fmla="*/ 2147483647 w 732"/>
              <a:gd name="T95" fmla="*/ 2147483647 h 398"/>
              <a:gd name="T96" fmla="*/ 2147483647 w 732"/>
              <a:gd name="T97" fmla="*/ 2147483647 h 398"/>
              <a:gd name="T98" fmla="*/ 2147483647 w 732"/>
              <a:gd name="T99" fmla="*/ 2147483647 h 398"/>
              <a:gd name="T100" fmla="*/ 2147483647 w 732"/>
              <a:gd name="T101" fmla="*/ 2147483647 h 398"/>
              <a:gd name="T102" fmla="*/ 2147483647 w 732"/>
              <a:gd name="T103" fmla="*/ 2147483647 h 398"/>
              <a:gd name="T104" fmla="*/ 2147483647 w 732"/>
              <a:gd name="T105" fmla="*/ 2147483647 h 398"/>
              <a:gd name="T106" fmla="*/ 2147483647 w 732"/>
              <a:gd name="T107" fmla="*/ 2147483647 h 398"/>
              <a:gd name="T108" fmla="*/ 2147483647 w 732"/>
              <a:gd name="T109" fmla="*/ 2147483647 h 398"/>
              <a:gd name="T110" fmla="*/ 2147483647 w 732"/>
              <a:gd name="T111" fmla="*/ 2147483647 h 398"/>
              <a:gd name="T112" fmla="*/ 2147483647 w 732"/>
              <a:gd name="T113" fmla="*/ 2147483647 h 398"/>
              <a:gd name="T114" fmla="*/ 2147483647 w 732"/>
              <a:gd name="T115" fmla="*/ 2147483647 h 398"/>
              <a:gd name="T116" fmla="*/ 2147483647 w 732"/>
              <a:gd name="T117" fmla="*/ 2147483647 h 398"/>
              <a:gd name="T118" fmla="*/ 2147483647 w 732"/>
              <a:gd name="T119" fmla="*/ 2147483647 h 398"/>
              <a:gd name="T120" fmla="*/ 2147483647 w 732"/>
              <a:gd name="T121" fmla="*/ 2147483647 h 398"/>
              <a:gd name="T122" fmla="*/ 2147483647 w 732"/>
              <a:gd name="T123" fmla="*/ 2147483647 h 39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32"/>
              <a:gd name="T187" fmla="*/ 0 h 398"/>
              <a:gd name="T188" fmla="*/ 732 w 732"/>
              <a:gd name="T189" fmla="*/ 398 h 39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32" h="398">
                <a:moveTo>
                  <a:pt x="730" y="24"/>
                </a:moveTo>
                <a:lnTo>
                  <a:pt x="728" y="24"/>
                </a:lnTo>
                <a:lnTo>
                  <a:pt x="723" y="24"/>
                </a:lnTo>
                <a:lnTo>
                  <a:pt x="718" y="22"/>
                </a:lnTo>
                <a:lnTo>
                  <a:pt x="678" y="22"/>
                </a:lnTo>
                <a:lnTo>
                  <a:pt x="678" y="24"/>
                </a:lnTo>
                <a:lnTo>
                  <a:pt x="670" y="26"/>
                </a:lnTo>
                <a:lnTo>
                  <a:pt x="659" y="26"/>
                </a:lnTo>
                <a:lnTo>
                  <a:pt x="651" y="24"/>
                </a:lnTo>
                <a:lnTo>
                  <a:pt x="637" y="24"/>
                </a:lnTo>
                <a:lnTo>
                  <a:pt x="623" y="29"/>
                </a:lnTo>
                <a:lnTo>
                  <a:pt x="616" y="34"/>
                </a:lnTo>
                <a:lnTo>
                  <a:pt x="611" y="34"/>
                </a:lnTo>
                <a:lnTo>
                  <a:pt x="606" y="34"/>
                </a:lnTo>
                <a:lnTo>
                  <a:pt x="604" y="36"/>
                </a:lnTo>
                <a:lnTo>
                  <a:pt x="602" y="36"/>
                </a:lnTo>
                <a:lnTo>
                  <a:pt x="597" y="38"/>
                </a:lnTo>
                <a:lnTo>
                  <a:pt x="592" y="38"/>
                </a:lnTo>
                <a:lnTo>
                  <a:pt x="599" y="34"/>
                </a:lnTo>
                <a:lnTo>
                  <a:pt x="609" y="31"/>
                </a:lnTo>
                <a:lnTo>
                  <a:pt x="621" y="26"/>
                </a:lnTo>
                <a:lnTo>
                  <a:pt x="623" y="24"/>
                </a:lnTo>
                <a:lnTo>
                  <a:pt x="618" y="19"/>
                </a:lnTo>
                <a:lnTo>
                  <a:pt x="606" y="19"/>
                </a:lnTo>
                <a:lnTo>
                  <a:pt x="604" y="22"/>
                </a:lnTo>
                <a:lnTo>
                  <a:pt x="602" y="22"/>
                </a:lnTo>
                <a:lnTo>
                  <a:pt x="597" y="24"/>
                </a:lnTo>
                <a:lnTo>
                  <a:pt x="594" y="24"/>
                </a:lnTo>
                <a:lnTo>
                  <a:pt x="566" y="26"/>
                </a:lnTo>
                <a:lnTo>
                  <a:pt x="566" y="29"/>
                </a:lnTo>
                <a:lnTo>
                  <a:pt x="563" y="29"/>
                </a:lnTo>
                <a:lnTo>
                  <a:pt x="566" y="26"/>
                </a:lnTo>
                <a:lnTo>
                  <a:pt x="568" y="26"/>
                </a:lnTo>
                <a:lnTo>
                  <a:pt x="573" y="26"/>
                </a:lnTo>
                <a:lnTo>
                  <a:pt x="578" y="24"/>
                </a:lnTo>
                <a:lnTo>
                  <a:pt x="580" y="24"/>
                </a:lnTo>
                <a:lnTo>
                  <a:pt x="582" y="24"/>
                </a:lnTo>
                <a:lnTo>
                  <a:pt x="585" y="22"/>
                </a:lnTo>
                <a:lnTo>
                  <a:pt x="578" y="19"/>
                </a:lnTo>
                <a:lnTo>
                  <a:pt x="552" y="19"/>
                </a:lnTo>
                <a:lnTo>
                  <a:pt x="542" y="22"/>
                </a:lnTo>
                <a:lnTo>
                  <a:pt x="525" y="19"/>
                </a:lnTo>
                <a:lnTo>
                  <a:pt x="523" y="19"/>
                </a:lnTo>
                <a:lnTo>
                  <a:pt x="523" y="22"/>
                </a:lnTo>
                <a:lnTo>
                  <a:pt x="518" y="22"/>
                </a:lnTo>
                <a:lnTo>
                  <a:pt x="514" y="24"/>
                </a:lnTo>
                <a:lnTo>
                  <a:pt x="511" y="24"/>
                </a:lnTo>
                <a:lnTo>
                  <a:pt x="509" y="24"/>
                </a:lnTo>
                <a:lnTo>
                  <a:pt x="506" y="24"/>
                </a:lnTo>
                <a:lnTo>
                  <a:pt x="509" y="22"/>
                </a:lnTo>
                <a:lnTo>
                  <a:pt x="518" y="19"/>
                </a:lnTo>
                <a:lnTo>
                  <a:pt x="530" y="19"/>
                </a:lnTo>
                <a:lnTo>
                  <a:pt x="563" y="19"/>
                </a:lnTo>
                <a:lnTo>
                  <a:pt x="580" y="17"/>
                </a:lnTo>
                <a:lnTo>
                  <a:pt x="625" y="17"/>
                </a:lnTo>
                <a:lnTo>
                  <a:pt x="632" y="14"/>
                </a:lnTo>
                <a:lnTo>
                  <a:pt x="628" y="12"/>
                </a:lnTo>
                <a:lnTo>
                  <a:pt x="618" y="10"/>
                </a:lnTo>
                <a:lnTo>
                  <a:pt x="592" y="10"/>
                </a:lnTo>
                <a:lnTo>
                  <a:pt x="594" y="10"/>
                </a:lnTo>
                <a:lnTo>
                  <a:pt x="597" y="7"/>
                </a:lnTo>
                <a:lnTo>
                  <a:pt x="594" y="5"/>
                </a:lnTo>
                <a:lnTo>
                  <a:pt x="585" y="5"/>
                </a:lnTo>
                <a:lnTo>
                  <a:pt x="582" y="7"/>
                </a:lnTo>
                <a:lnTo>
                  <a:pt x="568" y="7"/>
                </a:lnTo>
                <a:lnTo>
                  <a:pt x="566" y="5"/>
                </a:lnTo>
                <a:lnTo>
                  <a:pt x="571" y="5"/>
                </a:lnTo>
                <a:lnTo>
                  <a:pt x="573" y="5"/>
                </a:lnTo>
                <a:lnTo>
                  <a:pt x="578" y="5"/>
                </a:lnTo>
                <a:lnTo>
                  <a:pt x="578" y="2"/>
                </a:lnTo>
                <a:lnTo>
                  <a:pt x="575" y="2"/>
                </a:lnTo>
                <a:lnTo>
                  <a:pt x="571" y="0"/>
                </a:lnTo>
                <a:lnTo>
                  <a:pt x="537" y="0"/>
                </a:lnTo>
                <a:lnTo>
                  <a:pt x="528" y="2"/>
                </a:lnTo>
                <a:lnTo>
                  <a:pt x="518" y="2"/>
                </a:lnTo>
                <a:lnTo>
                  <a:pt x="509" y="0"/>
                </a:lnTo>
                <a:lnTo>
                  <a:pt x="483" y="0"/>
                </a:lnTo>
                <a:lnTo>
                  <a:pt x="478" y="2"/>
                </a:lnTo>
                <a:lnTo>
                  <a:pt x="454" y="2"/>
                </a:lnTo>
                <a:lnTo>
                  <a:pt x="452" y="0"/>
                </a:lnTo>
                <a:lnTo>
                  <a:pt x="447" y="0"/>
                </a:lnTo>
                <a:lnTo>
                  <a:pt x="445" y="2"/>
                </a:lnTo>
                <a:lnTo>
                  <a:pt x="442" y="2"/>
                </a:lnTo>
                <a:lnTo>
                  <a:pt x="442" y="5"/>
                </a:lnTo>
                <a:lnTo>
                  <a:pt x="445" y="5"/>
                </a:lnTo>
                <a:lnTo>
                  <a:pt x="447" y="5"/>
                </a:lnTo>
                <a:lnTo>
                  <a:pt x="442" y="7"/>
                </a:lnTo>
                <a:lnTo>
                  <a:pt x="428" y="7"/>
                </a:lnTo>
                <a:lnTo>
                  <a:pt x="409" y="5"/>
                </a:lnTo>
                <a:lnTo>
                  <a:pt x="378" y="5"/>
                </a:lnTo>
                <a:lnTo>
                  <a:pt x="373" y="5"/>
                </a:lnTo>
                <a:lnTo>
                  <a:pt x="371" y="5"/>
                </a:lnTo>
                <a:lnTo>
                  <a:pt x="368" y="7"/>
                </a:lnTo>
                <a:lnTo>
                  <a:pt x="366" y="7"/>
                </a:lnTo>
                <a:lnTo>
                  <a:pt x="366" y="10"/>
                </a:lnTo>
                <a:lnTo>
                  <a:pt x="368" y="10"/>
                </a:lnTo>
                <a:lnTo>
                  <a:pt x="378" y="10"/>
                </a:lnTo>
                <a:lnTo>
                  <a:pt x="387" y="10"/>
                </a:lnTo>
                <a:lnTo>
                  <a:pt x="399" y="12"/>
                </a:lnTo>
                <a:lnTo>
                  <a:pt x="404" y="12"/>
                </a:lnTo>
                <a:lnTo>
                  <a:pt x="426" y="14"/>
                </a:lnTo>
                <a:lnTo>
                  <a:pt x="399" y="14"/>
                </a:lnTo>
                <a:lnTo>
                  <a:pt x="395" y="14"/>
                </a:lnTo>
                <a:lnTo>
                  <a:pt x="392" y="14"/>
                </a:lnTo>
                <a:lnTo>
                  <a:pt x="387" y="12"/>
                </a:lnTo>
                <a:lnTo>
                  <a:pt x="378" y="12"/>
                </a:lnTo>
                <a:lnTo>
                  <a:pt x="380" y="14"/>
                </a:lnTo>
                <a:lnTo>
                  <a:pt x="383" y="14"/>
                </a:lnTo>
                <a:lnTo>
                  <a:pt x="385" y="14"/>
                </a:lnTo>
                <a:lnTo>
                  <a:pt x="376" y="14"/>
                </a:lnTo>
                <a:lnTo>
                  <a:pt x="373" y="17"/>
                </a:lnTo>
                <a:lnTo>
                  <a:pt x="373" y="19"/>
                </a:lnTo>
                <a:lnTo>
                  <a:pt x="371" y="22"/>
                </a:lnTo>
                <a:lnTo>
                  <a:pt x="371" y="24"/>
                </a:lnTo>
                <a:lnTo>
                  <a:pt x="368" y="24"/>
                </a:lnTo>
                <a:lnTo>
                  <a:pt x="366" y="24"/>
                </a:lnTo>
                <a:lnTo>
                  <a:pt x="364" y="24"/>
                </a:lnTo>
                <a:lnTo>
                  <a:pt x="359" y="24"/>
                </a:lnTo>
                <a:lnTo>
                  <a:pt x="357" y="22"/>
                </a:lnTo>
                <a:lnTo>
                  <a:pt x="345" y="19"/>
                </a:lnTo>
                <a:lnTo>
                  <a:pt x="330" y="14"/>
                </a:lnTo>
                <a:lnTo>
                  <a:pt x="309" y="14"/>
                </a:lnTo>
                <a:lnTo>
                  <a:pt x="309" y="24"/>
                </a:lnTo>
                <a:lnTo>
                  <a:pt x="297" y="24"/>
                </a:lnTo>
                <a:lnTo>
                  <a:pt x="292" y="22"/>
                </a:lnTo>
                <a:lnTo>
                  <a:pt x="288" y="22"/>
                </a:lnTo>
                <a:lnTo>
                  <a:pt x="285" y="19"/>
                </a:lnTo>
                <a:lnTo>
                  <a:pt x="278" y="19"/>
                </a:lnTo>
                <a:lnTo>
                  <a:pt x="273" y="22"/>
                </a:lnTo>
                <a:lnTo>
                  <a:pt x="273" y="24"/>
                </a:lnTo>
                <a:lnTo>
                  <a:pt x="269" y="24"/>
                </a:lnTo>
                <a:lnTo>
                  <a:pt x="271" y="19"/>
                </a:lnTo>
                <a:lnTo>
                  <a:pt x="269" y="17"/>
                </a:lnTo>
                <a:lnTo>
                  <a:pt x="238" y="17"/>
                </a:lnTo>
                <a:lnTo>
                  <a:pt x="228" y="19"/>
                </a:lnTo>
                <a:lnTo>
                  <a:pt x="209" y="19"/>
                </a:lnTo>
                <a:lnTo>
                  <a:pt x="214" y="22"/>
                </a:lnTo>
                <a:lnTo>
                  <a:pt x="223" y="26"/>
                </a:lnTo>
                <a:lnTo>
                  <a:pt x="226" y="29"/>
                </a:lnTo>
                <a:lnTo>
                  <a:pt x="223" y="29"/>
                </a:lnTo>
                <a:lnTo>
                  <a:pt x="223" y="26"/>
                </a:lnTo>
                <a:lnTo>
                  <a:pt x="214" y="24"/>
                </a:lnTo>
                <a:lnTo>
                  <a:pt x="207" y="24"/>
                </a:lnTo>
                <a:lnTo>
                  <a:pt x="202" y="22"/>
                </a:lnTo>
                <a:lnTo>
                  <a:pt x="197" y="22"/>
                </a:lnTo>
                <a:lnTo>
                  <a:pt x="192" y="19"/>
                </a:lnTo>
                <a:lnTo>
                  <a:pt x="190" y="19"/>
                </a:lnTo>
                <a:lnTo>
                  <a:pt x="188" y="22"/>
                </a:lnTo>
                <a:lnTo>
                  <a:pt x="185" y="24"/>
                </a:lnTo>
                <a:lnTo>
                  <a:pt x="183" y="26"/>
                </a:lnTo>
                <a:lnTo>
                  <a:pt x="178" y="29"/>
                </a:lnTo>
                <a:lnTo>
                  <a:pt x="176" y="29"/>
                </a:lnTo>
                <a:lnTo>
                  <a:pt x="171" y="31"/>
                </a:lnTo>
                <a:lnTo>
                  <a:pt x="150" y="31"/>
                </a:lnTo>
                <a:lnTo>
                  <a:pt x="143" y="34"/>
                </a:lnTo>
                <a:lnTo>
                  <a:pt x="133" y="36"/>
                </a:lnTo>
                <a:lnTo>
                  <a:pt x="124" y="38"/>
                </a:lnTo>
                <a:lnTo>
                  <a:pt x="119" y="38"/>
                </a:lnTo>
                <a:lnTo>
                  <a:pt x="102" y="41"/>
                </a:lnTo>
                <a:lnTo>
                  <a:pt x="97" y="43"/>
                </a:lnTo>
                <a:lnTo>
                  <a:pt x="100" y="46"/>
                </a:lnTo>
                <a:lnTo>
                  <a:pt x="105" y="48"/>
                </a:lnTo>
                <a:lnTo>
                  <a:pt x="126" y="48"/>
                </a:lnTo>
                <a:lnTo>
                  <a:pt x="116" y="50"/>
                </a:lnTo>
                <a:lnTo>
                  <a:pt x="112" y="55"/>
                </a:lnTo>
                <a:lnTo>
                  <a:pt x="109" y="55"/>
                </a:lnTo>
                <a:lnTo>
                  <a:pt x="93" y="60"/>
                </a:lnTo>
                <a:lnTo>
                  <a:pt x="88" y="60"/>
                </a:lnTo>
                <a:lnTo>
                  <a:pt x="66" y="60"/>
                </a:lnTo>
                <a:lnTo>
                  <a:pt x="57" y="62"/>
                </a:lnTo>
                <a:lnTo>
                  <a:pt x="47" y="65"/>
                </a:lnTo>
                <a:lnTo>
                  <a:pt x="45" y="67"/>
                </a:lnTo>
                <a:lnTo>
                  <a:pt x="40" y="67"/>
                </a:lnTo>
                <a:lnTo>
                  <a:pt x="38" y="65"/>
                </a:lnTo>
                <a:lnTo>
                  <a:pt x="31" y="70"/>
                </a:lnTo>
                <a:lnTo>
                  <a:pt x="9" y="70"/>
                </a:lnTo>
                <a:lnTo>
                  <a:pt x="7" y="70"/>
                </a:lnTo>
                <a:lnTo>
                  <a:pt x="2" y="70"/>
                </a:lnTo>
                <a:lnTo>
                  <a:pt x="0" y="74"/>
                </a:lnTo>
                <a:lnTo>
                  <a:pt x="2" y="74"/>
                </a:lnTo>
                <a:lnTo>
                  <a:pt x="9" y="79"/>
                </a:lnTo>
                <a:lnTo>
                  <a:pt x="12" y="82"/>
                </a:lnTo>
                <a:lnTo>
                  <a:pt x="14" y="84"/>
                </a:lnTo>
                <a:lnTo>
                  <a:pt x="24" y="79"/>
                </a:lnTo>
                <a:lnTo>
                  <a:pt x="24" y="84"/>
                </a:lnTo>
                <a:lnTo>
                  <a:pt x="28" y="86"/>
                </a:lnTo>
                <a:lnTo>
                  <a:pt x="33" y="86"/>
                </a:lnTo>
                <a:lnTo>
                  <a:pt x="36" y="84"/>
                </a:lnTo>
                <a:lnTo>
                  <a:pt x="38" y="84"/>
                </a:lnTo>
                <a:lnTo>
                  <a:pt x="40" y="82"/>
                </a:lnTo>
                <a:lnTo>
                  <a:pt x="40" y="84"/>
                </a:lnTo>
                <a:lnTo>
                  <a:pt x="43" y="86"/>
                </a:lnTo>
                <a:lnTo>
                  <a:pt x="45" y="86"/>
                </a:lnTo>
                <a:lnTo>
                  <a:pt x="47" y="84"/>
                </a:lnTo>
                <a:lnTo>
                  <a:pt x="52" y="84"/>
                </a:lnTo>
                <a:lnTo>
                  <a:pt x="57" y="84"/>
                </a:lnTo>
                <a:lnTo>
                  <a:pt x="59" y="82"/>
                </a:lnTo>
                <a:lnTo>
                  <a:pt x="64" y="82"/>
                </a:lnTo>
                <a:lnTo>
                  <a:pt x="64" y="84"/>
                </a:lnTo>
                <a:lnTo>
                  <a:pt x="64" y="86"/>
                </a:lnTo>
                <a:lnTo>
                  <a:pt x="62" y="86"/>
                </a:lnTo>
                <a:lnTo>
                  <a:pt x="57" y="91"/>
                </a:lnTo>
                <a:lnTo>
                  <a:pt x="55" y="91"/>
                </a:lnTo>
                <a:lnTo>
                  <a:pt x="52" y="89"/>
                </a:lnTo>
                <a:lnTo>
                  <a:pt x="40" y="89"/>
                </a:lnTo>
                <a:lnTo>
                  <a:pt x="36" y="91"/>
                </a:lnTo>
                <a:lnTo>
                  <a:pt x="33" y="91"/>
                </a:lnTo>
                <a:lnTo>
                  <a:pt x="21" y="89"/>
                </a:lnTo>
                <a:lnTo>
                  <a:pt x="19" y="89"/>
                </a:lnTo>
                <a:lnTo>
                  <a:pt x="14" y="86"/>
                </a:lnTo>
                <a:lnTo>
                  <a:pt x="7" y="86"/>
                </a:lnTo>
                <a:lnTo>
                  <a:pt x="2" y="89"/>
                </a:lnTo>
                <a:lnTo>
                  <a:pt x="2" y="93"/>
                </a:lnTo>
                <a:lnTo>
                  <a:pt x="2" y="96"/>
                </a:lnTo>
                <a:lnTo>
                  <a:pt x="7" y="98"/>
                </a:lnTo>
                <a:lnTo>
                  <a:pt x="19" y="98"/>
                </a:lnTo>
                <a:lnTo>
                  <a:pt x="17" y="101"/>
                </a:lnTo>
                <a:lnTo>
                  <a:pt x="14" y="101"/>
                </a:lnTo>
                <a:lnTo>
                  <a:pt x="9" y="101"/>
                </a:lnTo>
                <a:lnTo>
                  <a:pt x="12" y="103"/>
                </a:lnTo>
                <a:lnTo>
                  <a:pt x="19" y="105"/>
                </a:lnTo>
                <a:lnTo>
                  <a:pt x="21" y="105"/>
                </a:lnTo>
                <a:lnTo>
                  <a:pt x="24" y="108"/>
                </a:lnTo>
                <a:lnTo>
                  <a:pt x="33" y="108"/>
                </a:lnTo>
                <a:lnTo>
                  <a:pt x="33" y="105"/>
                </a:lnTo>
                <a:lnTo>
                  <a:pt x="36" y="105"/>
                </a:lnTo>
                <a:lnTo>
                  <a:pt x="38" y="105"/>
                </a:lnTo>
                <a:lnTo>
                  <a:pt x="43" y="108"/>
                </a:lnTo>
                <a:lnTo>
                  <a:pt x="52" y="105"/>
                </a:lnTo>
                <a:lnTo>
                  <a:pt x="52" y="108"/>
                </a:lnTo>
                <a:lnTo>
                  <a:pt x="57" y="108"/>
                </a:lnTo>
                <a:lnTo>
                  <a:pt x="62" y="105"/>
                </a:lnTo>
                <a:lnTo>
                  <a:pt x="64" y="105"/>
                </a:lnTo>
                <a:lnTo>
                  <a:pt x="69" y="103"/>
                </a:lnTo>
                <a:lnTo>
                  <a:pt x="76" y="105"/>
                </a:lnTo>
                <a:lnTo>
                  <a:pt x="81" y="105"/>
                </a:lnTo>
                <a:lnTo>
                  <a:pt x="83" y="105"/>
                </a:lnTo>
                <a:lnTo>
                  <a:pt x="85" y="103"/>
                </a:lnTo>
                <a:lnTo>
                  <a:pt x="88" y="103"/>
                </a:lnTo>
                <a:lnTo>
                  <a:pt x="93" y="105"/>
                </a:lnTo>
                <a:lnTo>
                  <a:pt x="97" y="105"/>
                </a:lnTo>
                <a:lnTo>
                  <a:pt x="112" y="105"/>
                </a:lnTo>
                <a:lnTo>
                  <a:pt x="121" y="110"/>
                </a:lnTo>
                <a:lnTo>
                  <a:pt x="124" y="110"/>
                </a:lnTo>
                <a:lnTo>
                  <a:pt x="128" y="115"/>
                </a:lnTo>
                <a:lnTo>
                  <a:pt x="135" y="115"/>
                </a:lnTo>
                <a:lnTo>
                  <a:pt x="133" y="117"/>
                </a:lnTo>
                <a:lnTo>
                  <a:pt x="133" y="120"/>
                </a:lnTo>
                <a:lnTo>
                  <a:pt x="133" y="125"/>
                </a:lnTo>
                <a:lnTo>
                  <a:pt x="138" y="125"/>
                </a:lnTo>
                <a:lnTo>
                  <a:pt x="140" y="125"/>
                </a:lnTo>
                <a:lnTo>
                  <a:pt x="145" y="127"/>
                </a:lnTo>
                <a:lnTo>
                  <a:pt x="147" y="129"/>
                </a:lnTo>
                <a:lnTo>
                  <a:pt x="143" y="134"/>
                </a:lnTo>
                <a:lnTo>
                  <a:pt x="145" y="141"/>
                </a:lnTo>
                <a:lnTo>
                  <a:pt x="152" y="144"/>
                </a:lnTo>
                <a:lnTo>
                  <a:pt x="145" y="149"/>
                </a:lnTo>
                <a:lnTo>
                  <a:pt x="150" y="151"/>
                </a:lnTo>
                <a:lnTo>
                  <a:pt x="147" y="151"/>
                </a:lnTo>
                <a:lnTo>
                  <a:pt x="145" y="153"/>
                </a:lnTo>
                <a:lnTo>
                  <a:pt x="145" y="156"/>
                </a:lnTo>
                <a:lnTo>
                  <a:pt x="150" y="161"/>
                </a:lnTo>
                <a:lnTo>
                  <a:pt x="152" y="161"/>
                </a:lnTo>
                <a:lnTo>
                  <a:pt x="152" y="163"/>
                </a:lnTo>
                <a:lnTo>
                  <a:pt x="147" y="165"/>
                </a:lnTo>
                <a:lnTo>
                  <a:pt x="145" y="168"/>
                </a:lnTo>
                <a:lnTo>
                  <a:pt x="143" y="168"/>
                </a:lnTo>
                <a:lnTo>
                  <a:pt x="147" y="170"/>
                </a:lnTo>
                <a:lnTo>
                  <a:pt x="143" y="170"/>
                </a:lnTo>
                <a:lnTo>
                  <a:pt x="140" y="170"/>
                </a:lnTo>
                <a:lnTo>
                  <a:pt x="138" y="170"/>
                </a:lnTo>
                <a:lnTo>
                  <a:pt x="133" y="173"/>
                </a:lnTo>
                <a:lnTo>
                  <a:pt x="131" y="173"/>
                </a:lnTo>
                <a:lnTo>
                  <a:pt x="131" y="175"/>
                </a:lnTo>
                <a:lnTo>
                  <a:pt x="143" y="175"/>
                </a:lnTo>
                <a:lnTo>
                  <a:pt x="138" y="180"/>
                </a:lnTo>
                <a:lnTo>
                  <a:pt x="126" y="180"/>
                </a:lnTo>
                <a:lnTo>
                  <a:pt x="124" y="180"/>
                </a:lnTo>
                <a:lnTo>
                  <a:pt x="124" y="182"/>
                </a:lnTo>
                <a:lnTo>
                  <a:pt x="133" y="189"/>
                </a:lnTo>
                <a:lnTo>
                  <a:pt x="138" y="189"/>
                </a:lnTo>
                <a:lnTo>
                  <a:pt x="145" y="184"/>
                </a:lnTo>
                <a:lnTo>
                  <a:pt x="147" y="184"/>
                </a:lnTo>
                <a:lnTo>
                  <a:pt x="152" y="184"/>
                </a:lnTo>
                <a:lnTo>
                  <a:pt x="154" y="182"/>
                </a:lnTo>
                <a:lnTo>
                  <a:pt x="157" y="182"/>
                </a:lnTo>
                <a:lnTo>
                  <a:pt x="157" y="180"/>
                </a:lnTo>
                <a:lnTo>
                  <a:pt x="157" y="175"/>
                </a:lnTo>
                <a:lnTo>
                  <a:pt x="159" y="173"/>
                </a:lnTo>
                <a:lnTo>
                  <a:pt x="159" y="180"/>
                </a:lnTo>
                <a:lnTo>
                  <a:pt x="166" y="175"/>
                </a:lnTo>
                <a:lnTo>
                  <a:pt x="164" y="177"/>
                </a:lnTo>
                <a:lnTo>
                  <a:pt x="164" y="180"/>
                </a:lnTo>
                <a:lnTo>
                  <a:pt x="166" y="180"/>
                </a:lnTo>
                <a:lnTo>
                  <a:pt x="169" y="182"/>
                </a:lnTo>
                <a:lnTo>
                  <a:pt x="176" y="182"/>
                </a:lnTo>
                <a:lnTo>
                  <a:pt x="171" y="187"/>
                </a:lnTo>
                <a:lnTo>
                  <a:pt x="171" y="189"/>
                </a:lnTo>
                <a:lnTo>
                  <a:pt x="173" y="192"/>
                </a:lnTo>
                <a:lnTo>
                  <a:pt x="176" y="194"/>
                </a:lnTo>
                <a:lnTo>
                  <a:pt x="178" y="196"/>
                </a:lnTo>
                <a:lnTo>
                  <a:pt x="181" y="199"/>
                </a:lnTo>
                <a:lnTo>
                  <a:pt x="178" y="201"/>
                </a:lnTo>
                <a:lnTo>
                  <a:pt x="173" y="201"/>
                </a:lnTo>
                <a:lnTo>
                  <a:pt x="173" y="204"/>
                </a:lnTo>
                <a:lnTo>
                  <a:pt x="166" y="204"/>
                </a:lnTo>
                <a:lnTo>
                  <a:pt x="164" y="201"/>
                </a:lnTo>
                <a:lnTo>
                  <a:pt x="162" y="201"/>
                </a:lnTo>
                <a:lnTo>
                  <a:pt x="159" y="201"/>
                </a:lnTo>
                <a:lnTo>
                  <a:pt x="157" y="199"/>
                </a:lnTo>
                <a:lnTo>
                  <a:pt x="143" y="199"/>
                </a:lnTo>
                <a:lnTo>
                  <a:pt x="140" y="196"/>
                </a:lnTo>
                <a:lnTo>
                  <a:pt x="138" y="194"/>
                </a:lnTo>
                <a:lnTo>
                  <a:pt x="131" y="194"/>
                </a:lnTo>
                <a:lnTo>
                  <a:pt x="128" y="199"/>
                </a:lnTo>
                <a:lnTo>
                  <a:pt x="128" y="201"/>
                </a:lnTo>
                <a:lnTo>
                  <a:pt x="133" y="201"/>
                </a:lnTo>
                <a:lnTo>
                  <a:pt x="133" y="204"/>
                </a:lnTo>
                <a:lnTo>
                  <a:pt x="140" y="204"/>
                </a:lnTo>
                <a:lnTo>
                  <a:pt x="143" y="206"/>
                </a:lnTo>
                <a:lnTo>
                  <a:pt x="145" y="206"/>
                </a:lnTo>
                <a:lnTo>
                  <a:pt x="147" y="206"/>
                </a:lnTo>
                <a:lnTo>
                  <a:pt x="152" y="211"/>
                </a:lnTo>
                <a:lnTo>
                  <a:pt x="162" y="211"/>
                </a:lnTo>
                <a:lnTo>
                  <a:pt x="164" y="211"/>
                </a:lnTo>
                <a:lnTo>
                  <a:pt x="166" y="211"/>
                </a:lnTo>
                <a:lnTo>
                  <a:pt x="173" y="213"/>
                </a:lnTo>
                <a:lnTo>
                  <a:pt x="178" y="208"/>
                </a:lnTo>
                <a:lnTo>
                  <a:pt x="178" y="216"/>
                </a:lnTo>
                <a:lnTo>
                  <a:pt x="176" y="213"/>
                </a:lnTo>
                <a:lnTo>
                  <a:pt x="173" y="213"/>
                </a:lnTo>
                <a:lnTo>
                  <a:pt x="171" y="213"/>
                </a:lnTo>
                <a:lnTo>
                  <a:pt x="171" y="216"/>
                </a:lnTo>
                <a:lnTo>
                  <a:pt x="173" y="220"/>
                </a:lnTo>
                <a:lnTo>
                  <a:pt x="169" y="220"/>
                </a:lnTo>
                <a:lnTo>
                  <a:pt x="166" y="220"/>
                </a:lnTo>
                <a:lnTo>
                  <a:pt x="164" y="220"/>
                </a:lnTo>
                <a:lnTo>
                  <a:pt x="164" y="223"/>
                </a:lnTo>
                <a:lnTo>
                  <a:pt x="164" y="225"/>
                </a:lnTo>
                <a:lnTo>
                  <a:pt x="173" y="225"/>
                </a:lnTo>
                <a:lnTo>
                  <a:pt x="171" y="225"/>
                </a:lnTo>
                <a:lnTo>
                  <a:pt x="171" y="228"/>
                </a:lnTo>
                <a:lnTo>
                  <a:pt x="169" y="230"/>
                </a:lnTo>
                <a:lnTo>
                  <a:pt x="162" y="225"/>
                </a:lnTo>
                <a:lnTo>
                  <a:pt x="159" y="225"/>
                </a:lnTo>
                <a:lnTo>
                  <a:pt x="159" y="228"/>
                </a:lnTo>
                <a:lnTo>
                  <a:pt x="159" y="230"/>
                </a:lnTo>
                <a:lnTo>
                  <a:pt x="162" y="232"/>
                </a:lnTo>
                <a:lnTo>
                  <a:pt x="157" y="232"/>
                </a:lnTo>
                <a:lnTo>
                  <a:pt x="157" y="237"/>
                </a:lnTo>
                <a:lnTo>
                  <a:pt x="154" y="237"/>
                </a:lnTo>
                <a:lnTo>
                  <a:pt x="152" y="240"/>
                </a:lnTo>
                <a:lnTo>
                  <a:pt x="152" y="242"/>
                </a:lnTo>
                <a:lnTo>
                  <a:pt x="157" y="247"/>
                </a:lnTo>
                <a:lnTo>
                  <a:pt x="159" y="247"/>
                </a:lnTo>
                <a:lnTo>
                  <a:pt x="159" y="252"/>
                </a:lnTo>
                <a:lnTo>
                  <a:pt x="157" y="252"/>
                </a:lnTo>
                <a:lnTo>
                  <a:pt x="154" y="252"/>
                </a:lnTo>
                <a:lnTo>
                  <a:pt x="152" y="249"/>
                </a:lnTo>
                <a:lnTo>
                  <a:pt x="150" y="244"/>
                </a:lnTo>
                <a:lnTo>
                  <a:pt x="147" y="242"/>
                </a:lnTo>
                <a:lnTo>
                  <a:pt x="147" y="240"/>
                </a:lnTo>
                <a:lnTo>
                  <a:pt x="145" y="237"/>
                </a:lnTo>
                <a:lnTo>
                  <a:pt x="143" y="235"/>
                </a:lnTo>
                <a:lnTo>
                  <a:pt x="140" y="235"/>
                </a:lnTo>
                <a:lnTo>
                  <a:pt x="135" y="235"/>
                </a:lnTo>
                <a:lnTo>
                  <a:pt x="133" y="235"/>
                </a:lnTo>
                <a:lnTo>
                  <a:pt x="128" y="240"/>
                </a:lnTo>
                <a:lnTo>
                  <a:pt x="128" y="242"/>
                </a:lnTo>
                <a:lnTo>
                  <a:pt x="133" y="244"/>
                </a:lnTo>
                <a:lnTo>
                  <a:pt x="138" y="244"/>
                </a:lnTo>
                <a:lnTo>
                  <a:pt x="140" y="247"/>
                </a:lnTo>
                <a:lnTo>
                  <a:pt x="135" y="249"/>
                </a:lnTo>
                <a:lnTo>
                  <a:pt x="131" y="249"/>
                </a:lnTo>
                <a:lnTo>
                  <a:pt x="128" y="247"/>
                </a:lnTo>
                <a:lnTo>
                  <a:pt x="121" y="247"/>
                </a:lnTo>
                <a:lnTo>
                  <a:pt x="119" y="249"/>
                </a:lnTo>
                <a:lnTo>
                  <a:pt x="116" y="249"/>
                </a:lnTo>
                <a:lnTo>
                  <a:pt x="114" y="249"/>
                </a:lnTo>
                <a:lnTo>
                  <a:pt x="112" y="252"/>
                </a:lnTo>
                <a:lnTo>
                  <a:pt x="109" y="252"/>
                </a:lnTo>
                <a:lnTo>
                  <a:pt x="121" y="252"/>
                </a:lnTo>
                <a:lnTo>
                  <a:pt x="126" y="252"/>
                </a:lnTo>
                <a:lnTo>
                  <a:pt x="140" y="252"/>
                </a:lnTo>
                <a:lnTo>
                  <a:pt x="143" y="252"/>
                </a:lnTo>
                <a:lnTo>
                  <a:pt x="131" y="252"/>
                </a:lnTo>
                <a:lnTo>
                  <a:pt x="112" y="256"/>
                </a:lnTo>
                <a:lnTo>
                  <a:pt x="107" y="256"/>
                </a:lnTo>
                <a:lnTo>
                  <a:pt x="105" y="259"/>
                </a:lnTo>
                <a:lnTo>
                  <a:pt x="107" y="259"/>
                </a:lnTo>
                <a:lnTo>
                  <a:pt x="107" y="261"/>
                </a:lnTo>
                <a:lnTo>
                  <a:pt x="114" y="261"/>
                </a:lnTo>
                <a:lnTo>
                  <a:pt x="119" y="259"/>
                </a:lnTo>
                <a:lnTo>
                  <a:pt x="124" y="259"/>
                </a:lnTo>
                <a:lnTo>
                  <a:pt x="128" y="256"/>
                </a:lnTo>
                <a:lnTo>
                  <a:pt x="138" y="256"/>
                </a:lnTo>
                <a:lnTo>
                  <a:pt x="140" y="259"/>
                </a:lnTo>
                <a:lnTo>
                  <a:pt x="138" y="261"/>
                </a:lnTo>
                <a:lnTo>
                  <a:pt x="114" y="261"/>
                </a:lnTo>
                <a:lnTo>
                  <a:pt x="112" y="261"/>
                </a:lnTo>
                <a:lnTo>
                  <a:pt x="102" y="261"/>
                </a:lnTo>
                <a:lnTo>
                  <a:pt x="102" y="264"/>
                </a:lnTo>
                <a:lnTo>
                  <a:pt x="107" y="264"/>
                </a:lnTo>
                <a:lnTo>
                  <a:pt x="107" y="266"/>
                </a:lnTo>
                <a:lnTo>
                  <a:pt x="112" y="266"/>
                </a:lnTo>
                <a:lnTo>
                  <a:pt x="114" y="266"/>
                </a:lnTo>
                <a:lnTo>
                  <a:pt x="109" y="266"/>
                </a:lnTo>
                <a:lnTo>
                  <a:pt x="107" y="268"/>
                </a:lnTo>
                <a:lnTo>
                  <a:pt x="107" y="271"/>
                </a:lnTo>
                <a:lnTo>
                  <a:pt x="105" y="273"/>
                </a:lnTo>
                <a:lnTo>
                  <a:pt x="102" y="273"/>
                </a:lnTo>
                <a:lnTo>
                  <a:pt x="100" y="275"/>
                </a:lnTo>
                <a:lnTo>
                  <a:pt x="97" y="275"/>
                </a:lnTo>
                <a:lnTo>
                  <a:pt x="107" y="278"/>
                </a:lnTo>
                <a:lnTo>
                  <a:pt x="97" y="280"/>
                </a:lnTo>
                <a:lnTo>
                  <a:pt x="97" y="283"/>
                </a:lnTo>
                <a:lnTo>
                  <a:pt x="100" y="285"/>
                </a:lnTo>
                <a:lnTo>
                  <a:pt x="105" y="285"/>
                </a:lnTo>
                <a:lnTo>
                  <a:pt x="107" y="285"/>
                </a:lnTo>
                <a:lnTo>
                  <a:pt x="114" y="285"/>
                </a:lnTo>
                <a:lnTo>
                  <a:pt x="112" y="285"/>
                </a:lnTo>
                <a:lnTo>
                  <a:pt x="109" y="285"/>
                </a:lnTo>
                <a:lnTo>
                  <a:pt x="107" y="287"/>
                </a:lnTo>
                <a:lnTo>
                  <a:pt x="102" y="290"/>
                </a:lnTo>
                <a:lnTo>
                  <a:pt x="102" y="292"/>
                </a:lnTo>
                <a:lnTo>
                  <a:pt x="105" y="295"/>
                </a:lnTo>
                <a:lnTo>
                  <a:pt x="107" y="295"/>
                </a:lnTo>
                <a:lnTo>
                  <a:pt x="109" y="292"/>
                </a:lnTo>
                <a:lnTo>
                  <a:pt x="114" y="290"/>
                </a:lnTo>
                <a:lnTo>
                  <a:pt x="112" y="295"/>
                </a:lnTo>
                <a:lnTo>
                  <a:pt x="109" y="295"/>
                </a:lnTo>
                <a:lnTo>
                  <a:pt x="107" y="299"/>
                </a:lnTo>
                <a:lnTo>
                  <a:pt x="107" y="304"/>
                </a:lnTo>
                <a:lnTo>
                  <a:pt x="109" y="304"/>
                </a:lnTo>
                <a:lnTo>
                  <a:pt x="109" y="302"/>
                </a:lnTo>
                <a:lnTo>
                  <a:pt x="114" y="302"/>
                </a:lnTo>
                <a:lnTo>
                  <a:pt x="109" y="307"/>
                </a:lnTo>
                <a:lnTo>
                  <a:pt x="107" y="307"/>
                </a:lnTo>
                <a:lnTo>
                  <a:pt x="105" y="309"/>
                </a:lnTo>
                <a:lnTo>
                  <a:pt x="102" y="311"/>
                </a:lnTo>
                <a:lnTo>
                  <a:pt x="102" y="316"/>
                </a:lnTo>
                <a:lnTo>
                  <a:pt x="105" y="316"/>
                </a:lnTo>
                <a:lnTo>
                  <a:pt x="107" y="314"/>
                </a:lnTo>
                <a:lnTo>
                  <a:pt x="114" y="307"/>
                </a:lnTo>
                <a:lnTo>
                  <a:pt x="124" y="307"/>
                </a:lnTo>
                <a:lnTo>
                  <a:pt x="126" y="304"/>
                </a:lnTo>
                <a:lnTo>
                  <a:pt x="128" y="304"/>
                </a:lnTo>
                <a:lnTo>
                  <a:pt x="128" y="307"/>
                </a:lnTo>
                <a:lnTo>
                  <a:pt x="133" y="304"/>
                </a:lnTo>
                <a:lnTo>
                  <a:pt x="128" y="311"/>
                </a:lnTo>
                <a:lnTo>
                  <a:pt x="135" y="311"/>
                </a:lnTo>
                <a:lnTo>
                  <a:pt x="128" y="311"/>
                </a:lnTo>
                <a:lnTo>
                  <a:pt x="124" y="314"/>
                </a:lnTo>
                <a:lnTo>
                  <a:pt x="124" y="316"/>
                </a:lnTo>
                <a:lnTo>
                  <a:pt x="119" y="316"/>
                </a:lnTo>
                <a:lnTo>
                  <a:pt x="116" y="316"/>
                </a:lnTo>
                <a:lnTo>
                  <a:pt x="114" y="319"/>
                </a:lnTo>
                <a:lnTo>
                  <a:pt x="114" y="321"/>
                </a:lnTo>
                <a:lnTo>
                  <a:pt x="112" y="321"/>
                </a:lnTo>
                <a:lnTo>
                  <a:pt x="107" y="323"/>
                </a:lnTo>
                <a:lnTo>
                  <a:pt x="105" y="326"/>
                </a:lnTo>
                <a:lnTo>
                  <a:pt x="109" y="326"/>
                </a:lnTo>
                <a:lnTo>
                  <a:pt x="107" y="326"/>
                </a:lnTo>
                <a:lnTo>
                  <a:pt x="107" y="328"/>
                </a:lnTo>
                <a:lnTo>
                  <a:pt x="107" y="331"/>
                </a:lnTo>
                <a:lnTo>
                  <a:pt x="109" y="331"/>
                </a:lnTo>
                <a:lnTo>
                  <a:pt x="107" y="333"/>
                </a:lnTo>
                <a:lnTo>
                  <a:pt x="107" y="335"/>
                </a:lnTo>
                <a:lnTo>
                  <a:pt x="116" y="335"/>
                </a:lnTo>
                <a:lnTo>
                  <a:pt x="112" y="343"/>
                </a:lnTo>
                <a:lnTo>
                  <a:pt x="116" y="340"/>
                </a:lnTo>
                <a:lnTo>
                  <a:pt x="119" y="340"/>
                </a:lnTo>
                <a:lnTo>
                  <a:pt x="116" y="340"/>
                </a:lnTo>
                <a:lnTo>
                  <a:pt x="114" y="343"/>
                </a:lnTo>
                <a:lnTo>
                  <a:pt x="114" y="345"/>
                </a:lnTo>
                <a:lnTo>
                  <a:pt x="112" y="347"/>
                </a:lnTo>
                <a:lnTo>
                  <a:pt x="112" y="352"/>
                </a:lnTo>
                <a:lnTo>
                  <a:pt x="114" y="352"/>
                </a:lnTo>
                <a:lnTo>
                  <a:pt x="121" y="352"/>
                </a:lnTo>
                <a:lnTo>
                  <a:pt x="116" y="359"/>
                </a:lnTo>
                <a:lnTo>
                  <a:pt x="126" y="357"/>
                </a:lnTo>
                <a:lnTo>
                  <a:pt x="121" y="362"/>
                </a:lnTo>
                <a:lnTo>
                  <a:pt x="124" y="366"/>
                </a:lnTo>
                <a:lnTo>
                  <a:pt x="128" y="366"/>
                </a:lnTo>
                <a:lnTo>
                  <a:pt x="126" y="366"/>
                </a:lnTo>
                <a:lnTo>
                  <a:pt x="126" y="369"/>
                </a:lnTo>
                <a:lnTo>
                  <a:pt x="128" y="371"/>
                </a:lnTo>
                <a:lnTo>
                  <a:pt x="133" y="371"/>
                </a:lnTo>
                <a:lnTo>
                  <a:pt x="128" y="376"/>
                </a:lnTo>
                <a:lnTo>
                  <a:pt x="135" y="376"/>
                </a:lnTo>
                <a:lnTo>
                  <a:pt x="133" y="381"/>
                </a:lnTo>
                <a:lnTo>
                  <a:pt x="145" y="378"/>
                </a:lnTo>
                <a:lnTo>
                  <a:pt x="147" y="381"/>
                </a:lnTo>
                <a:lnTo>
                  <a:pt x="150" y="381"/>
                </a:lnTo>
                <a:lnTo>
                  <a:pt x="152" y="378"/>
                </a:lnTo>
                <a:lnTo>
                  <a:pt x="162" y="374"/>
                </a:lnTo>
                <a:lnTo>
                  <a:pt x="164" y="371"/>
                </a:lnTo>
                <a:lnTo>
                  <a:pt x="164" y="374"/>
                </a:lnTo>
                <a:lnTo>
                  <a:pt x="162" y="376"/>
                </a:lnTo>
                <a:lnTo>
                  <a:pt x="169" y="378"/>
                </a:lnTo>
                <a:lnTo>
                  <a:pt x="171" y="376"/>
                </a:lnTo>
                <a:lnTo>
                  <a:pt x="173" y="376"/>
                </a:lnTo>
                <a:lnTo>
                  <a:pt x="169" y="378"/>
                </a:lnTo>
                <a:lnTo>
                  <a:pt x="164" y="381"/>
                </a:lnTo>
                <a:lnTo>
                  <a:pt x="162" y="383"/>
                </a:lnTo>
                <a:lnTo>
                  <a:pt x="162" y="386"/>
                </a:lnTo>
                <a:lnTo>
                  <a:pt x="169" y="386"/>
                </a:lnTo>
                <a:lnTo>
                  <a:pt x="173" y="386"/>
                </a:lnTo>
                <a:lnTo>
                  <a:pt x="176" y="386"/>
                </a:lnTo>
                <a:lnTo>
                  <a:pt x="173" y="386"/>
                </a:lnTo>
                <a:lnTo>
                  <a:pt x="171" y="388"/>
                </a:lnTo>
                <a:lnTo>
                  <a:pt x="169" y="390"/>
                </a:lnTo>
                <a:lnTo>
                  <a:pt x="169" y="393"/>
                </a:lnTo>
                <a:lnTo>
                  <a:pt x="169" y="395"/>
                </a:lnTo>
                <a:lnTo>
                  <a:pt x="176" y="395"/>
                </a:lnTo>
                <a:lnTo>
                  <a:pt x="178" y="393"/>
                </a:lnTo>
                <a:lnTo>
                  <a:pt x="178" y="395"/>
                </a:lnTo>
                <a:lnTo>
                  <a:pt x="183" y="398"/>
                </a:lnTo>
                <a:lnTo>
                  <a:pt x="188" y="398"/>
                </a:lnTo>
                <a:lnTo>
                  <a:pt x="192" y="395"/>
                </a:lnTo>
                <a:lnTo>
                  <a:pt x="195" y="393"/>
                </a:lnTo>
                <a:lnTo>
                  <a:pt x="192" y="390"/>
                </a:lnTo>
                <a:lnTo>
                  <a:pt x="192" y="388"/>
                </a:lnTo>
                <a:lnTo>
                  <a:pt x="197" y="388"/>
                </a:lnTo>
                <a:lnTo>
                  <a:pt x="200" y="386"/>
                </a:lnTo>
                <a:lnTo>
                  <a:pt x="200" y="378"/>
                </a:lnTo>
                <a:lnTo>
                  <a:pt x="202" y="381"/>
                </a:lnTo>
                <a:lnTo>
                  <a:pt x="207" y="381"/>
                </a:lnTo>
                <a:lnTo>
                  <a:pt x="207" y="376"/>
                </a:lnTo>
                <a:lnTo>
                  <a:pt x="207" y="374"/>
                </a:lnTo>
                <a:lnTo>
                  <a:pt x="207" y="371"/>
                </a:lnTo>
                <a:lnTo>
                  <a:pt x="207" y="374"/>
                </a:lnTo>
                <a:lnTo>
                  <a:pt x="209" y="376"/>
                </a:lnTo>
                <a:lnTo>
                  <a:pt x="212" y="376"/>
                </a:lnTo>
                <a:lnTo>
                  <a:pt x="214" y="374"/>
                </a:lnTo>
                <a:lnTo>
                  <a:pt x="214" y="371"/>
                </a:lnTo>
                <a:lnTo>
                  <a:pt x="209" y="366"/>
                </a:lnTo>
                <a:lnTo>
                  <a:pt x="216" y="366"/>
                </a:lnTo>
                <a:lnTo>
                  <a:pt x="216" y="364"/>
                </a:lnTo>
                <a:lnTo>
                  <a:pt x="214" y="362"/>
                </a:lnTo>
                <a:lnTo>
                  <a:pt x="223" y="362"/>
                </a:lnTo>
                <a:lnTo>
                  <a:pt x="219" y="357"/>
                </a:lnTo>
                <a:lnTo>
                  <a:pt x="223" y="355"/>
                </a:lnTo>
                <a:lnTo>
                  <a:pt x="219" y="352"/>
                </a:lnTo>
                <a:lnTo>
                  <a:pt x="216" y="350"/>
                </a:lnTo>
                <a:lnTo>
                  <a:pt x="219" y="350"/>
                </a:lnTo>
                <a:lnTo>
                  <a:pt x="221" y="350"/>
                </a:lnTo>
                <a:lnTo>
                  <a:pt x="216" y="343"/>
                </a:lnTo>
                <a:lnTo>
                  <a:pt x="221" y="347"/>
                </a:lnTo>
                <a:lnTo>
                  <a:pt x="223" y="347"/>
                </a:lnTo>
                <a:lnTo>
                  <a:pt x="228" y="343"/>
                </a:lnTo>
                <a:lnTo>
                  <a:pt x="235" y="343"/>
                </a:lnTo>
                <a:lnTo>
                  <a:pt x="235" y="340"/>
                </a:lnTo>
                <a:lnTo>
                  <a:pt x="233" y="338"/>
                </a:lnTo>
                <a:lnTo>
                  <a:pt x="238" y="338"/>
                </a:lnTo>
                <a:lnTo>
                  <a:pt x="242" y="331"/>
                </a:lnTo>
                <a:lnTo>
                  <a:pt x="245" y="331"/>
                </a:lnTo>
                <a:lnTo>
                  <a:pt x="252" y="331"/>
                </a:lnTo>
                <a:lnTo>
                  <a:pt x="252" y="326"/>
                </a:lnTo>
                <a:lnTo>
                  <a:pt x="257" y="331"/>
                </a:lnTo>
                <a:lnTo>
                  <a:pt x="259" y="326"/>
                </a:lnTo>
                <a:lnTo>
                  <a:pt x="259" y="319"/>
                </a:lnTo>
                <a:lnTo>
                  <a:pt x="252" y="316"/>
                </a:lnTo>
                <a:lnTo>
                  <a:pt x="257" y="316"/>
                </a:lnTo>
                <a:lnTo>
                  <a:pt x="264" y="311"/>
                </a:lnTo>
                <a:lnTo>
                  <a:pt x="266" y="307"/>
                </a:lnTo>
                <a:lnTo>
                  <a:pt x="259" y="304"/>
                </a:lnTo>
                <a:lnTo>
                  <a:pt x="264" y="299"/>
                </a:lnTo>
                <a:lnTo>
                  <a:pt x="278" y="299"/>
                </a:lnTo>
                <a:lnTo>
                  <a:pt x="280" y="297"/>
                </a:lnTo>
                <a:lnTo>
                  <a:pt x="280" y="292"/>
                </a:lnTo>
                <a:lnTo>
                  <a:pt x="288" y="290"/>
                </a:lnTo>
                <a:lnTo>
                  <a:pt x="292" y="290"/>
                </a:lnTo>
                <a:lnTo>
                  <a:pt x="295" y="292"/>
                </a:lnTo>
                <a:lnTo>
                  <a:pt x="302" y="292"/>
                </a:lnTo>
                <a:lnTo>
                  <a:pt x="311" y="283"/>
                </a:lnTo>
                <a:lnTo>
                  <a:pt x="311" y="280"/>
                </a:lnTo>
                <a:lnTo>
                  <a:pt x="314" y="280"/>
                </a:lnTo>
                <a:lnTo>
                  <a:pt x="316" y="278"/>
                </a:lnTo>
                <a:lnTo>
                  <a:pt x="319" y="278"/>
                </a:lnTo>
                <a:lnTo>
                  <a:pt x="319" y="280"/>
                </a:lnTo>
                <a:lnTo>
                  <a:pt x="316" y="283"/>
                </a:lnTo>
                <a:lnTo>
                  <a:pt x="314" y="285"/>
                </a:lnTo>
                <a:lnTo>
                  <a:pt x="311" y="290"/>
                </a:lnTo>
                <a:lnTo>
                  <a:pt x="319" y="290"/>
                </a:lnTo>
                <a:lnTo>
                  <a:pt x="319" y="285"/>
                </a:lnTo>
                <a:lnTo>
                  <a:pt x="323" y="285"/>
                </a:lnTo>
                <a:lnTo>
                  <a:pt x="326" y="283"/>
                </a:lnTo>
                <a:lnTo>
                  <a:pt x="328" y="283"/>
                </a:lnTo>
                <a:lnTo>
                  <a:pt x="328" y="285"/>
                </a:lnTo>
                <a:lnTo>
                  <a:pt x="333" y="285"/>
                </a:lnTo>
                <a:lnTo>
                  <a:pt x="335" y="285"/>
                </a:lnTo>
                <a:lnTo>
                  <a:pt x="342" y="283"/>
                </a:lnTo>
                <a:lnTo>
                  <a:pt x="347" y="278"/>
                </a:lnTo>
                <a:lnTo>
                  <a:pt x="349" y="275"/>
                </a:lnTo>
                <a:lnTo>
                  <a:pt x="359" y="275"/>
                </a:lnTo>
                <a:lnTo>
                  <a:pt x="366" y="275"/>
                </a:lnTo>
                <a:lnTo>
                  <a:pt x="371" y="271"/>
                </a:lnTo>
                <a:lnTo>
                  <a:pt x="373" y="268"/>
                </a:lnTo>
                <a:lnTo>
                  <a:pt x="376" y="266"/>
                </a:lnTo>
                <a:lnTo>
                  <a:pt x="383" y="259"/>
                </a:lnTo>
                <a:lnTo>
                  <a:pt x="385" y="256"/>
                </a:lnTo>
                <a:lnTo>
                  <a:pt x="390" y="254"/>
                </a:lnTo>
                <a:lnTo>
                  <a:pt x="399" y="252"/>
                </a:lnTo>
                <a:lnTo>
                  <a:pt x="402" y="252"/>
                </a:lnTo>
                <a:lnTo>
                  <a:pt x="404" y="249"/>
                </a:lnTo>
                <a:lnTo>
                  <a:pt x="407" y="249"/>
                </a:lnTo>
                <a:lnTo>
                  <a:pt x="407" y="247"/>
                </a:lnTo>
                <a:lnTo>
                  <a:pt x="407" y="244"/>
                </a:lnTo>
                <a:lnTo>
                  <a:pt x="407" y="240"/>
                </a:lnTo>
                <a:lnTo>
                  <a:pt x="407" y="235"/>
                </a:lnTo>
                <a:lnTo>
                  <a:pt x="414" y="242"/>
                </a:lnTo>
                <a:lnTo>
                  <a:pt x="416" y="244"/>
                </a:lnTo>
                <a:lnTo>
                  <a:pt x="418" y="244"/>
                </a:lnTo>
                <a:lnTo>
                  <a:pt x="437" y="244"/>
                </a:lnTo>
                <a:lnTo>
                  <a:pt x="447" y="242"/>
                </a:lnTo>
                <a:lnTo>
                  <a:pt x="454" y="240"/>
                </a:lnTo>
                <a:lnTo>
                  <a:pt x="459" y="240"/>
                </a:lnTo>
                <a:lnTo>
                  <a:pt x="468" y="237"/>
                </a:lnTo>
                <a:lnTo>
                  <a:pt x="480" y="235"/>
                </a:lnTo>
                <a:lnTo>
                  <a:pt x="487" y="235"/>
                </a:lnTo>
                <a:lnTo>
                  <a:pt x="492" y="230"/>
                </a:lnTo>
                <a:lnTo>
                  <a:pt x="499" y="230"/>
                </a:lnTo>
                <a:lnTo>
                  <a:pt x="502" y="228"/>
                </a:lnTo>
                <a:lnTo>
                  <a:pt x="509" y="228"/>
                </a:lnTo>
                <a:lnTo>
                  <a:pt x="516" y="220"/>
                </a:lnTo>
                <a:lnTo>
                  <a:pt x="518" y="220"/>
                </a:lnTo>
                <a:lnTo>
                  <a:pt x="518" y="218"/>
                </a:lnTo>
                <a:lnTo>
                  <a:pt x="523" y="218"/>
                </a:lnTo>
                <a:lnTo>
                  <a:pt x="525" y="216"/>
                </a:lnTo>
                <a:lnTo>
                  <a:pt x="528" y="216"/>
                </a:lnTo>
                <a:lnTo>
                  <a:pt x="542" y="213"/>
                </a:lnTo>
                <a:lnTo>
                  <a:pt x="552" y="211"/>
                </a:lnTo>
                <a:lnTo>
                  <a:pt x="552" y="206"/>
                </a:lnTo>
                <a:lnTo>
                  <a:pt x="549" y="206"/>
                </a:lnTo>
                <a:lnTo>
                  <a:pt x="547" y="208"/>
                </a:lnTo>
                <a:lnTo>
                  <a:pt x="537" y="208"/>
                </a:lnTo>
                <a:lnTo>
                  <a:pt x="530" y="206"/>
                </a:lnTo>
                <a:lnTo>
                  <a:pt x="525" y="206"/>
                </a:lnTo>
                <a:lnTo>
                  <a:pt x="521" y="204"/>
                </a:lnTo>
                <a:lnTo>
                  <a:pt x="509" y="204"/>
                </a:lnTo>
                <a:lnTo>
                  <a:pt x="499" y="206"/>
                </a:lnTo>
                <a:lnTo>
                  <a:pt x="490" y="206"/>
                </a:lnTo>
                <a:lnTo>
                  <a:pt x="487" y="211"/>
                </a:lnTo>
                <a:lnTo>
                  <a:pt x="471" y="211"/>
                </a:lnTo>
                <a:lnTo>
                  <a:pt x="485" y="206"/>
                </a:lnTo>
                <a:lnTo>
                  <a:pt x="494" y="204"/>
                </a:lnTo>
                <a:lnTo>
                  <a:pt x="499" y="204"/>
                </a:lnTo>
                <a:lnTo>
                  <a:pt x="502" y="201"/>
                </a:lnTo>
                <a:lnTo>
                  <a:pt x="506" y="201"/>
                </a:lnTo>
                <a:lnTo>
                  <a:pt x="511" y="199"/>
                </a:lnTo>
                <a:lnTo>
                  <a:pt x="514" y="199"/>
                </a:lnTo>
                <a:lnTo>
                  <a:pt x="516" y="199"/>
                </a:lnTo>
                <a:lnTo>
                  <a:pt x="514" y="196"/>
                </a:lnTo>
                <a:lnTo>
                  <a:pt x="509" y="194"/>
                </a:lnTo>
                <a:lnTo>
                  <a:pt x="506" y="194"/>
                </a:lnTo>
                <a:lnTo>
                  <a:pt x="504" y="194"/>
                </a:lnTo>
                <a:lnTo>
                  <a:pt x="497" y="196"/>
                </a:lnTo>
                <a:lnTo>
                  <a:pt x="483" y="201"/>
                </a:lnTo>
                <a:lnTo>
                  <a:pt x="468" y="201"/>
                </a:lnTo>
                <a:lnTo>
                  <a:pt x="478" y="196"/>
                </a:lnTo>
                <a:lnTo>
                  <a:pt x="485" y="192"/>
                </a:lnTo>
                <a:lnTo>
                  <a:pt x="487" y="192"/>
                </a:lnTo>
                <a:lnTo>
                  <a:pt x="492" y="194"/>
                </a:lnTo>
                <a:lnTo>
                  <a:pt x="497" y="194"/>
                </a:lnTo>
                <a:lnTo>
                  <a:pt x="499" y="192"/>
                </a:lnTo>
                <a:lnTo>
                  <a:pt x="504" y="192"/>
                </a:lnTo>
                <a:lnTo>
                  <a:pt x="506" y="189"/>
                </a:lnTo>
                <a:lnTo>
                  <a:pt x="516" y="189"/>
                </a:lnTo>
                <a:lnTo>
                  <a:pt x="518" y="189"/>
                </a:lnTo>
                <a:lnTo>
                  <a:pt x="516" y="187"/>
                </a:lnTo>
                <a:lnTo>
                  <a:pt x="514" y="187"/>
                </a:lnTo>
                <a:lnTo>
                  <a:pt x="509" y="184"/>
                </a:lnTo>
                <a:lnTo>
                  <a:pt x="485" y="184"/>
                </a:lnTo>
                <a:lnTo>
                  <a:pt x="492" y="182"/>
                </a:lnTo>
                <a:lnTo>
                  <a:pt x="485" y="180"/>
                </a:lnTo>
                <a:lnTo>
                  <a:pt x="485" y="175"/>
                </a:lnTo>
                <a:lnTo>
                  <a:pt x="487" y="175"/>
                </a:lnTo>
                <a:lnTo>
                  <a:pt x="490" y="177"/>
                </a:lnTo>
                <a:lnTo>
                  <a:pt x="492" y="180"/>
                </a:lnTo>
                <a:lnTo>
                  <a:pt x="497" y="182"/>
                </a:lnTo>
                <a:lnTo>
                  <a:pt x="504" y="182"/>
                </a:lnTo>
                <a:lnTo>
                  <a:pt x="506" y="184"/>
                </a:lnTo>
                <a:lnTo>
                  <a:pt x="509" y="184"/>
                </a:lnTo>
                <a:lnTo>
                  <a:pt x="514" y="184"/>
                </a:lnTo>
                <a:lnTo>
                  <a:pt x="518" y="184"/>
                </a:lnTo>
                <a:lnTo>
                  <a:pt x="518" y="187"/>
                </a:lnTo>
                <a:lnTo>
                  <a:pt x="523" y="187"/>
                </a:lnTo>
                <a:lnTo>
                  <a:pt x="523" y="184"/>
                </a:lnTo>
                <a:lnTo>
                  <a:pt x="528" y="184"/>
                </a:lnTo>
                <a:lnTo>
                  <a:pt x="528" y="187"/>
                </a:lnTo>
                <a:lnTo>
                  <a:pt x="528" y="189"/>
                </a:lnTo>
                <a:lnTo>
                  <a:pt x="528" y="192"/>
                </a:lnTo>
                <a:lnTo>
                  <a:pt x="528" y="196"/>
                </a:lnTo>
                <a:lnTo>
                  <a:pt x="528" y="199"/>
                </a:lnTo>
                <a:lnTo>
                  <a:pt x="533" y="199"/>
                </a:lnTo>
                <a:lnTo>
                  <a:pt x="537" y="201"/>
                </a:lnTo>
                <a:lnTo>
                  <a:pt x="542" y="201"/>
                </a:lnTo>
                <a:lnTo>
                  <a:pt x="547" y="201"/>
                </a:lnTo>
                <a:lnTo>
                  <a:pt x="549" y="201"/>
                </a:lnTo>
                <a:lnTo>
                  <a:pt x="552" y="199"/>
                </a:lnTo>
                <a:lnTo>
                  <a:pt x="554" y="199"/>
                </a:lnTo>
                <a:lnTo>
                  <a:pt x="554" y="204"/>
                </a:lnTo>
                <a:lnTo>
                  <a:pt x="559" y="204"/>
                </a:lnTo>
                <a:lnTo>
                  <a:pt x="561" y="201"/>
                </a:lnTo>
                <a:lnTo>
                  <a:pt x="563" y="201"/>
                </a:lnTo>
                <a:lnTo>
                  <a:pt x="563" y="194"/>
                </a:lnTo>
                <a:lnTo>
                  <a:pt x="561" y="194"/>
                </a:lnTo>
                <a:lnTo>
                  <a:pt x="563" y="189"/>
                </a:lnTo>
                <a:lnTo>
                  <a:pt x="563" y="187"/>
                </a:lnTo>
                <a:lnTo>
                  <a:pt x="559" y="187"/>
                </a:lnTo>
                <a:lnTo>
                  <a:pt x="556" y="182"/>
                </a:lnTo>
                <a:lnTo>
                  <a:pt x="552" y="180"/>
                </a:lnTo>
                <a:lnTo>
                  <a:pt x="552" y="175"/>
                </a:lnTo>
                <a:lnTo>
                  <a:pt x="533" y="170"/>
                </a:lnTo>
                <a:lnTo>
                  <a:pt x="523" y="170"/>
                </a:lnTo>
                <a:lnTo>
                  <a:pt x="521" y="170"/>
                </a:lnTo>
                <a:lnTo>
                  <a:pt x="528" y="168"/>
                </a:lnTo>
                <a:lnTo>
                  <a:pt x="530" y="165"/>
                </a:lnTo>
                <a:lnTo>
                  <a:pt x="528" y="165"/>
                </a:lnTo>
                <a:lnTo>
                  <a:pt x="525" y="163"/>
                </a:lnTo>
                <a:lnTo>
                  <a:pt x="514" y="163"/>
                </a:lnTo>
                <a:lnTo>
                  <a:pt x="509" y="161"/>
                </a:lnTo>
                <a:lnTo>
                  <a:pt x="504" y="161"/>
                </a:lnTo>
                <a:lnTo>
                  <a:pt x="509" y="156"/>
                </a:lnTo>
                <a:lnTo>
                  <a:pt x="523" y="156"/>
                </a:lnTo>
                <a:lnTo>
                  <a:pt x="528" y="153"/>
                </a:lnTo>
                <a:lnTo>
                  <a:pt x="533" y="153"/>
                </a:lnTo>
                <a:lnTo>
                  <a:pt x="547" y="156"/>
                </a:lnTo>
                <a:lnTo>
                  <a:pt x="552" y="156"/>
                </a:lnTo>
                <a:lnTo>
                  <a:pt x="554" y="156"/>
                </a:lnTo>
                <a:lnTo>
                  <a:pt x="556" y="158"/>
                </a:lnTo>
                <a:lnTo>
                  <a:pt x="559" y="161"/>
                </a:lnTo>
                <a:lnTo>
                  <a:pt x="563" y="165"/>
                </a:lnTo>
                <a:lnTo>
                  <a:pt x="568" y="165"/>
                </a:lnTo>
                <a:lnTo>
                  <a:pt x="568" y="163"/>
                </a:lnTo>
                <a:lnTo>
                  <a:pt x="568" y="158"/>
                </a:lnTo>
                <a:lnTo>
                  <a:pt x="559" y="156"/>
                </a:lnTo>
                <a:lnTo>
                  <a:pt x="552" y="153"/>
                </a:lnTo>
                <a:lnTo>
                  <a:pt x="540" y="151"/>
                </a:lnTo>
                <a:lnTo>
                  <a:pt x="544" y="149"/>
                </a:lnTo>
                <a:lnTo>
                  <a:pt x="547" y="149"/>
                </a:lnTo>
                <a:lnTo>
                  <a:pt x="552" y="151"/>
                </a:lnTo>
                <a:lnTo>
                  <a:pt x="556" y="151"/>
                </a:lnTo>
                <a:lnTo>
                  <a:pt x="559" y="153"/>
                </a:lnTo>
                <a:lnTo>
                  <a:pt x="578" y="153"/>
                </a:lnTo>
                <a:lnTo>
                  <a:pt x="594" y="151"/>
                </a:lnTo>
                <a:lnTo>
                  <a:pt x="594" y="144"/>
                </a:lnTo>
                <a:lnTo>
                  <a:pt x="582" y="141"/>
                </a:lnTo>
                <a:lnTo>
                  <a:pt x="578" y="146"/>
                </a:lnTo>
                <a:lnTo>
                  <a:pt x="573" y="141"/>
                </a:lnTo>
                <a:lnTo>
                  <a:pt x="573" y="139"/>
                </a:lnTo>
                <a:lnTo>
                  <a:pt x="587" y="139"/>
                </a:lnTo>
                <a:lnTo>
                  <a:pt x="599" y="137"/>
                </a:lnTo>
                <a:lnTo>
                  <a:pt x="602" y="139"/>
                </a:lnTo>
                <a:lnTo>
                  <a:pt x="609" y="139"/>
                </a:lnTo>
                <a:lnTo>
                  <a:pt x="616" y="134"/>
                </a:lnTo>
                <a:lnTo>
                  <a:pt x="618" y="134"/>
                </a:lnTo>
                <a:lnTo>
                  <a:pt x="618" y="132"/>
                </a:lnTo>
                <a:lnTo>
                  <a:pt x="599" y="132"/>
                </a:lnTo>
                <a:lnTo>
                  <a:pt x="599" y="129"/>
                </a:lnTo>
                <a:lnTo>
                  <a:pt x="597" y="129"/>
                </a:lnTo>
                <a:lnTo>
                  <a:pt x="597" y="127"/>
                </a:lnTo>
                <a:lnTo>
                  <a:pt x="592" y="127"/>
                </a:lnTo>
                <a:lnTo>
                  <a:pt x="587" y="125"/>
                </a:lnTo>
                <a:lnTo>
                  <a:pt x="592" y="125"/>
                </a:lnTo>
                <a:lnTo>
                  <a:pt x="594" y="125"/>
                </a:lnTo>
                <a:lnTo>
                  <a:pt x="594" y="122"/>
                </a:lnTo>
                <a:lnTo>
                  <a:pt x="592" y="120"/>
                </a:lnTo>
                <a:lnTo>
                  <a:pt x="590" y="120"/>
                </a:lnTo>
                <a:lnTo>
                  <a:pt x="582" y="117"/>
                </a:lnTo>
                <a:lnTo>
                  <a:pt x="592" y="117"/>
                </a:lnTo>
                <a:lnTo>
                  <a:pt x="594" y="120"/>
                </a:lnTo>
                <a:lnTo>
                  <a:pt x="597" y="120"/>
                </a:lnTo>
                <a:lnTo>
                  <a:pt x="602" y="120"/>
                </a:lnTo>
                <a:lnTo>
                  <a:pt x="606" y="120"/>
                </a:lnTo>
                <a:lnTo>
                  <a:pt x="609" y="125"/>
                </a:lnTo>
                <a:lnTo>
                  <a:pt x="613" y="125"/>
                </a:lnTo>
                <a:lnTo>
                  <a:pt x="618" y="120"/>
                </a:lnTo>
                <a:lnTo>
                  <a:pt x="618" y="113"/>
                </a:lnTo>
                <a:lnTo>
                  <a:pt x="616" y="110"/>
                </a:lnTo>
                <a:lnTo>
                  <a:pt x="613" y="110"/>
                </a:lnTo>
                <a:lnTo>
                  <a:pt x="611" y="108"/>
                </a:lnTo>
                <a:lnTo>
                  <a:pt x="609" y="105"/>
                </a:lnTo>
                <a:lnTo>
                  <a:pt x="592" y="103"/>
                </a:lnTo>
                <a:lnTo>
                  <a:pt x="587" y="101"/>
                </a:lnTo>
                <a:lnTo>
                  <a:pt x="587" y="98"/>
                </a:lnTo>
                <a:lnTo>
                  <a:pt x="590" y="98"/>
                </a:lnTo>
                <a:lnTo>
                  <a:pt x="599" y="98"/>
                </a:lnTo>
                <a:lnTo>
                  <a:pt x="611" y="96"/>
                </a:lnTo>
                <a:lnTo>
                  <a:pt x="618" y="96"/>
                </a:lnTo>
                <a:lnTo>
                  <a:pt x="623" y="98"/>
                </a:lnTo>
                <a:lnTo>
                  <a:pt x="632" y="98"/>
                </a:lnTo>
                <a:lnTo>
                  <a:pt x="637" y="96"/>
                </a:lnTo>
                <a:lnTo>
                  <a:pt x="642" y="93"/>
                </a:lnTo>
                <a:lnTo>
                  <a:pt x="642" y="91"/>
                </a:lnTo>
                <a:lnTo>
                  <a:pt x="642" y="89"/>
                </a:lnTo>
                <a:lnTo>
                  <a:pt x="632" y="89"/>
                </a:lnTo>
                <a:lnTo>
                  <a:pt x="625" y="86"/>
                </a:lnTo>
                <a:lnTo>
                  <a:pt x="616" y="86"/>
                </a:lnTo>
                <a:lnTo>
                  <a:pt x="613" y="84"/>
                </a:lnTo>
                <a:lnTo>
                  <a:pt x="623" y="84"/>
                </a:lnTo>
                <a:lnTo>
                  <a:pt x="621" y="82"/>
                </a:lnTo>
                <a:lnTo>
                  <a:pt x="618" y="79"/>
                </a:lnTo>
                <a:lnTo>
                  <a:pt x="618" y="77"/>
                </a:lnTo>
                <a:lnTo>
                  <a:pt x="613" y="77"/>
                </a:lnTo>
                <a:lnTo>
                  <a:pt x="611" y="79"/>
                </a:lnTo>
                <a:lnTo>
                  <a:pt x="611" y="84"/>
                </a:lnTo>
                <a:lnTo>
                  <a:pt x="606" y="84"/>
                </a:lnTo>
                <a:lnTo>
                  <a:pt x="604" y="84"/>
                </a:lnTo>
                <a:lnTo>
                  <a:pt x="602" y="82"/>
                </a:lnTo>
                <a:lnTo>
                  <a:pt x="599" y="79"/>
                </a:lnTo>
                <a:lnTo>
                  <a:pt x="602" y="79"/>
                </a:lnTo>
                <a:lnTo>
                  <a:pt x="606" y="77"/>
                </a:lnTo>
                <a:lnTo>
                  <a:pt x="609" y="74"/>
                </a:lnTo>
                <a:lnTo>
                  <a:pt x="613" y="70"/>
                </a:lnTo>
                <a:lnTo>
                  <a:pt x="616" y="67"/>
                </a:lnTo>
                <a:lnTo>
                  <a:pt x="618" y="65"/>
                </a:lnTo>
                <a:lnTo>
                  <a:pt x="621" y="65"/>
                </a:lnTo>
                <a:lnTo>
                  <a:pt x="623" y="65"/>
                </a:lnTo>
                <a:lnTo>
                  <a:pt x="628" y="65"/>
                </a:lnTo>
                <a:lnTo>
                  <a:pt x="630" y="65"/>
                </a:lnTo>
                <a:lnTo>
                  <a:pt x="632" y="62"/>
                </a:lnTo>
                <a:lnTo>
                  <a:pt x="637" y="60"/>
                </a:lnTo>
                <a:lnTo>
                  <a:pt x="635" y="55"/>
                </a:lnTo>
                <a:lnTo>
                  <a:pt x="637" y="53"/>
                </a:lnTo>
                <a:lnTo>
                  <a:pt x="640" y="50"/>
                </a:lnTo>
                <a:lnTo>
                  <a:pt x="642" y="50"/>
                </a:lnTo>
                <a:lnTo>
                  <a:pt x="647" y="50"/>
                </a:lnTo>
                <a:lnTo>
                  <a:pt x="649" y="50"/>
                </a:lnTo>
                <a:lnTo>
                  <a:pt x="651" y="53"/>
                </a:lnTo>
                <a:lnTo>
                  <a:pt x="656" y="53"/>
                </a:lnTo>
                <a:lnTo>
                  <a:pt x="659" y="50"/>
                </a:lnTo>
                <a:lnTo>
                  <a:pt x="661" y="50"/>
                </a:lnTo>
                <a:lnTo>
                  <a:pt x="663" y="48"/>
                </a:lnTo>
                <a:lnTo>
                  <a:pt x="644" y="48"/>
                </a:lnTo>
                <a:lnTo>
                  <a:pt x="642" y="48"/>
                </a:lnTo>
                <a:lnTo>
                  <a:pt x="637" y="48"/>
                </a:lnTo>
                <a:lnTo>
                  <a:pt x="635" y="50"/>
                </a:lnTo>
                <a:lnTo>
                  <a:pt x="630" y="50"/>
                </a:lnTo>
                <a:lnTo>
                  <a:pt x="630" y="48"/>
                </a:lnTo>
                <a:lnTo>
                  <a:pt x="640" y="43"/>
                </a:lnTo>
                <a:lnTo>
                  <a:pt x="670" y="43"/>
                </a:lnTo>
                <a:lnTo>
                  <a:pt x="675" y="43"/>
                </a:lnTo>
                <a:lnTo>
                  <a:pt x="678" y="43"/>
                </a:lnTo>
                <a:lnTo>
                  <a:pt x="682" y="41"/>
                </a:lnTo>
                <a:lnTo>
                  <a:pt x="678" y="41"/>
                </a:lnTo>
                <a:lnTo>
                  <a:pt x="673" y="38"/>
                </a:lnTo>
                <a:lnTo>
                  <a:pt x="656" y="38"/>
                </a:lnTo>
                <a:lnTo>
                  <a:pt x="651" y="41"/>
                </a:lnTo>
                <a:lnTo>
                  <a:pt x="635" y="41"/>
                </a:lnTo>
                <a:lnTo>
                  <a:pt x="635" y="38"/>
                </a:lnTo>
                <a:lnTo>
                  <a:pt x="637" y="38"/>
                </a:lnTo>
                <a:lnTo>
                  <a:pt x="642" y="38"/>
                </a:lnTo>
                <a:lnTo>
                  <a:pt x="687" y="38"/>
                </a:lnTo>
                <a:lnTo>
                  <a:pt x="692" y="36"/>
                </a:lnTo>
                <a:lnTo>
                  <a:pt x="699" y="34"/>
                </a:lnTo>
                <a:lnTo>
                  <a:pt x="701" y="31"/>
                </a:lnTo>
                <a:lnTo>
                  <a:pt x="718" y="31"/>
                </a:lnTo>
                <a:lnTo>
                  <a:pt x="723" y="29"/>
                </a:lnTo>
                <a:lnTo>
                  <a:pt x="725" y="29"/>
                </a:lnTo>
                <a:lnTo>
                  <a:pt x="730" y="29"/>
                </a:lnTo>
                <a:lnTo>
                  <a:pt x="732" y="26"/>
                </a:lnTo>
                <a:lnTo>
                  <a:pt x="730" y="24"/>
                </a:lnTo>
                <a:close/>
                <a:moveTo>
                  <a:pt x="119" y="268"/>
                </a:moveTo>
                <a:lnTo>
                  <a:pt x="116" y="266"/>
                </a:lnTo>
                <a:lnTo>
                  <a:pt x="119" y="268"/>
                </a:lnTo>
                <a:close/>
                <a:moveTo>
                  <a:pt x="128" y="223"/>
                </a:moveTo>
                <a:lnTo>
                  <a:pt x="135" y="223"/>
                </a:lnTo>
                <a:lnTo>
                  <a:pt x="138" y="220"/>
                </a:lnTo>
                <a:lnTo>
                  <a:pt x="145" y="220"/>
                </a:lnTo>
                <a:lnTo>
                  <a:pt x="147" y="220"/>
                </a:lnTo>
                <a:lnTo>
                  <a:pt x="147" y="216"/>
                </a:lnTo>
                <a:lnTo>
                  <a:pt x="150" y="216"/>
                </a:lnTo>
                <a:lnTo>
                  <a:pt x="147" y="213"/>
                </a:lnTo>
                <a:lnTo>
                  <a:pt x="145" y="211"/>
                </a:lnTo>
                <a:lnTo>
                  <a:pt x="143" y="211"/>
                </a:lnTo>
                <a:lnTo>
                  <a:pt x="138" y="211"/>
                </a:lnTo>
                <a:lnTo>
                  <a:pt x="135" y="206"/>
                </a:lnTo>
                <a:lnTo>
                  <a:pt x="119" y="206"/>
                </a:lnTo>
                <a:lnTo>
                  <a:pt x="119" y="213"/>
                </a:lnTo>
                <a:lnTo>
                  <a:pt x="116" y="216"/>
                </a:lnTo>
                <a:lnTo>
                  <a:pt x="114" y="216"/>
                </a:lnTo>
                <a:lnTo>
                  <a:pt x="114" y="218"/>
                </a:lnTo>
                <a:lnTo>
                  <a:pt x="116" y="220"/>
                </a:lnTo>
                <a:lnTo>
                  <a:pt x="119" y="220"/>
                </a:lnTo>
                <a:lnTo>
                  <a:pt x="119" y="225"/>
                </a:lnTo>
                <a:lnTo>
                  <a:pt x="128" y="223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7" name="Great Britain"/>
          <p:cNvSpPr>
            <a:spLocks noEditPoints="1"/>
          </p:cNvSpPr>
          <p:nvPr/>
        </p:nvSpPr>
        <p:spPr bwMode="gray">
          <a:xfrm>
            <a:off x="3868008" y="2315243"/>
            <a:ext cx="231775" cy="331787"/>
          </a:xfrm>
          <a:custGeom>
            <a:avLst/>
            <a:gdLst>
              <a:gd name="T0" fmla="*/ 2147483647 w 576"/>
              <a:gd name="T1" fmla="*/ 2147483647 h 822"/>
              <a:gd name="T2" fmla="*/ 2147483647 w 576"/>
              <a:gd name="T3" fmla="*/ 2147483647 h 822"/>
              <a:gd name="T4" fmla="*/ 2147483647 w 576"/>
              <a:gd name="T5" fmla="*/ 2147483647 h 822"/>
              <a:gd name="T6" fmla="*/ 2147483647 w 576"/>
              <a:gd name="T7" fmla="*/ 2147483647 h 822"/>
              <a:gd name="T8" fmla="*/ 2147483647 w 576"/>
              <a:gd name="T9" fmla="*/ 2147483647 h 822"/>
              <a:gd name="T10" fmla="*/ 2147483647 w 576"/>
              <a:gd name="T11" fmla="*/ 2147483647 h 822"/>
              <a:gd name="T12" fmla="*/ 2147483647 w 576"/>
              <a:gd name="T13" fmla="*/ 2147483647 h 822"/>
              <a:gd name="T14" fmla="*/ 2147483647 w 576"/>
              <a:gd name="T15" fmla="*/ 0 h 822"/>
              <a:gd name="T16" fmla="*/ 2147483647 w 576"/>
              <a:gd name="T17" fmla="*/ 0 h 822"/>
              <a:gd name="T18" fmla="*/ 2147483647 w 576"/>
              <a:gd name="T19" fmla="*/ 2147483647 h 822"/>
              <a:gd name="T20" fmla="*/ 2147483647 w 576"/>
              <a:gd name="T21" fmla="*/ 2147483647 h 822"/>
              <a:gd name="T22" fmla="*/ 2147483647 w 576"/>
              <a:gd name="T23" fmla="*/ 2147483647 h 822"/>
              <a:gd name="T24" fmla="*/ 2147483647 w 576"/>
              <a:gd name="T25" fmla="*/ 2147483647 h 822"/>
              <a:gd name="T26" fmla="*/ 2147483647 w 576"/>
              <a:gd name="T27" fmla="*/ 2147483647 h 822"/>
              <a:gd name="T28" fmla="*/ 2147483647 w 576"/>
              <a:gd name="T29" fmla="*/ 2147483647 h 822"/>
              <a:gd name="T30" fmla="*/ 2147483647 w 576"/>
              <a:gd name="T31" fmla="*/ 2147483647 h 822"/>
              <a:gd name="T32" fmla="*/ 2147483647 w 576"/>
              <a:gd name="T33" fmla="*/ 2147483647 h 822"/>
              <a:gd name="T34" fmla="*/ 2147483647 w 576"/>
              <a:gd name="T35" fmla="*/ 2147483647 h 822"/>
              <a:gd name="T36" fmla="*/ 2147483647 w 576"/>
              <a:gd name="T37" fmla="*/ 2147483647 h 822"/>
              <a:gd name="T38" fmla="*/ 2147483647 w 576"/>
              <a:gd name="T39" fmla="*/ 2147483647 h 822"/>
              <a:gd name="T40" fmla="*/ 2147483647 w 576"/>
              <a:gd name="T41" fmla="*/ 2147483647 h 822"/>
              <a:gd name="T42" fmla="*/ 2147483647 w 576"/>
              <a:gd name="T43" fmla="*/ 2147483647 h 822"/>
              <a:gd name="T44" fmla="*/ 2147483647 w 576"/>
              <a:gd name="T45" fmla="*/ 2147483647 h 822"/>
              <a:gd name="T46" fmla="*/ 2147483647 w 576"/>
              <a:gd name="T47" fmla="*/ 2147483647 h 822"/>
              <a:gd name="T48" fmla="*/ 2147483647 w 576"/>
              <a:gd name="T49" fmla="*/ 2147483647 h 822"/>
              <a:gd name="T50" fmla="*/ 2147483647 w 576"/>
              <a:gd name="T51" fmla="*/ 2147483647 h 822"/>
              <a:gd name="T52" fmla="*/ 2147483647 w 576"/>
              <a:gd name="T53" fmla="*/ 2147483647 h 822"/>
              <a:gd name="T54" fmla="*/ 2147483647 w 576"/>
              <a:gd name="T55" fmla="*/ 2147483647 h 822"/>
              <a:gd name="T56" fmla="*/ 2147483647 w 576"/>
              <a:gd name="T57" fmla="*/ 2147483647 h 822"/>
              <a:gd name="T58" fmla="*/ 2147483647 w 576"/>
              <a:gd name="T59" fmla="*/ 2147483647 h 822"/>
              <a:gd name="T60" fmla="*/ 2147483647 w 576"/>
              <a:gd name="T61" fmla="*/ 2147483647 h 822"/>
              <a:gd name="T62" fmla="*/ 2147483647 w 576"/>
              <a:gd name="T63" fmla="*/ 2147483647 h 822"/>
              <a:gd name="T64" fmla="*/ 2147483647 w 576"/>
              <a:gd name="T65" fmla="*/ 2147483647 h 822"/>
              <a:gd name="T66" fmla="*/ 2147483647 w 576"/>
              <a:gd name="T67" fmla="*/ 2147483647 h 822"/>
              <a:gd name="T68" fmla="*/ 2147483647 w 576"/>
              <a:gd name="T69" fmla="*/ 2147483647 h 822"/>
              <a:gd name="T70" fmla="*/ 2147483647 w 576"/>
              <a:gd name="T71" fmla="*/ 2147483647 h 822"/>
              <a:gd name="T72" fmla="*/ 2147483647 w 576"/>
              <a:gd name="T73" fmla="*/ 2147483647 h 822"/>
              <a:gd name="T74" fmla="*/ 2147483647 w 576"/>
              <a:gd name="T75" fmla="*/ 2147483647 h 822"/>
              <a:gd name="T76" fmla="*/ 2147483647 w 576"/>
              <a:gd name="T77" fmla="*/ 2147483647 h 822"/>
              <a:gd name="T78" fmla="*/ 2147483647 w 576"/>
              <a:gd name="T79" fmla="*/ 2147483647 h 822"/>
              <a:gd name="T80" fmla="*/ 2147483647 w 576"/>
              <a:gd name="T81" fmla="*/ 2147483647 h 822"/>
              <a:gd name="T82" fmla="*/ 2147483647 w 576"/>
              <a:gd name="T83" fmla="*/ 2147483647 h 822"/>
              <a:gd name="T84" fmla="*/ 2147483647 w 576"/>
              <a:gd name="T85" fmla="*/ 2147483647 h 822"/>
              <a:gd name="T86" fmla="*/ 2147483647 w 576"/>
              <a:gd name="T87" fmla="*/ 2147483647 h 822"/>
              <a:gd name="T88" fmla="*/ 2147483647 w 576"/>
              <a:gd name="T89" fmla="*/ 2147483647 h 822"/>
              <a:gd name="T90" fmla="*/ 2147483647 w 576"/>
              <a:gd name="T91" fmla="*/ 2147483647 h 822"/>
              <a:gd name="T92" fmla="*/ 2147483647 w 576"/>
              <a:gd name="T93" fmla="*/ 2147483647 h 822"/>
              <a:gd name="T94" fmla="*/ 2147483647 w 576"/>
              <a:gd name="T95" fmla="*/ 2147483647 h 822"/>
              <a:gd name="T96" fmla="*/ 2147483647 w 576"/>
              <a:gd name="T97" fmla="*/ 2147483647 h 822"/>
              <a:gd name="T98" fmla="*/ 2147483647 w 576"/>
              <a:gd name="T99" fmla="*/ 2147483647 h 822"/>
              <a:gd name="T100" fmla="*/ 2147483647 w 576"/>
              <a:gd name="T101" fmla="*/ 2147483647 h 822"/>
              <a:gd name="T102" fmla="*/ 2147483647 w 576"/>
              <a:gd name="T103" fmla="*/ 2147483647 h 822"/>
              <a:gd name="T104" fmla="*/ 2147483647 w 576"/>
              <a:gd name="T105" fmla="*/ 2147483647 h 822"/>
              <a:gd name="T106" fmla="*/ 2147483647 w 576"/>
              <a:gd name="T107" fmla="*/ 2147483647 h 822"/>
              <a:gd name="T108" fmla="*/ 2147483647 w 576"/>
              <a:gd name="T109" fmla="*/ 2147483647 h 822"/>
              <a:gd name="T110" fmla="*/ 2147483647 w 576"/>
              <a:gd name="T111" fmla="*/ 2147483647 h 822"/>
              <a:gd name="T112" fmla="*/ 2147483647 w 576"/>
              <a:gd name="T113" fmla="*/ 2147483647 h 822"/>
              <a:gd name="T114" fmla="*/ 2147483647 w 576"/>
              <a:gd name="T115" fmla="*/ 2147483647 h 822"/>
              <a:gd name="T116" fmla="*/ 2147483647 w 576"/>
              <a:gd name="T117" fmla="*/ 2147483647 h 822"/>
              <a:gd name="T118" fmla="*/ 2147483647 w 576"/>
              <a:gd name="T119" fmla="*/ 2147483647 h 822"/>
              <a:gd name="T120" fmla="*/ 2147483647 w 576"/>
              <a:gd name="T121" fmla="*/ 2147483647 h 822"/>
              <a:gd name="T122" fmla="*/ 2147483647 w 576"/>
              <a:gd name="T123" fmla="*/ 2147483647 h 82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76"/>
              <a:gd name="T187" fmla="*/ 0 h 822"/>
              <a:gd name="T188" fmla="*/ 576 w 576"/>
              <a:gd name="T189" fmla="*/ 822 h 82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76" h="822">
                <a:moveTo>
                  <a:pt x="162" y="378"/>
                </a:moveTo>
                <a:lnTo>
                  <a:pt x="156" y="378"/>
                </a:lnTo>
                <a:lnTo>
                  <a:pt x="150" y="384"/>
                </a:lnTo>
                <a:lnTo>
                  <a:pt x="150" y="396"/>
                </a:lnTo>
                <a:lnTo>
                  <a:pt x="144" y="414"/>
                </a:lnTo>
                <a:lnTo>
                  <a:pt x="156" y="402"/>
                </a:lnTo>
                <a:lnTo>
                  <a:pt x="162" y="390"/>
                </a:lnTo>
                <a:lnTo>
                  <a:pt x="162" y="378"/>
                </a:lnTo>
                <a:close/>
                <a:moveTo>
                  <a:pt x="132" y="312"/>
                </a:moveTo>
                <a:lnTo>
                  <a:pt x="126" y="312"/>
                </a:lnTo>
                <a:lnTo>
                  <a:pt x="126" y="336"/>
                </a:lnTo>
                <a:lnTo>
                  <a:pt x="132" y="336"/>
                </a:lnTo>
                <a:lnTo>
                  <a:pt x="138" y="330"/>
                </a:lnTo>
                <a:lnTo>
                  <a:pt x="150" y="330"/>
                </a:lnTo>
                <a:lnTo>
                  <a:pt x="144" y="318"/>
                </a:lnTo>
                <a:lnTo>
                  <a:pt x="138" y="312"/>
                </a:lnTo>
                <a:lnTo>
                  <a:pt x="132" y="312"/>
                </a:lnTo>
                <a:close/>
                <a:moveTo>
                  <a:pt x="114" y="390"/>
                </a:moveTo>
                <a:lnTo>
                  <a:pt x="126" y="390"/>
                </a:lnTo>
                <a:lnTo>
                  <a:pt x="138" y="384"/>
                </a:lnTo>
                <a:lnTo>
                  <a:pt x="138" y="372"/>
                </a:lnTo>
                <a:lnTo>
                  <a:pt x="132" y="366"/>
                </a:lnTo>
                <a:lnTo>
                  <a:pt x="120" y="366"/>
                </a:lnTo>
                <a:lnTo>
                  <a:pt x="114" y="372"/>
                </a:lnTo>
                <a:lnTo>
                  <a:pt x="108" y="384"/>
                </a:lnTo>
                <a:lnTo>
                  <a:pt x="108" y="390"/>
                </a:lnTo>
                <a:lnTo>
                  <a:pt x="114" y="390"/>
                </a:lnTo>
                <a:close/>
                <a:moveTo>
                  <a:pt x="330" y="120"/>
                </a:moveTo>
                <a:lnTo>
                  <a:pt x="324" y="120"/>
                </a:lnTo>
                <a:lnTo>
                  <a:pt x="318" y="126"/>
                </a:lnTo>
                <a:lnTo>
                  <a:pt x="318" y="138"/>
                </a:lnTo>
                <a:lnTo>
                  <a:pt x="330" y="138"/>
                </a:lnTo>
                <a:lnTo>
                  <a:pt x="336" y="126"/>
                </a:lnTo>
                <a:lnTo>
                  <a:pt x="330" y="120"/>
                </a:lnTo>
                <a:close/>
                <a:moveTo>
                  <a:pt x="138" y="258"/>
                </a:moveTo>
                <a:lnTo>
                  <a:pt x="138" y="234"/>
                </a:lnTo>
                <a:lnTo>
                  <a:pt x="126" y="234"/>
                </a:lnTo>
                <a:lnTo>
                  <a:pt x="120" y="240"/>
                </a:lnTo>
                <a:lnTo>
                  <a:pt x="120" y="246"/>
                </a:lnTo>
                <a:lnTo>
                  <a:pt x="126" y="252"/>
                </a:lnTo>
                <a:lnTo>
                  <a:pt x="108" y="252"/>
                </a:lnTo>
                <a:lnTo>
                  <a:pt x="108" y="258"/>
                </a:lnTo>
                <a:lnTo>
                  <a:pt x="114" y="264"/>
                </a:lnTo>
                <a:lnTo>
                  <a:pt x="120" y="264"/>
                </a:lnTo>
                <a:lnTo>
                  <a:pt x="126" y="270"/>
                </a:lnTo>
                <a:lnTo>
                  <a:pt x="150" y="270"/>
                </a:lnTo>
                <a:lnTo>
                  <a:pt x="138" y="258"/>
                </a:lnTo>
                <a:close/>
                <a:moveTo>
                  <a:pt x="474" y="0"/>
                </a:moveTo>
                <a:lnTo>
                  <a:pt x="468" y="0"/>
                </a:lnTo>
                <a:lnTo>
                  <a:pt x="456" y="12"/>
                </a:lnTo>
                <a:lnTo>
                  <a:pt x="474" y="12"/>
                </a:lnTo>
                <a:lnTo>
                  <a:pt x="474" y="6"/>
                </a:lnTo>
                <a:lnTo>
                  <a:pt x="480" y="0"/>
                </a:lnTo>
                <a:lnTo>
                  <a:pt x="474" y="0"/>
                </a:lnTo>
                <a:close/>
                <a:moveTo>
                  <a:pt x="432" y="48"/>
                </a:moveTo>
                <a:lnTo>
                  <a:pt x="432" y="66"/>
                </a:lnTo>
                <a:lnTo>
                  <a:pt x="438" y="66"/>
                </a:lnTo>
                <a:lnTo>
                  <a:pt x="444" y="60"/>
                </a:lnTo>
                <a:lnTo>
                  <a:pt x="450" y="48"/>
                </a:lnTo>
                <a:lnTo>
                  <a:pt x="450" y="24"/>
                </a:lnTo>
                <a:lnTo>
                  <a:pt x="438" y="12"/>
                </a:lnTo>
                <a:lnTo>
                  <a:pt x="432" y="24"/>
                </a:lnTo>
                <a:lnTo>
                  <a:pt x="426" y="30"/>
                </a:lnTo>
                <a:lnTo>
                  <a:pt x="420" y="30"/>
                </a:lnTo>
                <a:lnTo>
                  <a:pt x="420" y="42"/>
                </a:lnTo>
                <a:lnTo>
                  <a:pt x="426" y="42"/>
                </a:lnTo>
                <a:lnTo>
                  <a:pt x="432" y="48"/>
                </a:lnTo>
                <a:close/>
                <a:moveTo>
                  <a:pt x="342" y="138"/>
                </a:moveTo>
                <a:lnTo>
                  <a:pt x="342" y="150"/>
                </a:lnTo>
                <a:lnTo>
                  <a:pt x="354" y="138"/>
                </a:lnTo>
                <a:lnTo>
                  <a:pt x="342" y="138"/>
                </a:lnTo>
                <a:close/>
                <a:moveTo>
                  <a:pt x="192" y="402"/>
                </a:moveTo>
                <a:lnTo>
                  <a:pt x="192" y="390"/>
                </a:lnTo>
                <a:lnTo>
                  <a:pt x="186" y="384"/>
                </a:lnTo>
                <a:lnTo>
                  <a:pt x="186" y="378"/>
                </a:lnTo>
                <a:lnTo>
                  <a:pt x="174" y="390"/>
                </a:lnTo>
                <a:lnTo>
                  <a:pt x="174" y="396"/>
                </a:lnTo>
                <a:lnTo>
                  <a:pt x="180" y="402"/>
                </a:lnTo>
                <a:lnTo>
                  <a:pt x="192" y="402"/>
                </a:lnTo>
                <a:close/>
                <a:moveTo>
                  <a:pt x="504" y="588"/>
                </a:moveTo>
                <a:lnTo>
                  <a:pt x="498" y="594"/>
                </a:lnTo>
                <a:lnTo>
                  <a:pt x="498" y="600"/>
                </a:lnTo>
                <a:lnTo>
                  <a:pt x="480" y="600"/>
                </a:lnTo>
                <a:lnTo>
                  <a:pt x="480" y="588"/>
                </a:lnTo>
                <a:lnTo>
                  <a:pt x="486" y="576"/>
                </a:lnTo>
                <a:lnTo>
                  <a:pt x="498" y="564"/>
                </a:lnTo>
                <a:lnTo>
                  <a:pt x="492" y="558"/>
                </a:lnTo>
                <a:lnTo>
                  <a:pt x="456" y="540"/>
                </a:lnTo>
                <a:lnTo>
                  <a:pt x="450" y="540"/>
                </a:lnTo>
                <a:lnTo>
                  <a:pt x="444" y="534"/>
                </a:lnTo>
                <a:lnTo>
                  <a:pt x="450" y="534"/>
                </a:lnTo>
                <a:lnTo>
                  <a:pt x="456" y="528"/>
                </a:lnTo>
                <a:lnTo>
                  <a:pt x="480" y="528"/>
                </a:lnTo>
                <a:lnTo>
                  <a:pt x="468" y="516"/>
                </a:lnTo>
                <a:lnTo>
                  <a:pt x="468" y="510"/>
                </a:lnTo>
                <a:lnTo>
                  <a:pt x="456" y="498"/>
                </a:lnTo>
                <a:lnTo>
                  <a:pt x="450" y="486"/>
                </a:lnTo>
                <a:lnTo>
                  <a:pt x="432" y="468"/>
                </a:lnTo>
                <a:lnTo>
                  <a:pt x="420" y="468"/>
                </a:lnTo>
                <a:lnTo>
                  <a:pt x="414" y="456"/>
                </a:lnTo>
                <a:lnTo>
                  <a:pt x="402" y="450"/>
                </a:lnTo>
                <a:lnTo>
                  <a:pt x="390" y="438"/>
                </a:lnTo>
                <a:lnTo>
                  <a:pt x="390" y="414"/>
                </a:lnTo>
                <a:lnTo>
                  <a:pt x="396" y="402"/>
                </a:lnTo>
                <a:lnTo>
                  <a:pt x="396" y="390"/>
                </a:lnTo>
                <a:lnTo>
                  <a:pt x="384" y="390"/>
                </a:lnTo>
                <a:lnTo>
                  <a:pt x="378" y="384"/>
                </a:lnTo>
                <a:lnTo>
                  <a:pt x="372" y="372"/>
                </a:lnTo>
                <a:lnTo>
                  <a:pt x="360" y="360"/>
                </a:lnTo>
                <a:lnTo>
                  <a:pt x="342" y="354"/>
                </a:lnTo>
                <a:lnTo>
                  <a:pt x="324" y="354"/>
                </a:lnTo>
                <a:lnTo>
                  <a:pt x="306" y="360"/>
                </a:lnTo>
                <a:lnTo>
                  <a:pt x="294" y="366"/>
                </a:lnTo>
                <a:lnTo>
                  <a:pt x="288" y="366"/>
                </a:lnTo>
                <a:lnTo>
                  <a:pt x="270" y="348"/>
                </a:lnTo>
                <a:lnTo>
                  <a:pt x="282" y="348"/>
                </a:lnTo>
                <a:lnTo>
                  <a:pt x="294" y="354"/>
                </a:lnTo>
                <a:lnTo>
                  <a:pt x="306" y="354"/>
                </a:lnTo>
                <a:lnTo>
                  <a:pt x="330" y="342"/>
                </a:lnTo>
                <a:lnTo>
                  <a:pt x="336" y="336"/>
                </a:lnTo>
                <a:lnTo>
                  <a:pt x="330" y="336"/>
                </a:lnTo>
                <a:lnTo>
                  <a:pt x="324" y="330"/>
                </a:lnTo>
                <a:lnTo>
                  <a:pt x="306" y="330"/>
                </a:lnTo>
                <a:lnTo>
                  <a:pt x="330" y="324"/>
                </a:lnTo>
                <a:lnTo>
                  <a:pt x="336" y="318"/>
                </a:lnTo>
                <a:lnTo>
                  <a:pt x="348" y="312"/>
                </a:lnTo>
                <a:lnTo>
                  <a:pt x="360" y="300"/>
                </a:lnTo>
                <a:lnTo>
                  <a:pt x="360" y="288"/>
                </a:lnTo>
                <a:lnTo>
                  <a:pt x="366" y="276"/>
                </a:lnTo>
                <a:lnTo>
                  <a:pt x="372" y="270"/>
                </a:lnTo>
                <a:lnTo>
                  <a:pt x="378" y="258"/>
                </a:lnTo>
                <a:lnTo>
                  <a:pt x="384" y="252"/>
                </a:lnTo>
                <a:lnTo>
                  <a:pt x="396" y="246"/>
                </a:lnTo>
                <a:lnTo>
                  <a:pt x="402" y="246"/>
                </a:lnTo>
                <a:lnTo>
                  <a:pt x="402" y="240"/>
                </a:lnTo>
                <a:lnTo>
                  <a:pt x="396" y="234"/>
                </a:lnTo>
                <a:lnTo>
                  <a:pt x="318" y="234"/>
                </a:lnTo>
                <a:lnTo>
                  <a:pt x="318" y="228"/>
                </a:lnTo>
                <a:lnTo>
                  <a:pt x="288" y="228"/>
                </a:lnTo>
                <a:lnTo>
                  <a:pt x="276" y="234"/>
                </a:lnTo>
                <a:lnTo>
                  <a:pt x="264" y="234"/>
                </a:lnTo>
                <a:lnTo>
                  <a:pt x="258" y="240"/>
                </a:lnTo>
                <a:lnTo>
                  <a:pt x="252" y="240"/>
                </a:lnTo>
                <a:lnTo>
                  <a:pt x="264" y="228"/>
                </a:lnTo>
                <a:lnTo>
                  <a:pt x="252" y="216"/>
                </a:lnTo>
                <a:lnTo>
                  <a:pt x="270" y="210"/>
                </a:lnTo>
                <a:lnTo>
                  <a:pt x="300" y="192"/>
                </a:lnTo>
                <a:lnTo>
                  <a:pt x="312" y="186"/>
                </a:lnTo>
                <a:lnTo>
                  <a:pt x="324" y="162"/>
                </a:lnTo>
                <a:lnTo>
                  <a:pt x="318" y="156"/>
                </a:lnTo>
                <a:lnTo>
                  <a:pt x="288" y="156"/>
                </a:lnTo>
                <a:lnTo>
                  <a:pt x="276" y="162"/>
                </a:lnTo>
                <a:lnTo>
                  <a:pt x="258" y="168"/>
                </a:lnTo>
                <a:lnTo>
                  <a:pt x="240" y="168"/>
                </a:lnTo>
                <a:lnTo>
                  <a:pt x="228" y="162"/>
                </a:lnTo>
                <a:lnTo>
                  <a:pt x="216" y="162"/>
                </a:lnTo>
                <a:lnTo>
                  <a:pt x="210" y="168"/>
                </a:lnTo>
                <a:lnTo>
                  <a:pt x="210" y="174"/>
                </a:lnTo>
                <a:lnTo>
                  <a:pt x="216" y="180"/>
                </a:lnTo>
                <a:lnTo>
                  <a:pt x="204" y="180"/>
                </a:lnTo>
                <a:lnTo>
                  <a:pt x="192" y="192"/>
                </a:lnTo>
                <a:lnTo>
                  <a:pt x="192" y="210"/>
                </a:lnTo>
                <a:lnTo>
                  <a:pt x="198" y="216"/>
                </a:lnTo>
                <a:lnTo>
                  <a:pt x="156" y="222"/>
                </a:lnTo>
                <a:lnTo>
                  <a:pt x="156" y="234"/>
                </a:lnTo>
                <a:lnTo>
                  <a:pt x="168" y="240"/>
                </a:lnTo>
                <a:lnTo>
                  <a:pt x="180" y="264"/>
                </a:lnTo>
                <a:lnTo>
                  <a:pt x="162" y="282"/>
                </a:lnTo>
                <a:lnTo>
                  <a:pt x="162" y="294"/>
                </a:lnTo>
                <a:lnTo>
                  <a:pt x="144" y="300"/>
                </a:lnTo>
                <a:lnTo>
                  <a:pt x="156" y="312"/>
                </a:lnTo>
                <a:lnTo>
                  <a:pt x="168" y="312"/>
                </a:lnTo>
                <a:lnTo>
                  <a:pt x="180" y="306"/>
                </a:lnTo>
                <a:lnTo>
                  <a:pt x="186" y="300"/>
                </a:lnTo>
                <a:lnTo>
                  <a:pt x="186" y="318"/>
                </a:lnTo>
                <a:lnTo>
                  <a:pt x="180" y="318"/>
                </a:lnTo>
                <a:lnTo>
                  <a:pt x="168" y="330"/>
                </a:lnTo>
                <a:lnTo>
                  <a:pt x="156" y="336"/>
                </a:lnTo>
                <a:lnTo>
                  <a:pt x="156" y="360"/>
                </a:lnTo>
                <a:lnTo>
                  <a:pt x="162" y="372"/>
                </a:lnTo>
                <a:lnTo>
                  <a:pt x="168" y="366"/>
                </a:lnTo>
                <a:lnTo>
                  <a:pt x="198" y="366"/>
                </a:lnTo>
                <a:lnTo>
                  <a:pt x="210" y="360"/>
                </a:lnTo>
                <a:lnTo>
                  <a:pt x="216" y="354"/>
                </a:lnTo>
                <a:lnTo>
                  <a:pt x="198" y="372"/>
                </a:lnTo>
                <a:lnTo>
                  <a:pt x="210" y="402"/>
                </a:lnTo>
                <a:lnTo>
                  <a:pt x="204" y="408"/>
                </a:lnTo>
                <a:lnTo>
                  <a:pt x="198" y="420"/>
                </a:lnTo>
                <a:lnTo>
                  <a:pt x="186" y="426"/>
                </a:lnTo>
                <a:lnTo>
                  <a:pt x="180" y="438"/>
                </a:lnTo>
                <a:lnTo>
                  <a:pt x="180" y="450"/>
                </a:lnTo>
                <a:lnTo>
                  <a:pt x="186" y="456"/>
                </a:lnTo>
                <a:lnTo>
                  <a:pt x="204" y="456"/>
                </a:lnTo>
                <a:lnTo>
                  <a:pt x="216" y="450"/>
                </a:lnTo>
                <a:lnTo>
                  <a:pt x="240" y="450"/>
                </a:lnTo>
                <a:lnTo>
                  <a:pt x="252" y="444"/>
                </a:lnTo>
                <a:lnTo>
                  <a:pt x="258" y="438"/>
                </a:lnTo>
                <a:lnTo>
                  <a:pt x="270" y="432"/>
                </a:lnTo>
                <a:lnTo>
                  <a:pt x="300" y="438"/>
                </a:lnTo>
                <a:lnTo>
                  <a:pt x="288" y="444"/>
                </a:lnTo>
                <a:lnTo>
                  <a:pt x="264" y="468"/>
                </a:lnTo>
                <a:lnTo>
                  <a:pt x="264" y="474"/>
                </a:lnTo>
                <a:lnTo>
                  <a:pt x="282" y="492"/>
                </a:lnTo>
                <a:lnTo>
                  <a:pt x="294" y="492"/>
                </a:lnTo>
                <a:lnTo>
                  <a:pt x="300" y="498"/>
                </a:lnTo>
                <a:lnTo>
                  <a:pt x="306" y="498"/>
                </a:lnTo>
                <a:lnTo>
                  <a:pt x="312" y="516"/>
                </a:lnTo>
                <a:lnTo>
                  <a:pt x="294" y="534"/>
                </a:lnTo>
                <a:lnTo>
                  <a:pt x="294" y="564"/>
                </a:lnTo>
                <a:lnTo>
                  <a:pt x="222" y="564"/>
                </a:lnTo>
                <a:lnTo>
                  <a:pt x="216" y="558"/>
                </a:lnTo>
                <a:lnTo>
                  <a:pt x="198" y="558"/>
                </a:lnTo>
                <a:lnTo>
                  <a:pt x="192" y="564"/>
                </a:lnTo>
                <a:lnTo>
                  <a:pt x="210" y="582"/>
                </a:lnTo>
                <a:lnTo>
                  <a:pt x="186" y="600"/>
                </a:lnTo>
                <a:lnTo>
                  <a:pt x="228" y="594"/>
                </a:lnTo>
                <a:lnTo>
                  <a:pt x="228" y="618"/>
                </a:lnTo>
                <a:lnTo>
                  <a:pt x="216" y="642"/>
                </a:lnTo>
                <a:lnTo>
                  <a:pt x="210" y="648"/>
                </a:lnTo>
                <a:lnTo>
                  <a:pt x="198" y="654"/>
                </a:lnTo>
                <a:lnTo>
                  <a:pt x="180" y="660"/>
                </a:lnTo>
                <a:lnTo>
                  <a:pt x="168" y="666"/>
                </a:lnTo>
                <a:lnTo>
                  <a:pt x="162" y="666"/>
                </a:lnTo>
                <a:lnTo>
                  <a:pt x="162" y="690"/>
                </a:lnTo>
                <a:lnTo>
                  <a:pt x="168" y="696"/>
                </a:lnTo>
                <a:lnTo>
                  <a:pt x="174" y="696"/>
                </a:lnTo>
                <a:lnTo>
                  <a:pt x="180" y="690"/>
                </a:lnTo>
                <a:lnTo>
                  <a:pt x="192" y="684"/>
                </a:lnTo>
                <a:lnTo>
                  <a:pt x="198" y="678"/>
                </a:lnTo>
                <a:lnTo>
                  <a:pt x="204" y="684"/>
                </a:lnTo>
                <a:lnTo>
                  <a:pt x="204" y="690"/>
                </a:lnTo>
                <a:lnTo>
                  <a:pt x="210" y="696"/>
                </a:lnTo>
                <a:lnTo>
                  <a:pt x="234" y="696"/>
                </a:lnTo>
                <a:lnTo>
                  <a:pt x="240" y="702"/>
                </a:lnTo>
                <a:lnTo>
                  <a:pt x="252" y="708"/>
                </a:lnTo>
                <a:lnTo>
                  <a:pt x="258" y="708"/>
                </a:lnTo>
                <a:lnTo>
                  <a:pt x="276" y="702"/>
                </a:lnTo>
                <a:lnTo>
                  <a:pt x="288" y="696"/>
                </a:lnTo>
                <a:lnTo>
                  <a:pt x="294" y="690"/>
                </a:lnTo>
                <a:lnTo>
                  <a:pt x="318" y="690"/>
                </a:lnTo>
                <a:lnTo>
                  <a:pt x="312" y="696"/>
                </a:lnTo>
                <a:lnTo>
                  <a:pt x="300" y="702"/>
                </a:lnTo>
                <a:lnTo>
                  <a:pt x="294" y="714"/>
                </a:lnTo>
                <a:lnTo>
                  <a:pt x="282" y="720"/>
                </a:lnTo>
                <a:lnTo>
                  <a:pt x="276" y="726"/>
                </a:lnTo>
                <a:lnTo>
                  <a:pt x="210" y="726"/>
                </a:lnTo>
                <a:lnTo>
                  <a:pt x="210" y="738"/>
                </a:lnTo>
                <a:lnTo>
                  <a:pt x="198" y="738"/>
                </a:lnTo>
                <a:lnTo>
                  <a:pt x="186" y="744"/>
                </a:lnTo>
                <a:lnTo>
                  <a:pt x="180" y="750"/>
                </a:lnTo>
                <a:lnTo>
                  <a:pt x="180" y="768"/>
                </a:lnTo>
                <a:lnTo>
                  <a:pt x="174" y="774"/>
                </a:lnTo>
                <a:lnTo>
                  <a:pt x="144" y="774"/>
                </a:lnTo>
                <a:lnTo>
                  <a:pt x="144" y="780"/>
                </a:lnTo>
                <a:lnTo>
                  <a:pt x="138" y="786"/>
                </a:lnTo>
                <a:lnTo>
                  <a:pt x="138" y="792"/>
                </a:lnTo>
                <a:lnTo>
                  <a:pt x="126" y="804"/>
                </a:lnTo>
                <a:lnTo>
                  <a:pt x="114" y="810"/>
                </a:lnTo>
                <a:lnTo>
                  <a:pt x="108" y="810"/>
                </a:lnTo>
                <a:lnTo>
                  <a:pt x="108" y="816"/>
                </a:lnTo>
                <a:lnTo>
                  <a:pt x="114" y="816"/>
                </a:lnTo>
                <a:lnTo>
                  <a:pt x="120" y="822"/>
                </a:lnTo>
                <a:lnTo>
                  <a:pt x="150" y="822"/>
                </a:lnTo>
                <a:lnTo>
                  <a:pt x="156" y="810"/>
                </a:lnTo>
                <a:lnTo>
                  <a:pt x="174" y="792"/>
                </a:lnTo>
                <a:lnTo>
                  <a:pt x="210" y="792"/>
                </a:lnTo>
                <a:lnTo>
                  <a:pt x="216" y="798"/>
                </a:lnTo>
                <a:lnTo>
                  <a:pt x="228" y="804"/>
                </a:lnTo>
                <a:lnTo>
                  <a:pt x="240" y="804"/>
                </a:lnTo>
                <a:lnTo>
                  <a:pt x="246" y="792"/>
                </a:lnTo>
                <a:lnTo>
                  <a:pt x="252" y="786"/>
                </a:lnTo>
                <a:lnTo>
                  <a:pt x="258" y="774"/>
                </a:lnTo>
                <a:lnTo>
                  <a:pt x="270" y="762"/>
                </a:lnTo>
                <a:lnTo>
                  <a:pt x="288" y="762"/>
                </a:lnTo>
                <a:lnTo>
                  <a:pt x="300" y="774"/>
                </a:lnTo>
                <a:lnTo>
                  <a:pt x="330" y="774"/>
                </a:lnTo>
                <a:lnTo>
                  <a:pt x="354" y="762"/>
                </a:lnTo>
                <a:lnTo>
                  <a:pt x="360" y="762"/>
                </a:lnTo>
                <a:lnTo>
                  <a:pt x="366" y="768"/>
                </a:lnTo>
                <a:lnTo>
                  <a:pt x="378" y="768"/>
                </a:lnTo>
                <a:lnTo>
                  <a:pt x="390" y="774"/>
                </a:lnTo>
                <a:lnTo>
                  <a:pt x="396" y="774"/>
                </a:lnTo>
                <a:lnTo>
                  <a:pt x="396" y="768"/>
                </a:lnTo>
                <a:lnTo>
                  <a:pt x="390" y="762"/>
                </a:lnTo>
                <a:lnTo>
                  <a:pt x="390" y="750"/>
                </a:lnTo>
                <a:lnTo>
                  <a:pt x="396" y="750"/>
                </a:lnTo>
                <a:lnTo>
                  <a:pt x="408" y="756"/>
                </a:lnTo>
                <a:lnTo>
                  <a:pt x="414" y="762"/>
                </a:lnTo>
                <a:lnTo>
                  <a:pt x="426" y="756"/>
                </a:lnTo>
                <a:lnTo>
                  <a:pt x="498" y="756"/>
                </a:lnTo>
                <a:lnTo>
                  <a:pt x="522" y="750"/>
                </a:lnTo>
                <a:lnTo>
                  <a:pt x="534" y="744"/>
                </a:lnTo>
                <a:lnTo>
                  <a:pt x="540" y="732"/>
                </a:lnTo>
                <a:lnTo>
                  <a:pt x="546" y="726"/>
                </a:lnTo>
                <a:lnTo>
                  <a:pt x="552" y="714"/>
                </a:lnTo>
                <a:lnTo>
                  <a:pt x="498" y="708"/>
                </a:lnTo>
                <a:lnTo>
                  <a:pt x="522" y="702"/>
                </a:lnTo>
                <a:lnTo>
                  <a:pt x="516" y="684"/>
                </a:lnTo>
                <a:lnTo>
                  <a:pt x="528" y="672"/>
                </a:lnTo>
                <a:lnTo>
                  <a:pt x="540" y="666"/>
                </a:lnTo>
                <a:lnTo>
                  <a:pt x="546" y="666"/>
                </a:lnTo>
                <a:lnTo>
                  <a:pt x="558" y="660"/>
                </a:lnTo>
                <a:lnTo>
                  <a:pt x="564" y="654"/>
                </a:lnTo>
                <a:lnTo>
                  <a:pt x="576" y="618"/>
                </a:lnTo>
                <a:lnTo>
                  <a:pt x="570" y="606"/>
                </a:lnTo>
                <a:lnTo>
                  <a:pt x="564" y="600"/>
                </a:lnTo>
                <a:lnTo>
                  <a:pt x="552" y="594"/>
                </a:lnTo>
                <a:lnTo>
                  <a:pt x="540" y="594"/>
                </a:lnTo>
                <a:lnTo>
                  <a:pt x="528" y="588"/>
                </a:lnTo>
                <a:lnTo>
                  <a:pt x="504" y="588"/>
                </a:lnTo>
                <a:close/>
                <a:moveTo>
                  <a:pt x="222" y="486"/>
                </a:moveTo>
                <a:lnTo>
                  <a:pt x="216" y="480"/>
                </a:lnTo>
                <a:lnTo>
                  <a:pt x="204" y="480"/>
                </a:lnTo>
                <a:lnTo>
                  <a:pt x="204" y="486"/>
                </a:lnTo>
                <a:lnTo>
                  <a:pt x="198" y="498"/>
                </a:lnTo>
                <a:lnTo>
                  <a:pt x="192" y="504"/>
                </a:lnTo>
                <a:lnTo>
                  <a:pt x="210" y="504"/>
                </a:lnTo>
                <a:lnTo>
                  <a:pt x="222" y="492"/>
                </a:lnTo>
                <a:lnTo>
                  <a:pt x="222" y="486"/>
                </a:lnTo>
                <a:close/>
                <a:moveTo>
                  <a:pt x="126" y="504"/>
                </a:moveTo>
                <a:lnTo>
                  <a:pt x="132" y="498"/>
                </a:lnTo>
                <a:lnTo>
                  <a:pt x="132" y="492"/>
                </a:lnTo>
                <a:lnTo>
                  <a:pt x="144" y="492"/>
                </a:lnTo>
                <a:lnTo>
                  <a:pt x="150" y="480"/>
                </a:lnTo>
                <a:lnTo>
                  <a:pt x="156" y="474"/>
                </a:lnTo>
                <a:lnTo>
                  <a:pt x="156" y="462"/>
                </a:lnTo>
                <a:lnTo>
                  <a:pt x="138" y="444"/>
                </a:lnTo>
                <a:lnTo>
                  <a:pt x="138" y="432"/>
                </a:lnTo>
                <a:lnTo>
                  <a:pt x="132" y="438"/>
                </a:lnTo>
                <a:lnTo>
                  <a:pt x="126" y="426"/>
                </a:lnTo>
                <a:lnTo>
                  <a:pt x="120" y="420"/>
                </a:lnTo>
                <a:lnTo>
                  <a:pt x="78" y="420"/>
                </a:lnTo>
                <a:lnTo>
                  <a:pt x="72" y="426"/>
                </a:lnTo>
                <a:lnTo>
                  <a:pt x="30" y="450"/>
                </a:lnTo>
                <a:lnTo>
                  <a:pt x="30" y="462"/>
                </a:lnTo>
                <a:lnTo>
                  <a:pt x="24" y="462"/>
                </a:lnTo>
                <a:lnTo>
                  <a:pt x="18" y="468"/>
                </a:lnTo>
                <a:lnTo>
                  <a:pt x="12" y="468"/>
                </a:lnTo>
                <a:lnTo>
                  <a:pt x="0" y="480"/>
                </a:lnTo>
                <a:lnTo>
                  <a:pt x="6" y="486"/>
                </a:lnTo>
                <a:lnTo>
                  <a:pt x="30" y="498"/>
                </a:lnTo>
                <a:lnTo>
                  <a:pt x="42" y="498"/>
                </a:lnTo>
                <a:lnTo>
                  <a:pt x="66" y="474"/>
                </a:lnTo>
                <a:lnTo>
                  <a:pt x="84" y="498"/>
                </a:lnTo>
                <a:lnTo>
                  <a:pt x="120" y="504"/>
                </a:lnTo>
                <a:lnTo>
                  <a:pt x="126" y="504"/>
                </a:lnTo>
                <a:close/>
                <a:moveTo>
                  <a:pt x="78" y="228"/>
                </a:moveTo>
                <a:lnTo>
                  <a:pt x="72" y="228"/>
                </a:lnTo>
                <a:lnTo>
                  <a:pt x="66" y="234"/>
                </a:lnTo>
                <a:lnTo>
                  <a:pt x="66" y="240"/>
                </a:lnTo>
                <a:lnTo>
                  <a:pt x="84" y="240"/>
                </a:lnTo>
                <a:lnTo>
                  <a:pt x="84" y="228"/>
                </a:lnTo>
                <a:lnTo>
                  <a:pt x="78" y="228"/>
                </a:lnTo>
                <a:close/>
                <a:moveTo>
                  <a:pt x="108" y="210"/>
                </a:moveTo>
                <a:lnTo>
                  <a:pt x="126" y="210"/>
                </a:lnTo>
                <a:lnTo>
                  <a:pt x="132" y="204"/>
                </a:lnTo>
                <a:lnTo>
                  <a:pt x="132" y="198"/>
                </a:lnTo>
                <a:lnTo>
                  <a:pt x="138" y="186"/>
                </a:lnTo>
                <a:lnTo>
                  <a:pt x="150" y="174"/>
                </a:lnTo>
                <a:lnTo>
                  <a:pt x="150" y="168"/>
                </a:lnTo>
                <a:lnTo>
                  <a:pt x="138" y="174"/>
                </a:lnTo>
                <a:lnTo>
                  <a:pt x="132" y="174"/>
                </a:lnTo>
                <a:lnTo>
                  <a:pt x="114" y="192"/>
                </a:lnTo>
                <a:lnTo>
                  <a:pt x="108" y="186"/>
                </a:lnTo>
                <a:lnTo>
                  <a:pt x="96" y="186"/>
                </a:lnTo>
                <a:lnTo>
                  <a:pt x="90" y="192"/>
                </a:lnTo>
                <a:lnTo>
                  <a:pt x="90" y="210"/>
                </a:lnTo>
                <a:lnTo>
                  <a:pt x="96" y="216"/>
                </a:lnTo>
                <a:lnTo>
                  <a:pt x="96" y="228"/>
                </a:lnTo>
                <a:lnTo>
                  <a:pt x="108" y="210"/>
                </a:lnTo>
                <a:close/>
                <a:moveTo>
                  <a:pt x="72" y="252"/>
                </a:moveTo>
                <a:lnTo>
                  <a:pt x="60" y="282"/>
                </a:lnTo>
                <a:lnTo>
                  <a:pt x="78" y="258"/>
                </a:lnTo>
                <a:lnTo>
                  <a:pt x="72" y="25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8" name="Greece"/>
          <p:cNvSpPr>
            <a:spLocks noEditPoints="1"/>
          </p:cNvSpPr>
          <p:nvPr/>
        </p:nvSpPr>
        <p:spPr bwMode="gray">
          <a:xfrm>
            <a:off x="4576033" y="2905793"/>
            <a:ext cx="214313" cy="222250"/>
          </a:xfrm>
          <a:custGeom>
            <a:avLst/>
            <a:gdLst>
              <a:gd name="T0" fmla="*/ 0 w 534"/>
              <a:gd name="T1" fmla="*/ 2147483647 h 552"/>
              <a:gd name="T2" fmla="*/ 2147483647 w 534"/>
              <a:gd name="T3" fmla="*/ 2147483647 h 552"/>
              <a:gd name="T4" fmla="*/ 2147483647 w 534"/>
              <a:gd name="T5" fmla="*/ 2147483647 h 552"/>
              <a:gd name="T6" fmla="*/ 2147483647 w 534"/>
              <a:gd name="T7" fmla="*/ 2147483647 h 552"/>
              <a:gd name="T8" fmla="*/ 2147483647 w 534"/>
              <a:gd name="T9" fmla="*/ 2147483647 h 552"/>
              <a:gd name="T10" fmla="*/ 2147483647 w 534"/>
              <a:gd name="T11" fmla="*/ 2147483647 h 552"/>
              <a:gd name="T12" fmla="*/ 2147483647 w 534"/>
              <a:gd name="T13" fmla="*/ 2147483647 h 552"/>
              <a:gd name="T14" fmla="*/ 2147483647 w 534"/>
              <a:gd name="T15" fmla="*/ 2147483647 h 552"/>
              <a:gd name="T16" fmla="*/ 2147483647 w 534"/>
              <a:gd name="T17" fmla="*/ 2147483647 h 552"/>
              <a:gd name="T18" fmla="*/ 2147483647 w 534"/>
              <a:gd name="T19" fmla="*/ 2147483647 h 552"/>
              <a:gd name="T20" fmla="*/ 2147483647 w 534"/>
              <a:gd name="T21" fmla="*/ 2147483647 h 552"/>
              <a:gd name="T22" fmla="*/ 2147483647 w 534"/>
              <a:gd name="T23" fmla="*/ 2147483647 h 552"/>
              <a:gd name="T24" fmla="*/ 2147483647 w 534"/>
              <a:gd name="T25" fmla="*/ 2147483647 h 552"/>
              <a:gd name="T26" fmla="*/ 2147483647 w 534"/>
              <a:gd name="T27" fmla="*/ 2147483647 h 552"/>
              <a:gd name="T28" fmla="*/ 2147483647 w 534"/>
              <a:gd name="T29" fmla="*/ 2147483647 h 552"/>
              <a:gd name="T30" fmla="*/ 2147483647 w 534"/>
              <a:gd name="T31" fmla="*/ 2147483647 h 552"/>
              <a:gd name="T32" fmla="*/ 2147483647 w 534"/>
              <a:gd name="T33" fmla="*/ 2147483647 h 552"/>
              <a:gd name="T34" fmla="*/ 2147483647 w 534"/>
              <a:gd name="T35" fmla="*/ 2147483647 h 552"/>
              <a:gd name="T36" fmla="*/ 2147483647 w 534"/>
              <a:gd name="T37" fmla="*/ 2147483647 h 552"/>
              <a:gd name="T38" fmla="*/ 2147483647 w 534"/>
              <a:gd name="T39" fmla="*/ 2147483647 h 552"/>
              <a:gd name="T40" fmla="*/ 2147483647 w 534"/>
              <a:gd name="T41" fmla="*/ 2147483647 h 552"/>
              <a:gd name="T42" fmla="*/ 2147483647 w 534"/>
              <a:gd name="T43" fmla="*/ 2147483647 h 552"/>
              <a:gd name="T44" fmla="*/ 2147483647 w 534"/>
              <a:gd name="T45" fmla="*/ 2147483647 h 552"/>
              <a:gd name="T46" fmla="*/ 2147483647 w 534"/>
              <a:gd name="T47" fmla="*/ 2147483647 h 552"/>
              <a:gd name="T48" fmla="*/ 2147483647 w 534"/>
              <a:gd name="T49" fmla="*/ 2147483647 h 552"/>
              <a:gd name="T50" fmla="*/ 2147483647 w 534"/>
              <a:gd name="T51" fmla="*/ 2147483647 h 552"/>
              <a:gd name="T52" fmla="*/ 2147483647 w 534"/>
              <a:gd name="T53" fmla="*/ 2147483647 h 552"/>
              <a:gd name="T54" fmla="*/ 2147483647 w 534"/>
              <a:gd name="T55" fmla="*/ 2147483647 h 552"/>
              <a:gd name="T56" fmla="*/ 2147483647 w 534"/>
              <a:gd name="T57" fmla="*/ 2147483647 h 552"/>
              <a:gd name="T58" fmla="*/ 2147483647 w 534"/>
              <a:gd name="T59" fmla="*/ 2147483647 h 552"/>
              <a:gd name="T60" fmla="*/ 2147483647 w 534"/>
              <a:gd name="T61" fmla="*/ 2147483647 h 552"/>
              <a:gd name="T62" fmla="*/ 2147483647 w 534"/>
              <a:gd name="T63" fmla="*/ 2147483647 h 552"/>
              <a:gd name="T64" fmla="*/ 2147483647 w 534"/>
              <a:gd name="T65" fmla="*/ 2147483647 h 552"/>
              <a:gd name="T66" fmla="*/ 2147483647 w 534"/>
              <a:gd name="T67" fmla="*/ 2147483647 h 552"/>
              <a:gd name="T68" fmla="*/ 2147483647 w 534"/>
              <a:gd name="T69" fmla="*/ 2147483647 h 552"/>
              <a:gd name="T70" fmla="*/ 2147483647 w 534"/>
              <a:gd name="T71" fmla="*/ 2147483647 h 552"/>
              <a:gd name="T72" fmla="*/ 2147483647 w 534"/>
              <a:gd name="T73" fmla="*/ 2147483647 h 552"/>
              <a:gd name="T74" fmla="*/ 2147483647 w 534"/>
              <a:gd name="T75" fmla="*/ 2147483647 h 552"/>
              <a:gd name="T76" fmla="*/ 2147483647 w 534"/>
              <a:gd name="T77" fmla="*/ 2147483647 h 552"/>
              <a:gd name="T78" fmla="*/ 2147483647 w 534"/>
              <a:gd name="T79" fmla="*/ 2147483647 h 552"/>
              <a:gd name="T80" fmla="*/ 2147483647 w 534"/>
              <a:gd name="T81" fmla="*/ 2147483647 h 552"/>
              <a:gd name="T82" fmla="*/ 2147483647 w 534"/>
              <a:gd name="T83" fmla="*/ 2147483647 h 552"/>
              <a:gd name="T84" fmla="*/ 2147483647 w 534"/>
              <a:gd name="T85" fmla="*/ 2147483647 h 552"/>
              <a:gd name="T86" fmla="*/ 2147483647 w 534"/>
              <a:gd name="T87" fmla="*/ 2147483647 h 552"/>
              <a:gd name="T88" fmla="*/ 2147483647 w 534"/>
              <a:gd name="T89" fmla="*/ 2147483647 h 552"/>
              <a:gd name="T90" fmla="*/ 2147483647 w 534"/>
              <a:gd name="T91" fmla="*/ 2147483647 h 552"/>
              <a:gd name="T92" fmla="*/ 2147483647 w 534"/>
              <a:gd name="T93" fmla="*/ 2147483647 h 552"/>
              <a:gd name="T94" fmla="*/ 2147483647 w 534"/>
              <a:gd name="T95" fmla="*/ 2147483647 h 552"/>
              <a:gd name="T96" fmla="*/ 2147483647 w 534"/>
              <a:gd name="T97" fmla="*/ 2147483647 h 552"/>
              <a:gd name="T98" fmla="*/ 2147483647 w 534"/>
              <a:gd name="T99" fmla="*/ 2147483647 h 552"/>
              <a:gd name="T100" fmla="*/ 2147483647 w 534"/>
              <a:gd name="T101" fmla="*/ 2147483647 h 552"/>
              <a:gd name="T102" fmla="*/ 2147483647 w 534"/>
              <a:gd name="T103" fmla="*/ 2147483647 h 552"/>
              <a:gd name="T104" fmla="*/ 2147483647 w 534"/>
              <a:gd name="T105" fmla="*/ 2147483647 h 552"/>
              <a:gd name="T106" fmla="*/ 2147483647 w 534"/>
              <a:gd name="T107" fmla="*/ 2147483647 h 5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34"/>
              <a:gd name="T163" fmla="*/ 0 h 552"/>
              <a:gd name="T164" fmla="*/ 534 w 534"/>
              <a:gd name="T165" fmla="*/ 552 h 55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34" h="552">
                <a:moveTo>
                  <a:pt x="240" y="108"/>
                </a:moveTo>
                <a:lnTo>
                  <a:pt x="270" y="126"/>
                </a:lnTo>
                <a:lnTo>
                  <a:pt x="282" y="120"/>
                </a:lnTo>
                <a:lnTo>
                  <a:pt x="240" y="108"/>
                </a:lnTo>
                <a:close/>
                <a:moveTo>
                  <a:pt x="24" y="258"/>
                </a:moveTo>
                <a:lnTo>
                  <a:pt x="0" y="282"/>
                </a:lnTo>
                <a:lnTo>
                  <a:pt x="42" y="294"/>
                </a:lnTo>
                <a:lnTo>
                  <a:pt x="24" y="258"/>
                </a:lnTo>
                <a:close/>
                <a:moveTo>
                  <a:pt x="312" y="414"/>
                </a:moveTo>
                <a:lnTo>
                  <a:pt x="312" y="420"/>
                </a:lnTo>
                <a:lnTo>
                  <a:pt x="324" y="420"/>
                </a:lnTo>
                <a:lnTo>
                  <a:pt x="324" y="414"/>
                </a:lnTo>
                <a:lnTo>
                  <a:pt x="318" y="408"/>
                </a:lnTo>
                <a:lnTo>
                  <a:pt x="312" y="408"/>
                </a:lnTo>
                <a:lnTo>
                  <a:pt x="312" y="414"/>
                </a:lnTo>
                <a:close/>
                <a:moveTo>
                  <a:pt x="306" y="390"/>
                </a:moveTo>
                <a:lnTo>
                  <a:pt x="300" y="378"/>
                </a:lnTo>
                <a:lnTo>
                  <a:pt x="294" y="390"/>
                </a:lnTo>
                <a:lnTo>
                  <a:pt x="306" y="390"/>
                </a:lnTo>
                <a:close/>
                <a:moveTo>
                  <a:pt x="294" y="294"/>
                </a:moveTo>
                <a:lnTo>
                  <a:pt x="318" y="336"/>
                </a:lnTo>
                <a:lnTo>
                  <a:pt x="330" y="318"/>
                </a:lnTo>
                <a:lnTo>
                  <a:pt x="294" y="294"/>
                </a:lnTo>
                <a:close/>
                <a:moveTo>
                  <a:pt x="108" y="264"/>
                </a:moveTo>
                <a:lnTo>
                  <a:pt x="138" y="264"/>
                </a:lnTo>
                <a:lnTo>
                  <a:pt x="144" y="270"/>
                </a:lnTo>
                <a:lnTo>
                  <a:pt x="156" y="270"/>
                </a:lnTo>
                <a:lnTo>
                  <a:pt x="180" y="282"/>
                </a:lnTo>
                <a:lnTo>
                  <a:pt x="192" y="282"/>
                </a:lnTo>
                <a:lnTo>
                  <a:pt x="198" y="288"/>
                </a:lnTo>
                <a:lnTo>
                  <a:pt x="204" y="288"/>
                </a:lnTo>
                <a:lnTo>
                  <a:pt x="216" y="300"/>
                </a:lnTo>
                <a:lnTo>
                  <a:pt x="228" y="306"/>
                </a:lnTo>
                <a:lnTo>
                  <a:pt x="234" y="312"/>
                </a:lnTo>
                <a:lnTo>
                  <a:pt x="246" y="312"/>
                </a:lnTo>
                <a:lnTo>
                  <a:pt x="252" y="306"/>
                </a:lnTo>
                <a:lnTo>
                  <a:pt x="252" y="288"/>
                </a:lnTo>
                <a:lnTo>
                  <a:pt x="228" y="264"/>
                </a:lnTo>
                <a:lnTo>
                  <a:pt x="216" y="258"/>
                </a:lnTo>
                <a:lnTo>
                  <a:pt x="210" y="252"/>
                </a:lnTo>
                <a:lnTo>
                  <a:pt x="204" y="252"/>
                </a:lnTo>
                <a:lnTo>
                  <a:pt x="198" y="246"/>
                </a:lnTo>
                <a:lnTo>
                  <a:pt x="186" y="246"/>
                </a:lnTo>
                <a:lnTo>
                  <a:pt x="174" y="234"/>
                </a:lnTo>
                <a:lnTo>
                  <a:pt x="168" y="234"/>
                </a:lnTo>
                <a:lnTo>
                  <a:pt x="174" y="228"/>
                </a:lnTo>
                <a:lnTo>
                  <a:pt x="192" y="228"/>
                </a:lnTo>
                <a:lnTo>
                  <a:pt x="198" y="240"/>
                </a:lnTo>
                <a:lnTo>
                  <a:pt x="222" y="252"/>
                </a:lnTo>
                <a:lnTo>
                  <a:pt x="234" y="264"/>
                </a:lnTo>
                <a:lnTo>
                  <a:pt x="258" y="264"/>
                </a:lnTo>
                <a:lnTo>
                  <a:pt x="270" y="252"/>
                </a:lnTo>
                <a:lnTo>
                  <a:pt x="258" y="240"/>
                </a:lnTo>
                <a:lnTo>
                  <a:pt x="246" y="240"/>
                </a:lnTo>
                <a:lnTo>
                  <a:pt x="234" y="234"/>
                </a:lnTo>
                <a:lnTo>
                  <a:pt x="222" y="234"/>
                </a:lnTo>
                <a:lnTo>
                  <a:pt x="210" y="228"/>
                </a:lnTo>
                <a:lnTo>
                  <a:pt x="204" y="216"/>
                </a:lnTo>
                <a:lnTo>
                  <a:pt x="198" y="210"/>
                </a:lnTo>
                <a:lnTo>
                  <a:pt x="198" y="204"/>
                </a:lnTo>
                <a:lnTo>
                  <a:pt x="192" y="192"/>
                </a:lnTo>
                <a:lnTo>
                  <a:pt x="186" y="186"/>
                </a:lnTo>
                <a:lnTo>
                  <a:pt x="174" y="162"/>
                </a:lnTo>
                <a:lnTo>
                  <a:pt x="168" y="156"/>
                </a:lnTo>
                <a:lnTo>
                  <a:pt x="162" y="144"/>
                </a:lnTo>
                <a:lnTo>
                  <a:pt x="150" y="132"/>
                </a:lnTo>
                <a:lnTo>
                  <a:pt x="150" y="120"/>
                </a:lnTo>
                <a:lnTo>
                  <a:pt x="144" y="114"/>
                </a:lnTo>
                <a:lnTo>
                  <a:pt x="144" y="102"/>
                </a:lnTo>
                <a:lnTo>
                  <a:pt x="150" y="96"/>
                </a:lnTo>
                <a:lnTo>
                  <a:pt x="156" y="96"/>
                </a:lnTo>
                <a:lnTo>
                  <a:pt x="162" y="102"/>
                </a:lnTo>
                <a:lnTo>
                  <a:pt x="162" y="108"/>
                </a:lnTo>
                <a:lnTo>
                  <a:pt x="168" y="114"/>
                </a:lnTo>
                <a:lnTo>
                  <a:pt x="180" y="114"/>
                </a:lnTo>
                <a:lnTo>
                  <a:pt x="180" y="120"/>
                </a:lnTo>
                <a:lnTo>
                  <a:pt x="186" y="120"/>
                </a:lnTo>
                <a:lnTo>
                  <a:pt x="198" y="132"/>
                </a:lnTo>
                <a:lnTo>
                  <a:pt x="198" y="144"/>
                </a:lnTo>
                <a:lnTo>
                  <a:pt x="204" y="144"/>
                </a:lnTo>
                <a:lnTo>
                  <a:pt x="210" y="138"/>
                </a:lnTo>
                <a:lnTo>
                  <a:pt x="216" y="138"/>
                </a:lnTo>
                <a:lnTo>
                  <a:pt x="204" y="120"/>
                </a:lnTo>
                <a:lnTo>
                  <a:pt x="210" y="120"/>
                </a:lnTo>
                <a:lnTo>
                  <a:pt x="234" y="132"/>
                </a:lnTo>
                <a:lnTo>
                  <a:pt x="222" y="114"/>
                </a:lnTo>
                <a:lnTo>
                  <a:pt x="228" y="108"/>
                </a:lnTo>
                <a:lnTo>
                  <a:pt x="228" y="84"/>
                </a:lnTo>
                <a:lnTo>
                  <a:pt x="240" y="72"/>
                </a:lnTo>
                <a:lnTo>
                  <a:pt x="270" y="72"/>
                </a:lnTo>
                <a:lnTo>
                  <a:pt x="276" y="78"/>
                </a:lnTo>
                <a:lnTo>
                  <a:pt x="276" y="90"/>
                </a:lnTo>
                <a:lnTo>
                  <a:pt x="288" y="90"/>
                </a:lnTo>
                <a:lnTo>
                  <a:pt x="294" y="84"/>
                </a:lnTo>
                <a:lnTo>
                  <a:pt x="300" y="72"/>
                </a:lnTo>
                <a:lnTo>
                  <a:pt x="306" y="66"/>
                </a:lnTo>
                <a:lnTo>
                  <a:pt x="342" y="66"/>
                </a:lnTo>
                <a:lnTo>
                  <a:pt x="360" y="72"/>
                </a:lnTo>
                <a:lnTo>
                  <a:pt x="372" y="72"/>
                </a:lnTo>
                <a:lnTo>
                  <a:pt x="378" y="78"/>
                </a:lnTo>
                <a:lnTo>
                  <a:pt x="384" y="78"/>
                </a:lnTo>
                <a:lnTo>
                  <a:pt x="384" y="72"/>
                </a:lnTo>
                <a:lnTo>
                  <a:pt x="390" y="60"/>
                </a:lnTo>
                <a:lnTo>
                  <a:pt x="390" y="48"/>
                </a:lnTo>
                <a:lnTo>
                  <a:pt x="384" y="42"/>
                </a:lnTo>
                <a:lnTo>
                  <a:pt x="384" y="36"/>
                </a:lnTo>
                <a:lnTo>
                  <a:pt x="390" y="30"/>
                </a:lnTo>
                <a:lnTo>
                  <a:pt x="408" y="30"/>
                </a:lnTo>
                <a:lnTo>
                  <a:pt x="408" y="18"/>
                </a:lnTo>
                <a:lnTo>
                  <a:pt x="402" y="12"/>
                </a:lnTo>
                <a:lnTo>
                  <a:pt x="402" y="6"/>
                </a:lnTo>
                <a:lnTo>
                  <a:pt x="390" y="6"/>
                </a:lnTo>
                <a:lnTo>
                  <a:pt x="384" y="0"/>
                </a:lnTo>
                <a:lnTo>
                  <a:pt x="366" y="6"/>
                </a:lnTo>
                <a:lnTo>
                  <a:pt x="372" y="12"/>
                </a:lnTo>
                <a:lnTo>
                  <a:pt x="372" y="30"/>
                </a:lnTo>
                <a:lnTo>
                  <a:pt x="366" y="36"/>
                </a:lnTo>
                <a:lnTo>
                  <a:pt x="348" y="36"/>
                </a:lnTo>
                <a:lnTo>
                  <a:pt x="336" y="24"/>
                </a:lnTo>
                <a:lnTo>
                  <a:pt x="324" y="36"/>
                </a:lnTo>
                <a:lnTo>
                  <a:pt x="312" y="36"/>
                </a:lnTo>
                <a:lnTo>
                  <a:pt x="300" y="24"/>
                </a:lnTo>
                <a:lnTo>
                  <a:pt x="294" y="30"/>
                </a:lnTo>
                <a:lnTo>
                  <a:pt x="282" y="30"/>
                </a:lnTo>
                <a:lnTo>
                  <a:pt x="264" y="12"/>
                </a:lnTo>
                <a:lnTo>
                  <a:pt x="264" y="6"/>
                </a:lnTo>
                <a:lnTo>
                  <a:pt x="234" y="12"/>
                </a:lnTo>
                <a:lnTo>
                  <a:pt x="228" y="30"/>
                </a:lnTo>
                <a:lnTo>
                  <a:pt x="204" y="24"/>
                </a:lnTo>
                <a:lnTo>
                  <a:pt x="198" y="30"/>
                </a:lnTo>
                <a:lnTo>
                  <a:pt x="186" y="36"/>
                </a:lnTo>
                <a:lnTo>
                  <a:pt x="174" y="36"/>
                </a:lnTo>
                <a:lnTo>
                  <a:pt x="168" y="30"/>
                </a:lnTo>
                <a:lnTo>
                  <a:pt x="162" y="30"/>
                </a:lnTo>
                <a:lnTo>
                  <a:pt x="150" y="36"/>
                </a:lnTo>
                <a:lnTo>
                  <a:pt x="138" y="48"/>
                </a:lnTo>
                <a:lnTo>
                  <a:pt x="126" y="54"/>
                </a:lnTo>
                <a:lnTo>
                  <a:pt x="102" y="54"/>
                </a:lnTo>
                <a:lnTo>
                  <a:pt x="102" y="60"/>
                </a:lnTo>
                <a:lnTo>
                  <a:pt x="96" y="72"/>
                </a:lnTo>
                <a:lnTo>
                  <a:pt x="72" y="72"/>
                </a:lnTo>
                <a:lnTo>
                  <a:pt x="66" y="66"/>
                </a:lnTo>
                <a:lnTo>
                  <a:pt x="60" y="66"/>
                </a:lnTo>
                <a:lnTo>
                  <a:pt x="48" y="72"/>
                </a:lnTo>
                <a:lnTo>
                  <a:pt x="54" y="84"/>
                </a:lnTo>
                <a:lnTo>
                  <a:pt x="54" y="90"/>
                </a:lnTo>
                <a:lnTo>
                  <a:pt x="42" y="102"/>
                </a:lnTo>
                <a:lnTo>
                  <a:pt x="24" y="102"/>
                </a:lnTo>
                <a:lnTo>
                  <a:pt x="24" y="126"/>
                </a:lnTo>
                <a:lnTo>
                  <a:pt x="12" y="132"/>
                </a:lnTo>
                <a:lnTo>
                  <a:pt x="0" y="132"/>
                </a:lnTo>
                <a:lnTo>
                  <a:pt x="0" y="198"/>
                </a:lnTo>
                <a:lnTo>
                  <a:pt x="6" y="204"/>
                </a:lnTo>
                <a:lnTo>
                  <a:pt x="18" y="210"/>
                </a:lnTo>
                <a:lnTo>
                  <a:pt x="24" y="216"/>
                </a:lnTo>
                <a:lnTo>
                  <a:pt x="30" y="228"/>
                </a:lnTo>
                <a:lnTo>
                  <a:pt x="36" y="234"/>
                </a:lnTo>
                <a:lnTo>
                  <a:pt x="42" y="246"/>
                </a:lnTo>
                <a:lnTo>
                  <a:pt x="54" y="258"/>
                </a:lnTo>
                <a:lnTo>
                  <a:pt x="60" y="270"/>
                </a:lnTo>
                <a:lnTo>
                  <a:pt x="84" y="270"/>
                </a:lnTo>
                <a:lnTo>
                  <a:pt x="96" y="264"/>
                </a:lnTo>
                <a:lnTo>
                  <a:pt x="108" y="264"/>
                </a:lnTo>
                <a:close/>
                <a:moveTo>
                  <a:pt x="396" y="252"/>
                </a:moveTo>
                <a:lnTo>
                  <a:pt x="372" y="252"/>
                </a:lnTo>
                <a:lnTo>
                  <a:pt x="372" y="270"/>
                </a:lnTo>
                <a:lnTo>
                  <a:pt x="384" y="294"/>
                </a:lnTo>
                <a:lnTo>
                  <a:pt x="396" y="252"/>
                </a:lnTo>
                <a:close/>
                <a:moveTo>
                  <a:pt x="24" y="312"/>
                </a:moveTo>
                <a:lnTo>
                  <a:pt x="18" y="318"/>
                </a:lnTo>
                <a:lnTo>
                  <a:pt x="24" y="324"/>
                </a:lnTo>
                <a:lnTo>
                  <a:pt x="30" y="324"/>
                </a:lnTo>
                <a:lnTo>
                  <a:pt x="36" y="330"/>
                </a:lnTo>
                <a:lnTo>
                  <a:pt x="42" y="324"/>
                </a:lnTo>
                <a:lnTo>
                  <a:pt x="42" y="318"/>
                </a:lnTo>
                <a:lnTo>
                  <a:pt x="30" y="306"/>
                </a:lnTo>
                <a:lnTo>
                  <a:pt x="24" y="312"/>
                </a:lnTo>
                <a:close/>
                <a:moveTo>
                  <a:pt x="378" y="390"/>
                </a:moveTo>
                <a:lnTo>
                  <a:pt x="378" y="408"/>
                </a:lnTo>
                <a:lnTo>
                  <a:pt x="390" y="390"/>
                </a:lnTo>
                <a:lnTo>
                  <a:pt x="378" y="390"/>
                </a:lnTo>
                <a:close/>
                <a:moveTo>
                  <a:pt x="408" y="330"/>
                </a:moveTo>
                <a:lnTo>
                  <a:pt x="396" y="330"/>
                </a:lnTo>
                <a:lnTo>
                  <a:pt x="384" y="336"/>
                </a:lnTo>
                <a:lnTo>
                  <a:pt x="384" y="342"/>
                </a:lnTo>
                <a:lnTo>
                  <a:pt x="396" y="342"/>
                </a:lnTo>
                <a:lnTo>
                  <a:pt x="402" y="336"/>
                </a:lnTo>
                <a:lnTo>
                  <a:pt x="408" y="336"/>
                </a:lnTo>
                <a:lnTo>
                  <a:pt x="408" y="330"/>
                </a:lnTo>
                <a:close/>
                <a:moveTo>
                  <a:pt x="396" y="192"/>
                </a:moveTo>
                <a:lnTo>
                  <a:pt x="372" y="198"/>
                </a:lnTo>
                <a:lnTo>
                  <a:pt x="372" y="210"/>
                </a:lnTo>
                <a:lnTo>
                  <a:pt x="390" y="210"/>
                </a:lnTo>
                <a:lnTo>
                  <a:pt x="396" y="216"/>
                </a:lnTo>
                <a:lnTo>
                  <a:pt x="396" y="222"/>
                </a:lnTo>
                <a:lnTo>
                  <a:pt x="414" y="222"/>
                </a:lnTo>
                <a:lnTo>
                  <a:pt x="414" y="210"/>
                </a:lnTo>
                <a:lnTo>
                  <a:pt x="396" y="192"/>
                </a:lnTo>
                <a:close/>
                <a:moveTo>
                  <a:pt x="342" y="372"/>
                </a:moveTo>
                <a:lnTo>
                  <a:pt x="342" y="378"/>
                </a:lnTo>
                <a:lnTo>
                  <a:pt x="348" y="384"/>
                </a:lnTo>
                <a:lnTo>
                  <a:pt x="360" y="384"/>
                </a:lnTo>
                <a:lnTo>
                  <a:pt x="366" y="378"/>
                </a:lnTo>
                <a:lnTo>
                  <a:pt x="366" y="372"/>
                </a:lnTo>
                <a:lnTo>
                  <a:pt x="360" y="366"/>
                </a:lnTo>
                <a:lnTo>
                  <a:pt x="342" y="366"/>
                </a:lnTo>
                <a:lnTo>
                  <a:pt x="342" y="372"/>
                </a:lnTo>
                <a:close/>
                <a:moveTo>
                  <a:pt x="444" y="312"/>
                </a:moveTo>
                <a:lnTo>
                  <a:pt x="432" y="312"/>
                </a:lnTo>
                <a:lnTo>
                  <a:pt x="432" y="330"/>
                </a:lnTo>
                <a:lnTo>
                  <a:pt x="444" y="336"/>
                </a:lnTo>
                <a:lnTo>
                  <a:pt x="450" y="330"/>
                </a:lnTo>
                <a:lnTo>
                  <a:pt x="450" y="318"/>
                </a:lnTo>
                <a:lnTo>
                  <a:pt x="444" y="312"/>
                </a:lnTo>
                <a:close/>
                <a:moveTo>
                  <a:pt x="444" y="372"/>
                </a:moveTo>
                <a:lnTo>
                  <a:pt x="456" y="354"/>
                </a:lnTo>
                <a:lnTo>
                  <a:pt x="438" y="354"/>
                </a:lnTo>
                <a:lnTo>
                  <a:pt x="444" y="372"/>
                </a:lnTo>
                <a:close/>
                <a:moveTo>
                  <a:pt x="276" y="222"/>
                </a:moveTo>
                <a:lnTo>
                  <a:pt x="276" y="240"/>
                </a:lnTo>
                <a:lnTo>
                  <a:pt x="288" y="240"/>
                </a:lnTo>
                <a:lnTo>
                  <a:pt x="276" y="222"/>
                </a:lnTo>
                <a:close/>
                <a:moveTo>
                  <a:pt x="534" y="420"/>
                </a:moveTo>
                <a:lnTo>
                  <a:pt x="522" y="420"/>
                </a:lnTo>
                <a:lnTo>
                  <a:pt x="516" y="426"/>
                </a:lnTo>
                <a:lnTo>
                  <a:pt x="510" y="438"/>
                </a:lnTo>
                <a:lnTo>
                  <a:pt x="510" y="468"/>
                </a:lnTo>
                <a:lnTo>
                  <a:pt x="516" y="468"/>
                </a:lnTo>
                <a:lnTo>
                  <a:pt x="522" y="456"/>
                </a:lnTo>
                <a:lnTo>
                  <a:pt x="528" y="450"/>
                </a:lnTo>
                <a:lnTo>
                  <a:pt x="534" y="438"/>
                </a:lnTo>
                <a:lnTo>
                  <a:pt x="534" y="420"/>
                </a:lnTo>
                <a:close/>
                <a:moveTo>
                  <a:pt x="462" y="384"/>
                </a:moveTo>
                <a:lnTo>
                  <a:pt x="456" y="408"/>
                </a:lnTo>
                <a:lnTo>
                  <a:pt x="498" y="378"/>
                </a:lnTo>
                <a:lnTo>
                  <a:pt x="486" y="372"/>
                </a:lnTo>
                <a:lnTo>
                  <a:pt x="462" y="384"/>
                </a:lnTo>
                <a:close/>
                <a:moveTo>
                  <a:pt x="462" y="510"/>
                </a:moveTo>
                <a:lnTo>
                  <a:pt x="480" y="510"/>
                </a:lnTo>
                <a:lnTo>
                  <a:pt x="468" y="468"/>
                </a:lnTo>
                <a:lnTo>
                  <a:pt x="462" y="510"/>
                </a:lnTo>
                <a:close/>
                <a:moveTo>
                  <a:pt x="276" y="330"/>
                </a:moveTo>
                <a:lnTo>
                  <a:pt x="270" y="336"/>
                </a:lnTo>
                <a:lnTo>
                  <a:pt x="270" y="348"/>
                </a:lnTo>
                <a:lnTo>
                  <a:pt x="276" y="348"/>
                </a:lnTo>
                <a:lnTo>
                  <a:pt x="288" y="336"/>
                </a:lnTo>
                <a:lnTo>
                  <a:pt x="282" y="330"/>
                </a:lnTo>
                <a:lnTo>
                  <a:pt x="276" y="330"/>
                </a:lnTo>
                <a:close/>
                <a:moveTo>
                  <a:pt x="186" y="432"/>
                </a:moveTo>
                <a:lnTo>
                  <a:pt x="180" y="438"/>
                </a:lnTo>
                <a:lnTo>
                  <a:pt x="180" y="450"/>
                </a:lnTo>
                <a:lnTo>
                  <a:pt x="186" y="456"/>
                </a:lnTo>
                <a:lnTo>
                  <a:pt x="198" y="444"/>
                </a:lnTo>
                <a:lnTo>
                  <a:pt x="198" y="438"/>
                </a:lnTo>
                <a:lnTo>
                  <a:pt x="192" y="432"/>
                </a:lnTo>
                <a:lnTo>
                  <a:pt x="186" y="432"/>
                </a:lnTo>
                <a:close/>
                <a:moveTo>
                  <a:pt x="384" y="528"/>
                </a:moveTo>
                <a:lnTo>
                  <a:pt x="378" y="528"/>
                </a:lnTo>
                <a:lnTo>
                  <a:pt x="378" y="516"/>
                </a:lnTo>
                <a:lnTo>
                  <a:pt x="372" y="510"/>
                </a:lnTo>
                <a:lnTo>
                  <a:pt x="342" y="510"/>
                </a:lnTo>
                <a:lnTo>
                  <a:pt x="306" y="504"/>
                </a:lnTo>
                <a:lnTo>
                  <a:pt x="276" y="504"/>
                </a:lnTo>
                <a:lnTo>
                  <a:pt x="246" y="486"/>
                </a:lnTo>
                <a:lnTo>
                  <a:pt x="228" y="504"/>
                </a:lnTo>
                <a:lnTo>
                  <a:pt x="234" y="510"/>
                </a:lnTo>
                <a:lnTo>
                  <a:pt x="246" y="516"/>
                </a:lnTo>
                <a:lnTo>
                  <a:pt x="252" y="522"/>
                </a:lnTo>
                <a:lnTo>
                  <a:pt x="258" y="516"/>
                </a:lnTo>
                <a:lnTo>
                  <a:pt x="264" y="528"/>
                </a:lnTo>
                <a:lnTo>
                  <a:pt x="300" y="528"/>
                </a:lnTo>
                <a:lnTo>
                  <a:pt x="312" y="552"/>
                </a:lnTo>
                <a:lnTo>
                  <a:pt x="354" y="546"/>
                </a:lnTo>
                <a:lnTo>
                  <a:pt x="354" y="540"/>
                </a:lnTo>
                <a:lnTo>
                  <a:pt x="402" y="540"/>
                </a:lnTo>
                <a:lnTo>
                  <a:pt x="414" y="528"/>
                </a:lnTo>
                <a:lnTo>
                  <a:pt x="414" y="522"/>
                </a:lnTo>
                <a:lnTo>
                  <a:pt x="408" y="516"/>
                </a:lnTo>
                <a:lnTo>
                  <a:pt x="402" y="516"/>
                </a:lnTo>
                <a:lnTo>
                  <a:pt x="396" y="522"/>
                </a:lnTo>
                <a:lnTo>
                  <a:pt x="390" y="522"/>
                </a:lnTo>
                <a:lnTo>
                  <a:pt x="384" y="528"/>
                </a:lnTo>
                <a:close/>
                <a:moveTo>
                  <a:pt x="420" y="408"/>
                </a:moveTo>
                <a:lnTo>
                  <a:pt x="408" y="408"/>
                </a:lnTo>
                <a:lnTo>
                  <a:pt x="408" y="420"/>
                </a:lnTo>
                <a:lnTo>
                  <a:pt x="420" y="420"/>
                </a:lnTo>
                <a:lnTo>
                  <a:pt x="426" y="414"/>
                </a:lnTo>
                <a:lnTo>
                  <a:pt x="420" y="408"/>
                </a:lnTo>
                <a:close/>
                <a:moveTo>
                  <a:pt x="114" y="276"/>
                </a:moveTo>
                <a:lnTo>
                  <a:pt x="90" y="288"/>
                </a:lnTo>
                <a:lnTo>
                  <a:pt x="84" y="288"/>
                </a:lnTo>
                <a:lnTo>
                  <a:pt x="66" y="312"/>
                </a:lnTo>
                <a:lnTo>
                  <a:pt x="96" y="336"/>
                </a:lnTo>
                <a:lnTo>
                  <a:pt x="96" y="348"/>
                </a:lnTo>
                <a:lnTo>
                  <a:pt x="90" y="366"/>
                </a:lnTo>
                <a:lnTo>
                  <a:pt x="90" y="384"/>
                </a:lnTo>
                <a:lnTo>
                  <a:pt x="96" y="390"/>
                </a:lnTo>
                <a:lnTo>
                  <a:pt x="108" y="396"/>
                </a:lnTo>
                <a:lnTo>
                  <a:pt x="114" y="396"/>
                </a:lnTo>
                <a:lnTo>
                  <a:pt x="114" y="390"/>
                </a:lnTo>
                <a:lnTo>
                  <a:pt x="126" y="378"/>
                </a:lnTo>
                <a:lnTo>
                  <a:pt x="132" y="378"/>
                </a:lnTo>
                <a:lnTo>
                  <a:pt x="156" y="420"/>
                </a:lnTo>
                <a:lnTo>
                  <a:pt x="162" y="390"/>
                </a:lnTo>
                <a:lnTo>
                  <a:pt x="180" y="414"/>
                </a:lnTo>
                <a:lnTo>
                  <a:pt x="204" y="420"/>
                </a:lnTo>
                <a:lnTo>
                  <a:pt x="186" y="402"/>
                </a:lnTo>
                <a:lnTo>
                  <a:pt x="192" y="396"/>
                </a:lnTo>
                <a:lnTo>
                  <a:pt x="192" y="372"/>
                </a:lnTo>
                <a:lnTo>
                  <a:pt x="186" y="366"/>
                </a:lnTo>
                <a:lnTo>
                  <a:pt x="180" y="354"/>
                </a:lnTo>
                <a:lnTo>
                  <a:pt x="174" y="348"/>
                </a:lnTo>
                <a:lnTo>
                  <a:pt x="168" y="336"/>
                </a:lnTo>
                <a:lnTo>
                  <a:pt x="168" y="330"/>
                </a:lnTo>
                <a:lnTo>
                  <a:pt x="186" y="330"/>
                </a:lnTo>
                <a:lnTo>
                  <a:pt x="198" y="336"/>
                </a:lnTo>
                <a:lnTo>
                  <a:pt x="210" y="348"/>
                </a:lnTo>
                <a:lnTo>
                  <a:pt x="222" y="342"/>
                </a:lnTo>
                <a:lnTo>
                  <a:pt x="210" y="336"/>
                </a:lnTo>
                <a:lnTo>
                  <a:pt x="204" y="324"/>
                </a:lnTo>
                <a:lnTo>
                  <a:pt x="192" y="318"/>
                </a:lnTo>
                <a:lnTo>
                  <a:pt x="186" y="312"/>
                </a:lnTo>
                <a:lnTo>
                  <a:pt x="174" y="306"/>
                </a:lnTo>
                <a:lnTo>
                  <a:pt x="156" y="294"/>
                </a:lnTo>
                <a:lnTo>
                  <a:pt x="138" y="288"/>
                </a:lnTo>
                <a:lnTo>
                  <a:pt x="126" y="282"/>
                </a:lnTo>
                <a:lnTo>
                  <a:pt x="120" y="276"/>
                </a:lnTo>
                <a:lnTo>
                  <a:pt x="114" y="27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9" name="Ghana"/>
          <p:cNvSpPr>
            <a:spLocks/>
          </p:cNvSpPr>
          <p:nvPr/>
        </p:nvSpPr>
        <p:spPr bwMode="gray">
          <a:xfrm>
            <a:off x="3920396" y="3899568"/>
            <a:ext cx="131762" cy="207962"/>
          </a:xfrm>
          <a:custGeom>
            <a:avLst/>
            <a:gdLst>
              <a:gd name="T0" fmla="*/ 2147483647 w 324"/>
              <a:gd name="T1" fmla="*/ 2147483647 h 516"/>
              <a:gd name="T2" fmla="*/ 2147483647 w 324"/>
              <a:gd name="T3" fmla="*/ 2147483647 h 516"/>
              <a:gd name="T4" fmla="*/ 2147483647 w 324"/>
              <a:gd name="T5" fmla="*/ 2147483647 h 516"/>
              <a:gd name="T6" fmla="*/ 2147483647 w 324"/>
              <a:gd name="T7" fmla="*/ 2147483647 h 516"/>
              <a:gd name="T8" fmla="*/ 2147483647 w 324"/>
              <a:gd name="T9" fmla="*/ 2147483647 h 516"/>
              <a:gd name="T10" fmla="*/ 2147483647 w 324"/>
              <a:gd name="T11" fmla="*/ 2147483647 h 516"/>
              <a:gd name="T12" fmla="*/ 2147483647 w 324"/>
              <a:gd name="T13" fmla="*/ 2147483647 h 516"/>
              <a:gd name="T14" fmla="*/ 2147483647 w 324"/>
              <a:gd name="T15" fmla="*/ 2147483647 h 516"/>
              <a:gd name="T16" fmla="*/ 2147483647 w 324"/>
              <a:gd name="T17" fmla="*/ 2147483647 h 516"/>
              <a:gd name="T18" fmla="*/ 2147483647 w 324"/>
              <a:gd name="T19" fmla="*/ 2147483647 h 516"/>
              <a:gd name="T20" fmla="*/ 2147483647 w 324"/>
              <a:gd name="T21" fmla="*/ 2147483647 h 516"/>
              <a:gd name="T22" fmla="*/ 2147483647 w 324"/>
              <a:gd name="T23" fmla="*/ 2147483647 h 516"/>
              <a:gd name="T24" fmla="*/ 2147483647 w 324"/>
              <a:gd name="T25" fmla="*/ 2147483647 h 516"/>
              <a:gd name="T26" fmla="*/ 2147483647 w 324"/>
              <a:gd name="T27" fmla="*/ 0 h 516"/>
              <a:gd name="T28" fmla="*/ 2147483647 w 324"/>
              <a:gd name="T29" fmla="*/ 2147483647 h 516"/>
              <a:gd name="T30" fmla="*/ 2147483647 w 324"/>
              <a:gd name="T31" fmla="*/ 2147483647 h 516"/>
              <a:gd name="T32" fmla="*/ 2147483647 w 324"/>
              <a:gd name="T33" fmla="*/ 2147483647 h 516"/>
              <a:gd name="T34" fmla="*/ 2147483647 w 324"/>
              <a:gd name="T35" fmla="*/ 2147483647 h 516"/>
              <a:gd name="T36" fmla="*/ 2147483647 w 324"/>
              <a:gd name="T37" fmla="*/ 2147483647 h 516"/>
              <a:gd name="T38" fmla="*/ 2147483647 w 324"/>
              <a:gd name="T39" fmla="*/ 2147483647 h 516"/>
              <a:gd name="T40" fmla="*/ 2147483647 w 324"/>
              <a:gd name="T41" fmla="*/ 2147483647 h 516"/>
              <a:gd name="T42" fmla="*/ 2147483647 w 324"/>
              <a:gd name="T43" fmla="*/ 2147483647 h 516"/>
              <a:gd name="T44" fmla="*/ 2147483647 w 324"/>
              <a:gd name="T45" fmla="*/ 2147483647 h 516"/>
              <a:gd name="T46" fmla="*/ 2147483647 w 324"/>
              <a:gd name="T47" fmla="*/ 2147483647 h 516"/>
              <a:gd name="T48" fmla="*/ 2147483647 w 324"/>
              <a:gd name="T49" fmla="*/ 2147483647 h 516"/>
              <a:gd name="T50" fmla="*/ 2147483647 w 324"/>
              <a:gd name="T51" fmla="*/ 2147483647 h 516"/>
              <a:gd name="T52" fmla="*/ 2147483647 w 324"/>
              <a:gd name="T53" fmla="*/ 2147483647 h 516"/>
              <a:gd name="T54" fmla="*/ 0 w 324"/>
              <a:gd name="T55" fmla="*/ 2147483647 h 516"/>
              <a:gd name="T56" fmla="*/ 2147483647 w 324"/>
              <a:gd name="T57" fmla="*/ 2147483647 h 516"/>
              <a:gd name="T58" fmla="*/ 2147483647 w 324"/>
              <a:gd name="T59" fmla="*/ 2147483647 h 516"/>
              <a:gd name="T60" fmla="*/ 2147483647 w 324"/>
              <a:gd name="T61" fmla="*/ 2147483647 h 516"/>
              <a:gd name="T62" fmla="*/ 2147483647 w 324"/>
              <a:gd name="T63" fmla="*/ 2147483647 h 516"/>
              <a:gd name="T64" fmla="*/ 2147483647 w 324"/>
              <a:gd name="T65" fmla="*/ 2147483647 h 516"/>
              <a:gd name="T66" fmla="*/ 2147483647 w 324"/>
              <a:gd name="T67" fmla="*/ 2147483647 h 516"/>
              <a:gd name="T68" fmla="*/ 2147483647 w 324"/>
              <a:gd name="T69" fmla="*/ 2147483647 h 516"/>
              <a:gd name="T70" fmla="*/ 2147483647 w 324"/>
              <a:gd name="T71" fmla="*/ 2147483647 h 516"/>
              <a:gd name="T72" fmla="*/ 2147483647 w 324"/>
              <a:gd name="T73" fmla="*/ 2147483647 h 516"/>
              <a:gd name="T74" fmla="*/ 2147483647 w 324"/>
              <a:gd name="T75" fmla="*/ 2147483647 h 516"/>
              <a:gd name="T76" fmla="*/ 2147483647 w 324"/>
              <a:gd name="T77" fmla="*/ 2147483647 h 516"/>
              <a:gd name="T78" fmla="*/ 2147483647 w 324"/>
              <a:gd name="T79" fmla="*/ 2147483647 h 516"/>
              <a:gd name="T80" fmla="*/ 2147483647 w 324"/>
              <a:gd name="T81" fmla="*/ 2147483647 h 516"/>
              <a:gd name="T82" fmla="*/ 2147483647 w 324"/>
              <a:gd name="T83" fmla="*/ 2147483647 h 516"/>
              <a:gd name="T84" fmla="*/ 2147483647 w 324"/>
              <a:gd name="T85" fmla="*/ 2147483647 h 516"/>
              <a:gd name="T86" fmla="*/ 2147483647 w 324"/>
              <a:gd name="T87" fmla="*/ 2147483647 h 51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24"/>
              <a:gd name="T133" fmla="*/ 0 h 516"/>
              <a:gd name="T134" fmla="*/ 324 w 324"/>
              <a:gd name="T135" fmla="*/ 516 h 51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24" h="516">
                <a:moveTo>
                  <a:pt x="282" y="342"/>
                </a:moveTo>
                <a:lnTo>
                  <a:pt x="282" y="330"/>
                </a:lnTo>
                <a:lnTo>
                  <a:pt x="288" y="318"/>
                </a:lnTo>
                <a:lnTo>
                  <a:pt x="288" y="306"/>
                </a:lnTo>
                <a:lnTo>
                  <a:pt x="282" y="300"/>
                </a:lnTo>
                <a:lnTo>
                  <a:pt x="276" y="300"/>
                </a:lnTo>
                <a:lnTo>
                  <a:pt x="276" y="282"/>
                </a:lnTo>
                <a:lnTo>
                  <a:pt x="282" y="276"/>
                </a:lnTo>
                <a:lnTo>
                  <a:pt x="282" y="234"/>
                </a:lnTo>
                <a:lnTo>
                  <a:pt x="288" y="228"/>
                </a:lnTo>
                <a:lnTo>
                  <a:pt x="288" y="216"/>
                </a:lnTo>
                <a:lnTo>
                  <a:pt x="282" y="210"/>
                </a:lnTo>
                <a:lnTo>
                  <a:pt x="270" y="204"/>
                </a:lnTo>
                <a:lnTo>
                  <a:pt x="264" y="198"/>
                </a:lnTo>
                <a:lnTo>
                  <a:pt x="276" y="186"/>
                </a:lnTo>
                <a:lnTo>
                  <a:pt x="282" y="186"/>
                </a:lnTo>
                <a:lnTo>
                  <a:pt x="282" y="180"/>
                </a:lnTo>
                <a:lnTo>
                  <a:pt x="270" y="168"/>
                </a:lnTo>
                <a:lnTo>
                  <a:pt x="276" y="156"/>
                </a:lnTo>
                <a:lnTo>
                  <a:pt x="276" y="132"/>
                </a:lnTo>
                <a:lnTo>
                  <a:pt x="270" y="126"/>
                </a:lnTo>
                <a:lnTo>
                  <a:pt x="264" y="126"/>
                </a:lnTo>
                <a:lnTo>
                  <a:pt x="252" y="138"/>
                </a:lnTo>
                <a:lnTo>
                  <a:pt x="264" y="60"/>
                </a:lnTo>
                <a:lnTo>
                  <a:pt x="228" y="36"/>
                </a:lnTo>
                <a:lnTo>
                  <a:pt x="240" y="24"/>
                </a:lnTo>
                <a:lnTo>
                  <a:pt x="240" y="6"/>
                </a:lnTo>
                <a:lnTo>
                  <a:pt x="222" y="0"/>
                </a:lnTo>
                <a:lnTo>
                  <a:pt x="198" y="12"/>
                </a:lnTo>
                <a:lnTo>
                  <a:pt x="42" y="12"/>
                </a:lnTo>
                <a:lnTo>
                  <a:pt x="36" y="18"/>
                </a:lnTo>
                <a:lnTo>
                  <a:pt x="30" y="30"/>
                </a:lnTo>
                <a:lnTo>
                  <a:pt x="30" y="48"/>
                </a:lnTo>
                <a:lnTo>
                  <a:pt x="36" y="48"/>
                </a:lnTo>
                <a:lnTo>
                  <a:pt x="42" y="78"/>
                </a:lnTo>
                <a:lnTo>
                  <a:pt x="42" y="132"/>
                </a:lnTo>
                <a:lnTo>
                  <a:pt x="48" y="126"/>
                </a:lnTo>
                <a:lnTo>
                  <a:pt x="54" y="156"/>
                </a:lnTo>
                <a:lnTo>
                  <a:pt x="42" y="156"/>
                </a:lnTo>
                <a:lnTo>
                  <a:pt x="42" y="162"/>
                </a:lnTo>
                <a:lnTo>
                  <a:pt x="48" y="168"/>
                </a:lnTo>
                <a:lnTo>
                  <a:pt x="48" y="180"/>
                </a:lnTo>
                <a:lnTo>
                  <a:pt x="54" y="192"/>
                </a:lnTo>
                <a:lnTo>
                  <a:pt x="54" y="204"/>
                </a:lnTo>
                <a:lnTo>
                  <a:pt x="60" y="216"/>
                </a:lnTo>
                <a:lnTo>
                  <a:pt x="60" y="228"/>
                </a:lnTo>
                <a:lnTo>
                  <a:pt x="48" y="252"/>
                </a:lnTo>
                <a:lnTo>
                  <a:pt x="42" y="258"/>
                </a:lnTo>
                <a:lnTo>
                  <a:pt x="36" y="270"/>
                </a:lnTo>
                <a:lnTo>
                  <a:pt x="36" y="288"/>
                </a:lnTo>
                <a:lnTo>
                  <a:pt x="30" y="300"/>
                </a:lnTo>
                <a:lnTo>
                  <a:pt x="30" y="312"/>
                </a:lnTo>
                <a:lnTo>
                  <a:pt x="12" y="330"/>
                </a:lnTo>
                <a:lnTo>
                  <a:pt x="6" y="342"/>
                </a:lnTo>
                <a:lnTo>
                  <a:pt x="0" y="348"/>
                </a:lnTo>
                <a:lnTo>
                  <a:pt x="0" y="372"/>
                </a:lnTo>
                <a:lnTo>
                  <a:pt x="6" y="384"/>
                </a:lnTo>
                <a:lnTo>
                  <a:pt x="12" y="402"/>
                </a:lnTo>
                <a:lnTo>
                  <a:pt x="12" y="414"/>
                </a:lnTo>
                <a:lnTo>
                  <a:pt x="18" y="426"/>
                </a:lnTo>
                <a:lnTo>
                  <a:pt x="24" y="432"/>
                </a:lnTo>
                <a:lnTo>
                  <a:pt x="24" y="438"/>
                </a:lnTo>
                <a:lnTo>
                  <a:pt x="48" y="444"/>
                </a:lnTo>
                <a:lnTo>
                  <a:pt x="48" y="498"/>
                </a:lnTo>
                <a:lnTo>
                  <a:pt x="72" y="498"/>
                </a:lnTo>
                <a:lnTo>
                  <a:pt x="78" y="504"/>
                </a:lnTo>
                <a:lnTo>
                  <a:pt x="78" y="510"/>
                </a:lnTo>
                <a:lnTo>
                  <a:pt x="84" y="516"/>
                </a:lnTo>
                <a:lnTo>
                  <a:pt x="96" y="516"/>
                </a:lnTo>
                <a:lnTo>
                  <a:pt x="108" y="510"/>
                </a:lnTo>
                <a:lnTo>
                  <a:pt x="114" y="504"/>
                </a:lnTo>
                <a:lnTo>
                  <a:pt x="132" y="492"/>
                </a:lnTo>
                <a:lnTo>
                  <a:pt x="138" y="486"/>
                </a:lnTo>
                <a:lnTo>
                  <a:pt x="150" y="480"/>
                </a:lnTo>
                <a:lnTo>
                  <a:pt x="180" y="480"/>
                </a:lnTo>
                <a:lnTo>
                  <a:pt x="186" y="474"/>
                </a:lnTo>
                <a:lnTo>
                  <a:pt x="198" y="468"/>
                </a:lnTo>
                <a:lnTo>
                  <a:pt x="216" y="450"/>
                </a:lnTo>
                <a:lnTo>
                  <a:pt x="228" y="450"/>
                </a:lnTo>
                <a:lnTo>
                  <a:pt x="234" y="444"/>
                </a:lnTo>
                <a:lnTo>
                  <a:pt x="240" y="444"/>
                </a:lnTo>
                <a:lnTo>
                  <a:pt x="258" y="426"/>
                </a:lnTo>
                <a:lnTo>
                  <a:pt x="270" y="426"/>
                </a:lnTo>
                <a:lnTo>
                  <a:pt x="276" y="432"/>
                </a:lnTo>
                <a:lnTo>
                  <a:pt x="294" y="432"/>
                </a:lnTo>
                <a:lnTo>
                  <a:pt x="306" y="426"/>
                </a:lnTo>
                <a:lnTo>
                  <a:pt x="324" y="408"/>
                </a:lnTo>
                <a:lnTo>
                  <a:pt x="294" y="384"/>
                </a:lnTo>
                <a:lnTo>
                  <a:pt x="282" y="3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0" name="Germany"/>
          <p:cNvSpPr>
            <a:spLocks/>
          </p:cNvSpPr>
          <p:nvPr/>
        </p:nvSpPr>
        <p:spPr bwMode="gray">
          <a:xfrm>
            <a:off x="4201383" y="2491455"/>
            <a:ext cx="227013" cy="236538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1" name="Georgia"/>
          <p:cNvSpPr>
            <a:spLocks/>
          </p:cNvSpPr>
          <p:nvPr/>
        </p:nvSpPr>
        <p:spPr bwMode="gray">
          <a:xfrm>
            <a:off x="5080858" y="2847055"/>
            <a:ext cx="185738" cy="84138"/>
          </a:xfrm>
          <a:custGeom>
            <a:avLst/>
            <a:gdLst>
              <a:gd name="T0" fmla="*/ 2147483647 w 462"/>
              <a:gd name="T1" fmla="*/ 2147483647 h 210"/>
              <a:gd name="T2" fmla="*/ 2147483647 w 462"/>
              <a:gd name="T3" fmla="*/ 2147483647 h 210"/>
              <a:gd name="T4" fmla="*/ 2147483647 w 462"/>
              <a:gd name="T5" fmla="*/ 2147483647 h 210"/>
              <a:gd name="T6" fmla="*/ 2147483647 w 462"/>
              <a:gd name="T7" fmla="*/ 2147483647 h 210"/>
              <a:gd name="T8" fmla="*/ 2147483647 w 462"/>
              <a:gd name="T9" fmla="*/ 2147483647 h 210"/>
              <a:gd name="T10" fmla="*/ 2147483647 w 462"/>
              <a:gd name="T11" fmla="*/ 2147483647 h 210"/>
              <a:gd name="T12" fmla="*/ 2147483647 w 462"/>
              <a:gd name="T13" fmla="*/ 2147483647 h 210"/>
              <a:gd name="T14" fmla="*/ 2147483647 w 462"/>
              <a:gd name="T15" fmla="*/ 2147483647 h 210"/>
              <a:gd name="T16" fmla="*/ 2147483647 w 462"/>
              <a:gd name="T17" fmla="*/ 2147483647 h 210"/>
              <a:gd name="T18" fmla="*/ 2147483647 w 462"/>
              <a:gd name="T19" fmla="*/ 2147483647 h 210"/>
              <a:gd name="T20" fmla="*/ 2147483647 w 462"/>
              <a:gd name="T21" fmla="*/ 2147483647 h 210"/>
              <a:gd name="T22" fmla="*/ 2147483647 w 462"/>
              <a:gd name="T23" fmla="*/ 2147483647 h 210"/>
              <a:gd name="T24" fmla="*/ 2147483647 w 462"/>
              <a:gd name="T25" fmla="*/ 2147483647 h 210"/>
              <a:gd name="T26" fmla="*/ 2147483647 w 462"/>
              <a:gd name="T27" fmla="*/ 2147483647 h 210"/>
              <a:gd name="T28" fmla="*/ 2147483647 w 462"/>
              <a:gd name="T29" fmla="*/ 2147483647 h 210"/>
              <a:gd name="T30" fmla="*/ 2147483647 w 462"/>
              <a:gd name="T31" fmla="*/ 2147483647 h 210"/>
              <a:gd name="T32" fmla="*/ 2147483647 w 462"/>
              <a:gd name="T33" fmla="*/ 2147483647 h 210"/>
              <a:gd name="T34" fmla="*/ 2147483647 w 462"/>
              <a:gd name="T35" fmla="*/ 2147483647 h 210"/>
              <a:gd name="T36" fmla="*/ 2147483647 w 462"/>
              <a:gd name="T37" fmla="*/ 2147483647 h 210"/>
              <a:gd name="T38" fmla="*/ 2147483647 w 462"/>
              <a:gd name="T39" fmla="*/ 2147483647 h 210"/>
              <a:gd name="T40" fmla="*/ 2147483647 w 462"/>
              <a:gd name="T41" fmla="*/ 2147483647 h 210"/>
              <a:gd name="T42" fmla="*/ 2147483647 w 462"/>
              <a:gd name="T43" fmla="*/ 2147483647 h 210"/>
              <a:gd name="T44" fmla="*/ 2147483647 w 462"/>
              <a:gd name="T45" fmla="*/ 2147483647 h 210"/>
              <a:gd name="T46" fmla="*/ 2147483647 w 462"/>
              <a:gd name="T47" fmla="*/ 2147483647 h 210"/>
              <a:gd name="T48" fmla="*/ 2147483647 w 462"/>
              <a:gd name="T49" fmla="*/ 2147483647 h 210"/>
              <a:gd name="T50" fmla="*/ 2147483647 w 462"/>
              <a:gd name="T51" fmla="*/ 2147483647 h 210"/>
              <a:gd name="T52" fmla="*/ 2147483647 w 462"/>
              <a:gd name="T53" fmla="*/ 2147483647 h 210"/>
              <a:gd name="T54" fmla="*/ 2147483647 w 462"/>
              <a:gd name="T55" fmla="*/ 2147483647 h 210"/>
              <a:gd name="T56" fmla="*/ 2147483647 w 462"/>
              <a:gd name="T57" fmla="*/ 2147483647 h 210"/>
              <a:gd name="T58" fmla="*/ 2147483647 w 462"/>
              <a:gd name="T59" fmla="*/ 2147483647 h 210"/>
              <a:gd name="T60" fmla="*/ 2147483647 w 462"/>
              <a:gd name="T61" fmla="*/ 2147483647 h 210"/>
              <a:gd name="T62" fmla="*/ 2147483647 w 462"/>
              <a:gd name="T63" fmla="*/ 2147483647 h 210"/>
              <a:gd name="T64" fmla="*/ 2147483647 w 462"/>
              <a:gd name="T65" fmla="*/ 2147483647 h 210"/>
              <a:gd name="T66" fmla="*/ 2147483647 w 462"/>
              <a:gd name="T67" fmla="*/ 2147483647 h 210"/>
              <a:gd name="T68" fmla="*/ 2147483647 w 462"/>
              <a:gd name="T69" fmla="*/ 2147483647 h 210"/>
              <a:gd name="T70" fmla="*/ 2147483647 w 462"/>
              <a:gd name="T71" fmla="*/ 2147483647 h 210"/>
              <a:gd name="T72" fmla="*/ 2147483647 w 462"/>
              <a:gd name="T73" fmla="*/ 2147483647 h 210"/>
              <a:gd name="T74" fmla="*/ 2147483647 w 462"/>
              <a:gd name="T75" fmla="*/ 2147483647 h 210"/>
              <a:gd name="T76" fmla="*/ 2147483647 w 462"/>
              <a:gd name="T77" fmla="*/ 2147483647 h 210"/>
              <a:gd name="T78" fmla="*/ 2147483647 w 462"/>
              <a:gd name="T79" fmla="*/ 2147483647 h 210"/>
              <a:gd name="T80" fmla="*/ 2147483647 w 462"/>
              <a:gd name="T81" fmla="*/ 0 h 210"/>
              <a:gd name="T82" fmla="*/ 0 w 462"/>
              <a:gd name="T83" fmla="*/ 2147483647 h 21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62"/>
              <a:gd name="T127" fmla="*/ 0 h 210"/>
              <a:gd name="T128" fmla="*/ 462 w 462"/>
              <a:gd name="T129" fmla="*/ 210 h 21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62" h="210">
                <a:moveTo>
                  <a:pt x="6" y="18"/>
                </a:moveTo>
                <a:lnTo>
                  <a:pt x="12" y="18"/>
                </a:lnTo>
                <a:lnTo>
                  <a:pt x="18" y="24"/>
                </a:lnTo>
                <a:lnTo>
                  <a:pt x="30" y="30"/>
                </a:lnTo>
                <a:lnTo>
                  <a:pt x="42" y="42"/>
                </a:lnTo>
                <a:lnTo>
                  <a:pt x="60" y="48"/>
                </a:lnTo>
                <a:lnTo>
                  <a:pt x="72" y="54"/>
                </a:lnTo>
                <a:lnTo>
                  <a:pt x="78" y="54"/>
                </a:lnTo>
                <a:lnTo>
                  <a:pt x="84" y="60"/>
                </a:lnTo>
                <a:lnTo>
                  <a:pt x="96" y="66"/>
                </a:lnTo>
                <a:lnTo>
                  <a:pt x="102" y="78"/>
                </a:lnTo>
                <a:lnTo>
                  <a:pt x="114" y="84"/>
                </a:lnTo>
                <a:lnTo>
                  <a:pt x="114" y="96"/>
                </a:lnTo>
                <a:lnTo>
                  <a:pt x="120" y="114"/>
                </a:lnTo>
                <a:lnTo>
                  <a:pt x="120" y="132"/>
                </a:lnTo>
                <a:lnTo>
                  <a:pt x="126" y="138"/>
                </a:lnTo>
                <a:lnTo>
                  <a:pt x="132" y="150"/>
                </a:lnTo>
                <a:lnTo>
                  <a:pt x="138" y="156"/>
                </a:lnTo>
                <a:lnTo>
                  <a:pt x="138" y="162"/>
                </a:lnTo>
                <a:lnTo>
                  <a:pt x="132" y="168"/>
                </a:lnTo>
                <a:lnTo>
                  <a:pt x="168" y="174"/>
                </a:lnTo>
                <a:lnTo>
                  <a:pt x="174" y="168"/>
                </a:lnTo>
                <a:lnTo>
                  <a:pt x="186" y="162"/>
                </a:lnTo>
                <a:lnTo>
                  <a:pt x="198" y="162"/>
                </a:lnTo>
                <a:lnTo>
                  <a:pt x="210" y="168"/>
                </a:lnTo>
                <a:lnTo>
                  <a:pt x="216" y="174"/>
                </a:lnTo>
                <a:lnTo>
                  <a:pt x="222" y="186"/>
                </a:lnTo>
                <a:lnTo>
                  <a:pt x="222" y="192"/>
                </a:lnTo>
                <a:lnTo>
                  <a:pt x="246" y="192"/>
                </a:lnTo>
                <a:lnTo>
                  <a:pt x="246" y="198"/>
                </a:lnTo>
                <a:lnTo>
                  <a:pt x="252" y="204"/>
                </a:lnTo>
                <a:lnTo>
                  <a:pt x="276" y="198"/>
                </a:lnTo>
                <a:lnTo>
                  <a:pt x="282" y="192"/>
                </a:lnTo>
                <a:lnTo>
                  <a:pt x="336" y="198"/>
                </a:lnTo>
                <a:lnTo>
                  <a:pt x="336" y="180"/>
                </a:lnTo>
                <a:lnTo>
                  <a:pt x="342" y="180"/>
                </a:lnTo>
                <a:lnTo>
                  <a:pt x="348" y="186"/>
                </a:lnTo>
                <a:lnTo>
                  <a:pt x="354" y="186"/>
                </a:lnTo>
                <a:lnTo>
                  <a:pt x="354" y="180"/>
                </a:lnTo>
                <a:lnTo>
                  <a:pt x="366" y="168"/>
                </a:lnTo>
                <a:lnTo>
                  <a:pt x="390" y="168"/>
                </a:lnTo>
                <a:lnTo>
                  <a:pt x="396" y="174"/>
                </a:lnTo>
                <a:lnTo>
                  <a:pt x="396" y="180"/>
                </a:lnTo>
                <a:lnTo>
                  <a:pt x="414" y="198"/>
                </a:lnTo>
                <a:lnTo>
                  <a:pt x="426" y="192"/>
                </a:lnTo>
                <a:lnTo>
                  <a:pt x="438" y="192"/>
                </a:lnTo>
                <a:lnTo>
                  <a:pt x="456" y="210"/>
                </a:lnTo>
                <a:lnTo>
                  <a:pt x="462" y="204"/>
                </a:lnTo>
                <a:lnTo>
                  <a:pt x="456" y="192"/>
                </a:lnTo>
                <a:lnTo>
                  <a:pt x="450" y="186"/>
                </a:lnTo>
                <a:lnTo>
                  <a:pt x="444" y="174"/>
                </a:lnTo>
                <a:lnTo>
                  <a:pt x="438" y="168"/>
                </a:lnTo>
                <a:lnTo>
                  <a:pt x="432" y="168"/>
                </a:lnTo>
                <a:lnTo>
                  <a:pt x="414" y="150"/>
                </a:lnTo>
                <a:lnTo>
                  <a:pt x="420" y="144"/>
                </a:lnTo>
                <a:lnTo>
                  <a:pt x="432" y="144"/>
                </a:lnTo>
                <a:lnTo>
                  <a:pt x="420" y="132"/>
                </a:lnTo>
                <a:lnTo>
                  <a:pt x="408" y="126"/>
                </a:lnTo>
                <a:lnTo>
                  <a:pt x="396" y="114"/>
                </a:lnTo>
                <a:lnTo>
                  <a:pt x="378" y="114"/>
                </a:lnTo>
                <a:lnTo>
                  <a:pt x="378" y="108"/>
                </a:lnTo>
                <a:lnTo>
                  <a:pt x="384" y="102"/>
                </a:lnTo>
                <a:lnTo>
                  <a:pt x="384" y="90"/>
                </a:lnTo>
                <a:lnTo>
                  <a:pt x="354" y="84"/>
                </a:lnTo>
                <a:lnTo>
                  <a:pt x="342" y="72"/>
                </a:lnTo>
                <a:lnTo>
                  <a:pt x="330" y="66"/>
                </a:lnTo>
                <a:lnTo>
                  <a:pt x="300" y="66"/>
                </a:lnTo>
                <a:lnTo>
                  <a:pt x="300" y="72"/>
                </a:lnTo>
                <a:lnTo>
                  <a:pt x="288" y="72"/>
                </a:lnTo>
                <a:lnTo>
                  <a:pt x="282" y="78"/>
                </a:lnTo>
                <a:lnTo>
                  <a:pt x="258" y="78"/>
                </a:lnTo>
                <a:lnTo>
                  <a:pt x="246" y="72"/>
                </a:lnTo>
                <a:lnTo>
                  <a:pt x="240" y="72"/>
                </a:lnTo>
                <a:lnTo>
                  <a:pt x="240" y="66"/>
                </a:lnTo>
                <a:lnTo>
                  <a:pt x="192" y="36"/>
                </a:lnTo>
                <a:lnTo>
                  <a:pt x="186" y="36"/>
                </a:lnTo>
                <a:lnTo>
                  <a:pt x="180" y="30"/>
                </a:lnTo>
                <a:lnTo>
                  <a:pt x="144" y="30"/>
                </a:lnTo>
                <a:lnTo>
                  <a:pt x="84" y="18"/>
                </a:lnTo>
                <a:lnTo>
                  <a:pt x="66" y="12"/>
                </a:lnTo>
                <a:lnTo>
                  <a:pt x="54" y="6"/>
                </a:lnTo>
                <a:lnTo>
                  <a:pt x="36" y="0"/>
                </a:lnTo>
                <a:lnTo>
                  <a:pt x="24" y="0"/>
                </a:lnTo>
                <a:lnTo>
                  <a:pt x="0" y="18"/>
                </a:lnTo>
                <a:lnTo>
                  <a:pt x="6" y="1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2" name="Gambia, The"/>
          <p:cNvSpPr>
            <a:spLocks/>
          </p:cNvSpPr>
          <p:nvPr/>
        </p:nvSpPr>
        <p:spPr bwMode="gray">
          <a:xfrm>
            <a:off x="3534633" y="3812255"/>
            <a:ext cx="85725" cy="20638"/>
          </a:xfrm>
          <a:custGeom>
            <a:avLst/>
            <a:gdLst>
              <a:gd name="T0" fmla="*/ 2147483647 w 216"/>
              <a:gd name="T1" fmla="*/ 2147483647 h 54"/>
              <a:gd name="T2" fmla="*/ 2147483647 w 216"/>
              <a:gd name="T3" fmla="*/ 2147483647 h 54"/>
              <a:gd name="T4" fmla="*/ 2147483647 w 216"/>
              <a:gd name="T5" fmla="*/ 2147483647 h 54"/>
              <a:gd name="T6" fmla="*/ 2147483647 w 216"/>
              <a:gd name="T7" fmla="*/ 2147483647 h 54"/>
              <a:gd name="T8" fmla="*/ 0 w 216"/>
              <a:gd name="T9" fmla="*/ 2147483647 h 54"/>
              <a:gd name="T10" fmla="*/ 0 w 216"/>
              <a:gd name="T11" fmla="*/ 2147483647 h 54"/>
              <a:gd name="T12" fmla="*/ 2147483647 w 216"/>
              <a:gd name="T13" fmla="*/ 2147483647 h 54"/>
              <a:gd name="T14" fmla="*/ 2147483647 w 216"/>
              <a:gd name="T15" fmla="*/ 2147483647 h 54"/>
              <a:gd name="T16" fmla="*/ 2147483647 w 216"/>
              <a:gd name="T17" fmla="*/ 2147483647 h 54"/>
              <a:gd name="T18" fmla="*/ 2147483647 w 216"/>
              <a:gd name="T19" fmla="*/ 2147483647 h 54"/>
              <a:gd name="T20" fmla="*/ 2147483647 w 216"/>
              <a:gd name="T21" fmla="*/ 2147483647 h 54"/>
              <a:gd name="T22" fmla="*/ 2147483647 w 216"/>
              <a:gd name="T23" fmla="*/ 2147483647 h 54"/>
              <a:gd name="T24" fmla="*/ 2147483647 w 216"/>
              <a:gd name="T25" fmla="*/ 2147483647 h 54"/>
              <a:gd name="T26" fmla="*/ 2147483647 w 216"/>
              <a:gd name="T27" fmla="*/ 2147483647 h 54"/>
              <a:gd name="T28" fmla="*/ 2147483647 w 216"/>
              <a:gd name="T29" fmla="*/ 2147483647 h 54"/>
              <a:gd name="T30" fmla="*/ 2147483647 w 216"/>
              <a:gd name="T31" fmla="*/ 2147483647 h 54"/>
              <a:gd name="T32" fmla="*/ 2147483647 w 216"/>
              <a:gd name="T33" fmla="*/ 2147483647 h 54"/>
              <a:gd name="T34" fmla="*/ 2147483647 w 216"/>
              <a:gd name="T35" fmla="*/ 2147483647 h 54"/>
              <a:gd name="T36" fmla="*/ 2147483647 w 216"/>
              <a:gd name="T37" fmla="*/ 2147483647 h 54"/>
              <a:gd name="T38" fmla="*/ 2147483647 w 216"/>
              <a:gd name="T39" fmla="*/ 2147483647 h 54"/>
              <a:gd name="T40" fmla="*/ 2147483647 w 216"/>
              <a:gd name="T41" fmla="*/ 2147483647 h 54"/>
              <a:gd name="T42" fmla="*/ 2147483647 w 216"/>
              <a:gd name="T43" fmla="*/ 2147483647 h 54"/>
              <a:gd name="T44" fmla="*/ 2147483647 w 216"/>
              <a:gd name="T45" fmla="*/ 2147483647 h 54"/>
              <a:gd name="T46" fmla="*/ 2147483647 w 216"/>
              <a:gd name="T47" fmla="*/ 2147483647 h 54"/>
              <a:gd name="T48" fmla="*/ 2147483647 w 216"/>
              <a:gd name="T49" fmla="*/ 2147483647 h 54"/>
              <a:gd name="T50" fmla="*/ 2147483647 w 216"/>
              <a:gd name="T51" fmla="*/ 2147483647 h 54"/>
              <a:gd name="T52" fmla="*/ 2147483647 w 216"/>
              <a:gd name="T53" fmla="*/ 2147483647 h 54"/>
              <a:gd name="T54" fmla="*/ 2147483647 w 216"/>
              <a:gd name="T55" fmla="*/ 2147483647 h 54"/>
              <a:gd name="T56" fmla="*/ 2147483647 w 216"/>
              <a:gd name="T57" fmla="*/ 2147483647 h 54"/>
              <a:gd name="T58" fmla="*/ 2147483647 w 216"/>
              <a:gd name="T59" fmla="*/ 0 h 54"/>
              <a:gd name="T60" fmla="*/ 2147483647 w 216"/>
              <a:gd name="T61" fmla="*/ 0 h 54"/>
              <a:gd name="T62" fmla="*/ 2147483647 w 216"/>
              <a:gd name="T63" fmla="*/ 2147483647 h 54"/>
              <a:gd name="T64" fmla="*/ 2147483647 w 216"/>
              <a:gd name="T65" fmla="*/ 2147483647 h 54"/>
              <a:gd name="T66" fmla="*/ 2147483647 w 216"/>
              <a:gd name="T67" fmla="*/ 2147483647 h 5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16"/>
              <a:gd name="T103" fmla="*/ 0 h 54"/>
              <a:gd name="T104" fmla="*/ 216 w 216"/>
              <a:gd name="T105" fmla="*/ 54 h 5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16" h="54">
                <a:moveTo>
                  <a:pt x="18" y="18"/>
                </a:moveTo>
                <a:lnTo>
                  <a:pt x="12" y="24"/>
                </a:lnTo>
                <a:lnTo>
                  <a:pt x="6" y="36"/>
                </a:lnTo>
                <a:lnTo>
                  <a:pt x="6" y="42"/>
                </a:lnTo>
                <a:lnTo>
                  <a:pt x="0" y="48"/>
                </a:lnTo>
                <a:lnTo>
                  <a:pt x="0" y="54"/>
                </a:lnTo>
                <a:lnTo>
                  <a:pt x="72" y="54"/>
                </a:lnTo>
                <a:lnTo>
                  <a:pt x="72" y="42"/>
                </a:lnTo>
                <a:lnTo>
                  <a:pt x="84" y="42"/>
                </a:lnTo>
                <a:lnTo>
                  <a:pt x="90" y="36"/>
                </a:lnTo>
                <a:lnTo>
                  <a:pt x="114" y="36"/>
                </a:lnTo>
                <a:lnTo>
                  <a:pt x="120" y="24"/>
                </a:lnTo>
                <a:lnTo>
                  <a:pt x="126" y="18"/>
                </a:lnTo>
                <a:lnTo>
                  <a:pt x="132" y="24"/>
                </a:lnTo>
                <a:lnTo>
                  <a:pt x="144" y="30"/>
                </a:lnTo>
                <a:lnTo>
                  <a:pt x="150" y="42"/>
                </a:lnTo>
                <a:lnTo>
                  <a:pt x="168" y="48"/>
                </a:lnTo>
                <a:lnTo>
                  <a:pt x="192" y="48"/>
                </a:lnTo>
                <a:lnTo>
                  <a:pt x="198" y="42"/>
                </a:lnTo>
                <a:lnTo>
                  <a:pt x="210" y="36"/>
                </a:lnTo>
                <a:lnTo>
                  <a:pt x="216" y="30"/>
                </a:lnTo>
                <a:lnTo>
                  <a:pt x="216" y="24"/>
                </a:lnTo>
                <a:lnTo>
                  <a:pt x="210" y="18"/>
                </a:lnTo>
                <a:lnTo>
                  <a:pt x="186" y="18"/>
                </a:lnTo>
                <a:lnTo>
                  <a:pt x="180" y="24"/>
                </a:lnTo>
                <a:lnTo>
                  <a:pt x="168" y="24"/>
                </a:lnTo>
                <a:lnTo>
                  <a:pt x="162" y="12"/>
                </a:lnTo>
                <a:lnTo>
                  <a:pt x="156" y="6"/>
                </a:lnTo>
                <a:lnTo>
                  <a:pt x="144" y="12"/>
                </a:lnTo>
                <a:lnTo>
                  <a:pt x="144" y="0"/>
                </a:lnTo>
                <a:lnTo>
                  <a:pt x="90" y="0"/>
                </a:lnTo>
                <a:lnTo>
                  <a:pt x="90" y="12"/>
                </a:lnTo>
                <a:lnTo>
                  <a:pt x="18" y="12"/>
                </a:lnTo>
                <a:lnTo>
                  <a:pt x="18" y="1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3" name="Gabon"/>
          <p:cNvSpPr>
            <a:spLocks/>
          </p:cNvSpPr>
          <p:nvPr/>
        </p:nvSpPr>
        <p:spPr bwMode="gray">
          <a:xfrm>
            <a:off x="4264883" y="4180555"/>
            <a:ext cx="168275" cy="206375"/>
          </a:xfrm>
          <a:custGeom>
            <a:avLst/>
            <a:gdLst>
              <a:gd name="T0" fmla="*/ 2147483647 w 420"/>
              <a:gd name="T1" fmla="*/ 2147483647 h 510"/>
              <a:gd name="T2" fmla="*/ 2147483647 w 420"/>
              <a:gd name="T3" fmla="*/ 2147483647 h 510"/>
              <a:gd name="T4" fmla="*/ 2147483647 w 420"/>
              <a:gd name="T5" fmla="*/ 2147483647 h 510"/>
              <a:gd name="T6" fmla="*/ 2147483647 w 420"/>
              <a:gd name="T7" fmla="*/ 2147483647 h 510"/>
              <a:gd name="T8" fmla="*/ 2147483647 w 420"/>
              <a:gd name="T9" fmla="*/ 2147483647 h 510"/>
              <a:gd name="T10" fmla="*/ 2147483647 w 420"/>
              <a:gd name="T11" fmla="*/ 2147483647 h 510"/>
              <a:gd name="T12" fmla="*/ 2147483647 w 420"/>
              <a:gd name="T13" fmla="*/ 2147483647 h 510"/>
              <a:gd name="T14" fmla="*/ 2147483647 w 420"/>
              <a:gd name="T15" fmla="*/ 2147483647 h 510"/>
              <a:gd name="T16" fmla="*/ 2147483647 w 420"/>
              <a:gd name="T17" fmla="*/ 2147483647 h 510"/>
              <a:gd name="T18" fmla="*/ 2147483647 w 420"/>
              <a:gd name="T19" fmla="*/ 2147483647 h 510"/>
              <a:gd name="T20" fmla="*/ 2147483647 w 420"/>
              <a:gd name="T21" fmla="*/ 2147483647 h 510"/>
              <a:gd name="T22" fmla="*/ 2147483647 w 420"/>
              <a:gd name="T23" fmla="*/ 2147483647 h 510"/>
              <a:gd name="T24" fmla="*/ 2147483647 w 420"/>
              <a:gd name="T25" fmla="*/ 2147483647 h 510"/>
              <a:gd name="T26" fmla="*/ 2147483647 w 420"/>
              <a:gd name="T27" fmla="*/ 2147483647 h 510"/>
              <a:gd name="T28" fmla="*/ 2147483647 w 420"/>
              <a:gd name="T29" fmla="*/ 2147483647 h 510"/>
              <a:gd name="T30" fmla="*/ 2147483647 w 420"/>
              <a:gd name="T31" fmla="*/ 2147483647 h 510"/>
              <a:gd name="T32" fmla="*/ 2147483647 w 420"/>
              <a:gd name="T33" fmla="*/ 2147483647 h 510"/>
              <a:gd name="T34" fmla="*/ 2147483647 w 420"/>
              <a:gd name="T35" fmla="*/ 2147483647 h 510"/>
              <a:gd name="T36" fmla="*/ 2147483647 w 420"/>
              <a:gd name="T37" fmla="*/ 2147483647 h 510"/>
              <a:gd name="T38" fmla="*/ 2147483647 w 420"/>
              <a:gd name="T39" fmla="*/ 2147483647 h 510"/>
              <a:gd name="T40" fmla="*/ 2147483647 w 420"/>
              <a:gd name="T41" fmla="*/ 2147483647 h 510"/>
              <a:gd name="T42" fmla="*/ 2147483647 w 420"/>
              <a:gd name="T43" fmla="*/ 2147483647 h 510"/>
              <a:gd name="T44" fmla="*/ 2147483647 w 420"/>
              <a:gd name="T45" fmla="*/ 2147483647 h 510"/>
              <a:gd name="T46" fmla="*/ 2147483647 w 420"/>
              <a:gd name="T47" fmla="*/ 2147483647 h 510"/>
              <a:gd name="T48" fmla="*/ 2147483647 w 420"/>
              <a:gd name="T49" fmla="*/ 2147483647 h 510"/>
              <a:gd name="T50" fmla="*/ 2147483647 w 420"/>
              <a:gd name="T51" fmla="*/ 2147483647 h 510"/>
              <a:gd name="T52" fmla="*/ 2147483647 w 420"/>
              <a:gd name="T53" fmla="*/ 2147483647 h 510"/>
              <a:gd name="T54" fmla="*/ 2147483647 w 420"/>
              <a:gd name="T55" fmla="*/ 2147483647 h 510"/>
              <a:gd name="T56" fmla="*/ 2147483647 w 420"/>
              <a:gd name="T57" fmla="*/ 2147483647 h 510"/>
              <a:gd name="T58" fmla="*/ 2147483647 w 420"/>
              <a:gd name="T59" fmla="*/ 2147483647 h 510"/>
              <a:gd name="T60" fmla="*/ 2147483647 w 420"/>
              <a:gd name="T61" fmla="*/ 2147483647 h 510"/>
              <a:gd name="T62" fmla="*/ 2147483647 w 420"/>
              <a:gd name="T63" fmla="*/ 2147483647 h 510"/>
              <a:gd name="T64" fmla="*/ 2147483647 w 420"/>
              <a:gd name="T65" fmla="*/ 2147483647 h 510"/>
              <a:gd name="T66" fmla="*/ 2147483647 w 420"/>
              <a:gd name="T67" fmla="*/ 2147483647 h 510"/>
              <a:gd name="T68" fmla="*/ 2147483647 w 420"/>
              <a:gd name="T69" fmla="*/ 2147483647 h 510"/>
              <a:gd name="T70" fmla="*/ 2147483647 w 420"/>
              <a:gd name="T71" fmla="*/ 2147483647 h 510"/>
              <a:gd name="T72" fmla="*/ 2147483647 w 420"/>
              <a:gd name="T73" fmla="*/ 2147483647 h 510"/>
              <a:gd name="T74" fmla="*/ 2147483647 w 420"/>
              <a:gd name="T75" fmla="*/ 2147483647 h 510"/>
              <a:gd name="T76" fmla="*/ 2147483647 w 420"/>
              <a:gd name="T77" fmla="*/ 2147483647 h 510"/>
              <a:gd name="T78" fmla="*/ 2147483647 w 420"/>
              <a:gd name="T79" fmla="*/ 2147483647 h 510"/>
              <a:gd name="T80" fmla="*/ 2147483647 w 420"/>
              <a:gd name="T81" fmla="*/ 2147483647 h 510"/>
              <a:gd name="T82" fmla="*/ 2147483647 w 420"/>
              <a:gd name="T83" fmla="*/ 2147483647 h 510"/>
              <a:gd name="T84" fmla="*/ 2147483647 w 420"/>
              <a:gd name="T85" fmla="*/ 2147483647 h 510"/>
              <a:gd name="T86" fmla="*/ 2147483647 w 420"/>
              <a:gd name="T87" fmla="*/ 2147483647 h 510"/>
              <a:gd name="T88" fmla="*/ 2147483647 w 420"/>
              <a:gd name="T89" fmla="*/ 2147483647 h 510"/>
              <a:gd name="T90" fmla="*/ 2147483647 w 420"/>
              <a:gd name="T91" fmla="*/ 2147483647 h 510"/>
              <a:gd name="T92" fmla="*/ 2147483647 w 420"/>
              <a:gd name="T93" fmla="*/ 2147483647 h 510"/>
              <a:gd name="T94" fmla="*/ 2147483647 w 420"/>
              <a:gd name="T95" fmla="*/ 2147483647 h 510"/>
              <a:gd name="T96" fmla="*/ 2147483647 w 420"/>
              <a:gd name="T97" fmla="*/ 2147483647 h 510"/>
              <a:gd name="T98" fmla="*/ 2147483647 w 420"/>
              <a:gd name="T99" fmla="*/ 2147483647 h 510"/>
              <a:gd name="T100" fmla="*/ 2147483647 w 420"/>
              <a:gd name="T101" fmla="*/ 2147483647 h 510"/>
              <a:gd name="T102" fmla="*/ 2147483647 w 420"/>
              <a:gd name="T103" fmla="*/ 2147483647 h 510"/>
              <a:gd name="T104" fmla="*/ 2147483647 w 420"/>
              <a:gd name="T105" fmla="*/ 2147483647 h 510"/>
              <a:gd name="T106" fmla="*/ 2147483647 w 420"/>
              <a:gd name="T107" fmla="*/ 2147483647 h 510"/>
              <a:gd name="T108" fmla="*/ 2147483647 w 420"/>
              <a:gd name="T109" fmla="*/ 2147483647 h 510"/>
              <a:gd name="T110" fmla="*/ 2147483647 w 420"/>
              <a:gd name="T111" fmla="*/ 2147483647 h 51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20"/>
              <a:gd name="T169" fmla="*/ 0 h 510"/>
              <a:gd name="T170" fmla="*/ 420 w 420"/>
              <a:gd name="T171" fmla="*/ 510 h 51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20" h="510">
                <a:moveTo>
                  <a:pt x="420" y="240"/>
                </a:moveTo>
                <a:lnTo>
                  <a:pt x="414" y="234"/>
                </a:lnTo>
                <a:lnTo>
                  <a:pt x="396" y="234"/>
                </a:lnTo>
                <a:lnTo>
                  <a:pt x="390" y="216"/>
                </a:lnTo>
                <a:lnTo>
                  <a:pt x="372" y="210"/>
                </a:lnTo>
                <a:lnTo>
                  <a:pt x="372" y="174"/>
                </a:lnTo>
                <a:lnTo>
                  <a:pt x="384" y="150"/>
                </a:lnTo>
                <a:lnTo>
                  <a:pt x="396" y="150"/>
                </a:lnTo>
                <a:lnTo>
                  <a:pt x="402" y="144"/>
                </a:lnTo>
                <a:lnTo>
                  <a:pt x="408" y="132"/>
                </a:lnTo>
                <a:lnTo>
                  <a:pt x="414" y="126"/>
                </a:lnTo>
                <a:lnTo>
                  <a:pt x="414" y="114"/>
                </a:lnTo>
                <a:lnTo>
                  <a:pt x="402" y="108"/>
                </a:lnTo>
                <a:lnTo>
                  <a:pt x="402" y="90"/>
                </a:lnTo>
                <a:lnTo>
                  <a:pt x="396" y="84"/>
                </a:lnTo>
                <a:lnTo>
                  <a:pt x="396" y="78"/>
                </a:lnTo>
                <a:lnTo>
                  <a:pt x="384" y="78"/>
                </a:lnTo>
                <a:lnTo>
                  <a:pt x="378" y="72"/>
                </a:lnTo>
                <a:lnTo>
                  <a:pt x="360" y="72"/>
                </a:lnTo>
                <a:lnTo>
                  <a:pt x="360" y="90"/>
                </a:lnTo>
                <a:lnTo>
                  <a:pt x="354" y="96"/>
                </a:lnTo>
                <a:lnTo>
                  <a:pt x="330" y="96"/>
                </a:lnTo>
                <a:lnTo>
                  <a:pt x="324" y="90"/>
                </a:lnTo>
                <a:lnTo>
                  <a:pt x="318" y="54"/>
                </a:lnTo>
                <a:lnTo>
                  <a:pt x="336" y="24"/>
                </a:lnTo>
                <a:lnTo>
                  <a:pt x="336" y="6"/>
                </a:lnTo>
                <a:lnTo>
                  <a:pt x="288" y="12"/>
                </a:lnTo>
                <a:lnTo>
                  <a:pt x="282" y="12"/>
                </a:lnTo>
                <a:lnTo>
                  <a:pt x="270" y="6"/>
                </a:lnTo>
                <a:lnTo>
                  <a:pt x="264" y="6"/>
                </a:lnTo>
                <a:lnTo>
                  <a:pt x="252" y="18"/>
                </a:lnTo>
                <a:lnTo>
                  <a:pt x="222" y="18"/>
                </a:lnTo>
                <a:lnTo>
                  <a:pt x="210" y="0"/>
                </a:lnTo>
                <a:lnTo>
                  <a:pt x="192" y="18"/>
                </a:lnTo>
                <a:lnTo>
                  <a:pt x="186" y="54"/>
                </a:lnTo>
                <a:lnTo>
                  <a:pt x="192" y="60"/>
                </a:lnTo>
                <a:lnTo>
                  <a:pt x="192" y="90"/>
                </a:lnTo>
                <a:lnTo>
                  <a:pt x="186" y="108"/>
                </a:lnTo>
                <a:lnTo>
                  <a:pt x="186" y="114"/>
                </a:lnTo>
                <a:lnTo>
                  <a:pt x="84" y="114"/>
                </a:lnTo>
                <a:lnTo>
                  <a:pt x="84" y="108"/>
                </a:lnTo>
                <a:lnTo>
                  <a:pt x="72" y="108"/>
                </a:lnTo>
                <a:lnTo>
                  <a:pt x="60" y="120"/>
                </a:lnTo>
                <a:lnTo>
                  <a:pt x="60" y="126"/>
                </a:lnTo>
                <a:lnTo>
                  <a:pt x="66" y="132"/>
                </a:lnTo>
                <a:lnTo>
                  <a:pt x="66" y="144"/>
                </a:lnTo>
                <a:lnTo>
                  <a:pt x="72" y="150"/>
                </a:lnTo>
                <a:lnTo>
                  <a:pt x="72" y="162"/>
                </a:lnTo>
                <a:lnTo>
                  <a:pt x="48" y="162"/>
                </a:lnTo>
                <a:lnTo>
                  <a:pt x="48" y="210"/>
                </a:lnTo>
                <a:lnTo>
                  <a:pt x="42" y="228"/>
                </a:lnTo>
                <a:lnTo>
                  <a:pt x="36" y="240"/>
                </a:lnTo>
                <a:lnTo>
                  <a:pt x="30" y="246"/>
                </a:lnTo>
                <a:lnTo>
                  <a:pt x="18" y="252"/>
                </a:lnTo>
                <a:lnTo>
                  <a:pt x="0" y="252"/>
                </a:lnTo>
                <a:lnTo>
                  <a:pt x="30" y="306"/>
                </a:lnTo>
                <a:lnTo>
                  <a:pt x="42" y="294"/>
                </a:lnTo>
                <a:lnTo>
                  <a:pt x="54" y="312"/>
                </a:lnTo>
                <a:lnTo>
                  <a:pt x="48" y="318"/>
                </a:lnTo>
                <a:lnTo>
                  <a:pt x="48" y="330"/>
                </a:lnTo>
                <a:lnTo>
                  <a:pt x="42" y="336"/>
                </a:lnTo>
                <a:lnTo>
                  <a:pt x="42" y="342"/>
                </a:lnTo>
                <a:lnTo>
                  <a:pt x="48" y="348"/>
                </a:lnTo>
                <a:lnTo>
                  <a:pt x="66" y="348"/>
                </a:lnTo>
                <a:lnTo>
                  <a:pt x="72" y="390"/>
                </a:lnTo>
                <a:lnTo>
                  <a:pt x="102" y="396"/>
                </a:lnTo>
                <a:lnTo>
                  <a:pt x="96" y="408"/>
                </a:lnTo>
                <a:lnTo>
                  <a:pt x="144" y="462"/>
                </a:lnTo>
                <a:lnTo>
                  <a:pt x="138" y="468"/>
                </a:lnTo>
                <a:lnTo>
                  <a:pt x="174" y="510"/>
                </a:lnTo>
                <a:lnTo>
                  <a:pt x="180" y="492"/>
                </a:lnTo>
                <a:lnTo>
                  <a:pt x="204" y="480"/>
                </a:lnTo>
                <a:lnTo>
                  <a:pt x="222" y="498"/>
                </a:lnTo>
                <a:lnTo>
                  <a:pt x="228" y="492"/>
                </a:lnTo>
                <a:lnTo>
                  <a:pt x="228" y="456"/>
                </a:lnTo>
                <a:lnTo>
                  <a:pt x="210" y="444"/>
                </a:lnTo>
                <a:lnTo>
                  <a:pt x="228" y="432"/>
                </a:lnTo>
                <a:lnTo>
                  <a:pt x="198" y="414"/>
                </a:lnTo>
                <a:lnTo>
                  <a:pt x="210" y="414"/>
                </a:lnTo>
                <a:lnTo>
                  <a:pt x="210" y="402"/>
                </a:lnTo>
                <a:lnTo>
                  <a:pt x="204" y="396"/>
                </a:lnTo>
                <a:lnTo>
                  <a:pt x="204" y="378"/>
                </a:lnTo>
                <a:lnTo>
                  <a:pt x="210" y="378"/>
                </a:lnTo>
                <a:lnTo>
                  <a:pt x="216" y="384"/>
                </a:lnTo>
                <a:lnTo>
                  <a:pt x="228" y="384"/>
                </a:lnTo>
                <a:lnTo>
                  <a:pt x="240" y="390"/>
                </a:lnTo>
                <a:lnTo>
                  <a:pt x="258" y="390"/>
                </a:lnTo>
                <a:lnTo>
                  <a:pt x="264" y="384"/>
                </a:lnTo>
                <a:lnTo>
                  <a:pt x="270" y="372"/>
                </a:lnTo>
                <a:lnTo>
                  <a:pt x="282" y="366"/>
                </a:lnTo>
                <a:lnTo>
                  <a:pt x="264" y="348"/>
                </a:lnTo>
                <a:lnTo>
                  <a:pt x="264" y="342"/>
                </a:lnTo>
                <a:lnTo>
                  <a:pt x="294" y="342"/>
                </a:lnTo>
                <a:lnTo>
                  <a:pt x="312" y="384"/>
                </a:lnTo>
                <a:lnTo>
                  <a:pt x="342" y="384"/>
                </a:lnTo>
                <a:lnTo>
                  <a:pt x="348" y="378"/>
                </a:lnTo>
                <a:lnTo>
                  <a:pt x="354" y="366"/>
                </a:lnTo>
                <a:lnTo>
                  <a:pt x="360" y="360"/>
                </a:lnTo>
                <a:lnTo>
                  <a:pt x="366" y="360"/>
                </a:lnTo>
                <a:lnTo>
                  <a:pt x="366" y="390"/>
                </a:lnTo>
                <a:lnTo>
                  <a:pt x="372" y="396"/>
                </a:lnTo>
                <a:lnTo>
                  <a:pt x="384" y="396"/>
                </a:lnTo>
                <a:lnTo>
                  <a:pt x="390" y="390"/>
                </a:lnTo>
                <a:lnTo>
                  <a:pt x="396" y="378"/>
                </a:lnTo>
                <a:lnTo>
                  <a:pt x="396" y="354"/>
                </a:lnTo>
                <a:lnTo>
                  <a:pt x="408" y="348"/>
                </a:lnTo>
                <a:lnTo>
                  <a:pt x="414" y="342"/>
                </a:lnTo>
                <a:lnTo>
                  <a:pt x="408" y="318"/>
                </a:lnTo>
                <a:lnTo>
                  <a:pt x="414" y="306"/>
                </a:lnTo>
                <a:lnTo>
                  <a:pt x="414" y="258"/>
                </a:lnTo>
                <a:lnTo>
                  <a:pt x="420" y="252"/>
                </a:lnTo>
                <a:lnTo>
                  <a:pt x="420" y="24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4" name="France"/>
          <p:cNvSpPr>
            <a:spLocks noEditPoints="1"/>
          </p:cNvSpPr>
          <p:nvPr/>
        </p:nvSpPr>
        <p:spPr bwMode="gray">
          <a:xfrm>
            <a:off x="3925158" y="2605755"/>
            <a:ext cx="366713" cy="315913"/>
          </a:xfrm>
          <a:custGeom>
            <a:avLst/>
            <a:gdLst>
              <a:gd name="T0" fmla="*/ 2147483647 w 230"/>
              <a:gd name="T1" fmla="*/ 2147483647 h 198"/>
              <a:gd name="T2" fmla="*/ 2147483647 w 230"/>
              <a:gd name="T3" fmla="*/ 2147483647 h 198"/>
              <a:gd name="T4" fmla="*/ 2147483647 w 230"/>
              <a:gd name="T5" fmla="*/ 2147483647 h 198"/>
              <a:gd name="T6" fmla="*/ 2147483647 w 230"/>
              <a:gd name="T7" fmla="*/ 2147483647 h 198"/>
              <a:gd name="T8" fmla="*/ 2147483647 w 230"/>
              <a:gd name="T9" fmla="*/ 2147483647 h 198"/>
              <a:gd name="T10" fmla="*/ 2147483647 w 230"/>
              <a:gd name="T11" fmla="*/ 2147483647 h 198"/>
              <a:gd name="T12" fmla="*/ 2147483647 w 230"/>
              <a:gd name="T13" fmla="*/ 2147483647 h 198"/>
              <a:gd name="T14" fmla="*/ 2147483647 w 230"/>
              <a:gd name="T15" fmla="*/ 2147483647 h 198"/>
              <a:gd name="T16" fmla="*/ 2147483647 w 230"/>
              <a:gd name="T17" fmla="*/ 2147483647 h 198"/>
              <a:gd name="T18" fmla="*/ 2147483647 w 230"/>
              <a:gd name="T19" fmla="*/ 2147483647 h 198"/>
              <a:gd name="T20" fmla="*/ 2147483647 w 230"/>
              <a:gd name="T21" fmla="*/ 2147483647 h 198"/>
              <a:gd name="T22" fmla="*/ 2147483647 w 230"/>
              <a:gd name="T23" fmla="*/ 2147483647 h 198"/>
              <a:gd name="T24" fmla="*/ 2147483647 w 230"/>
              <a:gd name="T25" fmla="*/ 2147483647 h 198"/>
              <a:gd name="T26" fmla="*/ 2147483647 w 230"/>
              <a:gd name="T27" fmla="*/ 2147483647 h 198"/>
              <a:gd name="T28" fmla="*/ 2147483647 w 230"/>
              <a:gd name="T29" fmla="*/ 2147483647 h 198"/>
              <a:gd name="T30" fmla="*/ 2147483647 w 230"/>
              <a:gd name="T31" fmla="*/ 2147483647 h 198"/>
              <a:gd name="T32" fmla="*/ 2147483647 w 230"/>
              <a:gd name="T33" fmla="*/ 2147483647 h 198"/>
              <a:gd name="T34" fmla="*/ 2147483647 w 230"/>
              <a:gd name="T35" fmla="*/ 2147483647 h 198"/>
              <a:gd name="T36" fmla="*/ 2147483647 w 230"/>
              <a:gd name="T37" fmla="*/ 2147483647 h 198"/>
              <a:gd name="T38" fmla="*/ 2147483647 w 230"/>
              <a:gd name="T39" fmla="*/ 2147483647 h 198"/>
              <a:gd name="T40" fmla="*/ 2147483647 w 230"/>
              <a:gd name="T41" fmla="*/ 2147483647 h 198"/>
              <a:gd name="T42" fmla="*/ 2147483647 w 230"/>
              <a:gd name="T43" fmla="*/ 2147483647 h 198"/>
              <a:gd name="T44" fmla="*/ 2147483647 w 230"/>
              <a:gd name="T45" fmla="*/ 2147483647 h 198"/>
              <a:gd name="T46" fmla="*/ 2147483647 w 230"/>
              <a:gd name="T47" fmla="*/ 2147483647 h 198"/>
              <a:gd name="T48" fmla="*/ 2147483647 w 230"/>
              <a:gd name="T49" fmla="*/ 2147483647 h 198"/>
              <a:gd name="T50" fmla="*/ 2147483647 w 230"/>
              <a:gd name="T51" fmla="*/ 2147483647 h 198"/>
              <a:gd name="T52" fmla="*/ 2147483647 w 230"/>
              <a:gd name="T53" fmla="*/ 2147483647 h 198"/>
              <a:gd name="T54" fmla="*/ 2147483647 w 230"/>
              <a:gd name="T55" fmla="*/ 2147483647 h 198"/>
              <a:gd name="T56" fmla="*/ 2147483647 w 230"/>
              <a:gd name="T57" fmla="*/ 2147483647 h 198"/>
              <a:gd name="T58" fmla="*/ 2147483647 w 230"/>
              <a:gd name="T59" fmla="*/ 2147483647 h 198"/>
              <a:gd name="T60" fmla="*/ 2147483647 w 230"/>
              <a:gd name="T61" fmla="*/ 2147483647 h 198"/>
              <a:gd name="T62" fmla="*/ 2147483647 w 230"/>
              <a:gd name="T63" fmla="*/ 2147483647 h 198"/>
              <a:gd name="T64" fmla="*/ 2147483647 w 230"/>
              <a:gd name="T65" fmla="*/ 2147483647 h 198"/>
              <a:gd name="T66" fmla="*/ 2147483647 w 230"/>
              <a:gd name="T67" fmla="*/ 2147483647 h 198"/>
              <a:gd name="T68" fmla="*/ 2147483647 w 230"/>
              <a:gd name="T69" fmla="*/ 2147483647 h 198"/>
              <a:gd name="T70" fmla="*/ 2147483647 w 230"/>
              <a:gd name="T71" fmla="*/ 2147483647 h 198"/>
              <a:gd name="T72" fmla="*/ 2147483647 w 230"/>
              <a:gd name="T73" fmla="*/ 2147483647 h 198"/>
              <a:gd name="T74" fmla="*/ 2147483647 w 230"/>
              <a:gd name="T75" fmla="*/ 2147483647 h 198"/>
              <a:gd name="T76" fmla="*/ 2147483647 w 230"/>
              <a:gd name="T77" fmla="*/ 2147483647 h 198"/>
              <a:gd name="T78" fmla="*/ 2147483647 w 230"/>
              <a:gd name="T79" fmla="*/ 2147483647 h 198"/>
              <a:gd name="T80" fmla="*/ 2147483647 w 230"/>
              <a:gd name="T81" fmla="*/ 2147483647 h 198"/>
              <a:gd name="T82" fmla="*/ 2147483647 w 230"/>
              <a:gd name="T83" fmla="*/ 2147483647 h 198"/>
              <a:gd name="T84" fmla="*/ 2147483647 w 230"/>
              <a:gd name="T85" fmla="*/ 2147483647 h 198"/>
              <a:gd name="T86" fmla="*/ 2147483647 w 230"/>
              <a:gd name="T87" fmla="*/ 2147483647 h 198"/>
              <a:gd name="T88" fmla="*/ 2147483647 w 230"/>
              <a:gd name="T89" fmla="*/ 2147483647 h 198"/>
              <a:gd name="T90" fmla="*/ 2147483647 w 230"/>
              <a:gd name="T91" fmla="*/ 2147483647 h 198"/>
              <a:gd name="T92" fmla="*/ 2147483647 w 230"/>
              <a:gd name="T93" fmla="*/ 2147483647 h 198"/>
              <a:gd name="T94" fmla="*/ 2147483647 w 230"/>
              <a:gd name="T95" fmla="*/ 2147483647 h 198"/>
              <a:gd name="T96" fmla="*/ 2147483647 w 230"/>
              <a:gd name="T97" fmla="*/ 2147483647 h 198"/>
              <a:gd name="T98" fmla="*/ 2147483647 w 230"/>
              <a:gd name="T99" fmla="*/ 2147483647 h 198"/>
              <a:gd name="T100" fmla="*/ 2147483647 w 230"/>
              <a:gd name="T101" fmla="*/ 2147483647 h 198"/>
              <a:gd name="T102" fmla="*/ 2147483647 w 230"/>
              <a:gd name="T103" fmla="*/ 2147483647 h 198"/>
              <a:gd name="T104" fmla="*/ 2147483647 w 230"/>
              <a:gd name="T105" fmla="*/ 2147483647 h 198"/>
              <a:gd name="T106" fmla="*/ 2147483647 w 230"/>
              <a:gd name="T107" fmla="*/ 2147483647 h 198"/>
              <a:gd name="T108" fmla="*/ 2147483647 w 230"/>
              <a:gd name="T109" fmla="*/ 2147483647 h 198"/>
              <a:gd name="T110" fmla="*/ 2147483647 w 230"/>
              <a:gd name="T111" fmla="*/ 2147483647 h 198"/>
              <a:gd name="T112" fmla="*/ 2147483647 w 230"/>
              <a:gd name="T113" fmla="*/ 2147483647 h 198"/>
              <a:gd name="T114" fmla="*/ 2147483647 w 230"/>
              <a:gd name="T115" fmla="*/ 2147483647 h 198"/>
              <a:gd name="T116" fmla="*/ 2147483647 w 230"/>
              <a:gd name="T117" fmla="*/ 2147483647 h 198"/>
              <a:gd name="T118" fmla="*/ 2147483647 w 230"/>
              <a:gd name="T119" fmla="*/ 2147483647 h 198"/>
              <a:gd name="T120" fmla="*/ 2147483647 w 230"/>
              <a:gd name="T121" fmla="*/ 2147483647 h 19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0"/>
              <a:gd name="T184" fmla="*/ 0 h 198"/>
              <a:gd name="T185" fmla="*/ 230 w 230"/>
              <a:gd name="T186" fmla="*/ 198 h 19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0" h="198">
                <a:moveTo>
                  <a:pt x="230" y="172"/>
                </a:moveTo>
                <a:lnTo>
                  <a:pt x="230" y="172"/>
                </a:lnTo>
                <a:lnTo>
                  <a:pt x="230" y="166"/>
                </a:lnTo>
                <a:lnTo>
                  <a:pt x="228" y="166"/>
                </a:lnTo>
                <a:lnTo>
                  <a:pt x="224" y="168"/>
                </a:lnTo>
                <a:lnTo>
                  <a:pt x="224" y="170"/>
                </a:lnTo>
                <a:lnTo>
                  <a:pt x="220" y="172"/>
                </a:lnTo>
                <a:lnTo>
                  <a:pt x="218" y="174"/>
                </a:lnTo>
                <a:lnTo>
                  <a:pt x="216" y="178"/>
                </a:lnTo>
                <a:lnTo>
                  <a:pt x="216" y="182"/>
                </a:lnTo>
                <a:lnTo>
                  <a:pt x="218" y="186"/>
                </a:lnTo>
                <a:lnTo>
                  <a:pt x="218" y="190"/>
                </a:lnTo>
                <a:lnTo>
                  <a:pt x="218" y="192"/>
                </a:lnTo>
                <a:lnTo>
                  <a:pt x="218" y="194"/>
                </a:lnTo>
                <a:lnTo>
                  <a:pt x="222" y="196"/>
                </a:lnTo>
                <a:lnTo>
                  <a:pt x="224" y="198"/>
                </a:lnTo>
                <a:lnTo>
                  <a:pt x="230" y="192"/>
                </a:lnTo>
                <a:lnTo>
                  <a:pt x="230" y="186"/>
                </a:lnTo>
                <a:lnTo>
                  <a:pt x="228" y="186"/>
                </a:lnTo>
                <a:lnTo>
                  <a:pt x="230" y="184"/>
                </a:lnTo>
                <a:lnTo>
                  <a:pt x="230" y="172"/>
                </a:lnTo>
                <a:close/>
                <a:moveTo>
                  <a:pt x="198" y="40"/>
                </a:moveTo>
                <a:lnTo>
                  <a:pt x="198" y="40"/>
                </a:lnTo>
                <a:lnTo>
                  <a:pt x="196" y="40"/>
                </a:lnTo>
                <a:lnTo>
                  <a:pt x="192" y="40"/>
                </a:lnTo>
                <a:lnTo>
                  <a:pt x="190" y="40"/>
                </a:lnTo>
                <a:lnTo>
                  <a:pt x="184" y="40"/>
                </a:lnTo>
                <a:lnTo>
                  <a:pt x="184" y="34"/>
                </a:lnTo>
                <a:lnTo>
                  <a:pt x="182" y="34"/>
                </a:lnTo>
                <a:lnTo>
                  <a:pt x="182" y="32"/>
                </a:lnTo>
                <a:lnTo>
                  <a:pt x="178" y="30"/>
                </a:lnTo>
                <a:lnTo>
                  <a:pt x="174" y="34"/>
                </a:lnTo>
                <a:lnTo>
                  <a:pt x="172" y="32"/>
                </a:lnTo>
                <a:lnTo>
                  <a:pt x="166" y="32"/>
                </a:lnTo>
                <a:lnTo>
                  <a:pt x="164" y="28"/>
                </a:lnTo>
                <a:lnTo>
                  <a:pt x="162" y="28"/>
                </a:lnTo>
                <a:lnTo>
                  <a:pt x="158" y="28"/>
                </a:lnTo>
                <a:lnTo>
                  <a:pt x="156" y="28"/>
                </a:lnTo>
                <a:lnTo>
                  <a:pt x="156" y="22"/>
                </a:lnTo>
                <a:lnTo>
                  <a:pt x="152" y="24"/>
                </a:lnTo>
                <a:lnTo>
                  <a:pt x="146" y="24"/>
                </a:lnTo>
                <a:lnTo>
                  <a:pt x="146" y="18"/>
                </a:lnTo>
                <a:lnTo>
                  <a:pt x="144" y="16"/>
                </a:lnTo>
                <a:lnTo>
                  <a:pt x="142" y="14"/>
                </a:lnTo>
                <a:lnTo>
                  <a:pt x="136" y="14"/>
                </a:lnTo>
                <a:lnTo>
                  <a:pt x="132" y="12"/>
                </a:lnTo>
                <a:lnTo>
                  <a:pt x="126" y="10"/>
                </a:lnTo>
                <a:lnTo>
                  <a:pt x="126" y="6"/>
                </a:lnTo>
                <a:lnTo>
                  <a:pt x="126" y="0"/>
                </a:lnTo>
                <a:lnTo>
                  <a:pt x="118" y="0"/>
                </a:lnTo>
                <a:lnTo>
                  <a:pt x="114" y="2"/>
                </a:lnTo>
                <a:lnTo>
                  <a:pt x="112" y="2"/>
                </a:lnTo>
                <a:lnTo>
                  <a:pt x="110" y="4"/>
                </a:lnTo>
                <a:lnTo>
                  <a:pt x="104" y="4"/>
                </a:lnTo>
                <a:lnTo>
                  <a:pt x="104" y="6"/>
                </a:lnTo>
                <a:lnTo>
                  <a:pt x="104" y="8"/>
                </a:lnTo>
                <a:lnTo>
                  <a:pt x="104" y="12"/>
                </a:lnTo>
                <a:lnTo>
                  <a:pt x="106" y="14"/>
                </a:lnTo>
                <a:lnTo>
                  <a:pt x="106" y="20"/>
                </a:lnTo>
                <a:lnTo>
                  <a:pt x="104" y="22"/>
                </a:lnTo>
                <a:lnTo>
                  <a:pt x="98" y="24"/>
                </a:lnTo>
                <a:lnTo>
                  <a:pt x="92" y="24"/>
                </a:lnTo>
                <a:lnTo>
                  <a:pt x="82" y="32"/>
                </a:lnTo>
                <a:lnTo>
                  <a:pt x="86" y="34"/>
                </a:lnTo>
                <a:lnTo>
                  <a:pt x="84" y="34"/>
                </a:lnTo>
                <a:lnTo>
                  <a:pt x="82" y="34"/>
                </a:lnTo>
                <a:lnTo>
                  <a:pt x="76" y="38"/>
                </a:lnTo>
                <a:lnTo>
                  <a:pt x="68" y="38"/>
                </a:lnTo>
                <a:lnTo>
                  <a:pt x="66" y="36"/>
                </a:lnTo>
                <a:lnTo>
                  <a:pt x="60" y="30"/>
                </a:lnTo>
                <a:lnTo>
                  <a:pt x="58" y="30"/>
                </a:lnTo>
                <a:lnTo>
                  <a:pt x="56" y="28"/>
                </a:lnTo>
                <a:lnTo>
                  <a:pt x="52" y="28"/>
                </a:lnTo>
                <a:lnTo>
                  <a:pt x="52" y="30"/>
                </a:lnTo>
                <a:lnTo>
                  <a:pt x="52" y="34"/>
                </a:lnTo>
                <a:lnTo>
                  <a:pt x="54" y="34"/>
                </a:lnTo>
                <a:lnTo>
                  <a:pt x="56" y="38"/>
                </a:lnTo>
                <a:lnTo>
                  <a:pt x="58" y="40"/>
                </a:lnTo>
                <a:lnTo>
                  <a:pt x="58" y="46"/>
                </a:lnTo>
                <a:lnTo>
                  <a:pt x="56" y="48"/>
                </a:lnTo>
                <a:lnTo>
                  <a:pt x="54" y="48"/>
                </a:lnTo>
                <a:lnTo>
                  <a:pt x="48" y="48"/>
                </a:lnTo>
                <a:lnTo>
                  <a:pt x="38" y="48"/>
                </a:lnTo>
                <a:lnTo>
                  <a:pt x="38" y="54"/>
                </a:lnTo>
                <a:lnTo>
                  <a:pt x="36" y="52"/>
                </a:lnTo>
                <a:lnTo>
                  <a:pt x="34" y="48"/>
                </a:lnTo>
                <a:lnTo>
                  <a:pt x="32" y="48"/>
                </a:lnTo>
                <a:lnTo>
                  <a:pt x="30" y="46"/>
                </a:lnTo>
                <a:lnTo>
                  <a:pt x="26" y="46"/>
                </a:lnTo>
                <a:lnTo>
                  <a:pt x="24" y="48"/>
                </a:lnTo>
                <a:lnTo>
                  <a:pt x="22" y="48"/>
                </a:lnTo>
                <a:lnTo>
                  <a:pt x="20" y="48"/>
                </a:lnTo>
                <a:lnTo>
                  <a:pt x="16" y="48"/>
                </a:lnTo>
                <a:lnTo>
                  <a:pt x="12" y="50"/>
                </a:lnTo>
                <a:lnTo>
                  <a:pt x="8" y="50"/>
                </a:lnTo>
                <a:lnTo>
                  <a:pt x="6" y="52"/>
                </a:lnTo>
                <a:lnTo>
                  <a:pt x="4" y="54"/>
                </a:lnTo>
                <a:lnTo>
                  <a:pt x="6" y="56"/>
                </a:lnTo>
                <a:lnTo>
                  <a:pt x="8" y="56"/>
                </a:lnTo>
                <a:lnTo>
                  <a:pt x="10" y="58"/>
                </a:lnTo>
                <a:lnTo>
                  <a:pt x="10" y="60"/>
                </a:lnTo>
                <a:lnTo>
                  <a:pt x="6" y="60"/>
                </a:lnTo>
                <a:lnTo>
                  <a:pt x="2" y="60"/>
                </a:lnTo>
                <a:lnTo>
                  <a:pt x="0" y="60"/>
                </a:lnTo>
                <a:lnTo>
                  <a:pt x="0" y="62"/>
                </a:lnTo>
                <a:lnTo>
                  <a:pt x="6" y="66"/>
                </a:lnTo>
                <a:lnTo>
                  <a:pt x="12" y="66"/>
                </a:lnTo>
                <a:lnTo>
                  <a:pt x="12" y="64"/>
                </a:lnTo>
                <a:lnTo>
                  <a:pt x="26" y="72"/>
                </a:lnTo>
                <a:lnTo>
                  <a:pt x="32" y="72"/>
                </a:lnTo>
                <a:lnTo>
                  <a:pt x="38" y="76"/>
                </a:lnTo>
                <a:lnTo>
                  <a:pt x="48" y="76"/>
                </a:lnTo>
                <a:lnTo>
                  <a:pt x="40" y="80"/>
                </a:lnTo>
                <a:lnTo>
                  <a:pt x="42" y="84"/>
                </a:lnTo>
                <a:lnTo>
                  <a:pt x="44" y="86"/>
                </a:lnTo>
                <a:lnTo>
                  <a:pt x="46" y="92"/>
                </a:lnTo>
                <a:lnTo>
                  <a:pt x="52" y="96"/>
                </a:lnTo>
                <a:lnTo>
                  <a:pt x="58" y="96"/>
                </a:lnTo>
                <a:lnTo>
                  <a:pt x="58" y="106"/>
                </a:lnTo>
                <a:lnTo>
                  <a:pt x="62" y="114"/>
                </a:lnTo>
                <a:lnTo>
                  <a:pt x="66" y="124"/>
                </a:lnTo>
                <a:lnTo>
                  <a:pt x="58" y="114"/>
                </a:lnTo>
                <a:lnTo>
                  <a:pt x="58" y="118"/>
                </a:lnTo>
                <a:lnTo>
                  <a:pt x="56" y="120"/>
                </a:lnTo>
                <a:lnTo>
                  <a:pt x="56" y="132"/>
                </a:lnTo>
                <a:lnTo>
                  <a:pt x="54" y="134"/>
                </a:lnTo>
                <a:lnTo>
                  <a:pt x="52" y="144"/>
                </a:lnTo>
                <a:lnTo>
                  <a:pt x="52" y="146"/>
                </a:lnTo>
                <a:lnTo>
                  <a:pt x="50" y="150"/>
                </a:lnTo>
                <a:lnTo>
                  <a:pt x="50" y="152"/>
                </a:lnTo>
                <a:lnTo>
                  <a:pt x="48" y="152"/>
                </a:lnTo>
                <a:lnTo>
                  <a:pt x="48" y="154"/>
                </a:lnTo>
                <a:lnTo>
                  <a:pt x="46" y="156"/>
                </a:lnTo>
                <a:lnTo>
                  <a:pt x="44" y="158"/>
                </a:lnTo>
                <a:lnTo>
                  <a:pt x="46" y="160"/>
                </a:lnTo>
                <a:lnTo>
                  <a:pt x="46" y="158"/>
                </a:lnTo>
                <a:lnTo>
                  <a:pt x="48" y="158"/>
                </a:lnTo>
                <a:lnTo>
                  <a:pt x="52" y="160"/>
                </a:lnTo>
                <a:lnTo>
                  <a:pt x="52" y="162"/>
                </a:lnTo>
                <a:lnTo>
                  <a:pt x="50" y="164"/>
                </a:lnTo>
                <a:lnTo>
                  <a:pt x="60" y="164"/>
                </a:lnTo>
                <a:lnTo>
                  <a:pt x="64" y="168"/>
                </a:lnTo>
                <a:lnTo>
                  <a:pt x="66" y="166"/>
                </a:lnTo>
                <a:lnTo>
                  <a:pt x="68" y="166"/>
                </a:lnTo>
                <a:lnTo>
                  <a:pt x="72" y="170"/>
                </a:lnTo>
                <a:lnTo>
                  <a:pt x="78" y="170"/>
                </a:lnTo>
                <a:lnTo>
                  <a:pt x="78" y="172"/>
                </a:lnTo>
                <a:lnTo>
                  <a:pt x="84" y="172"/>
                </a:lnTo>
                <a:lnTo>
                  <a:pt x="84" y="168"/>
                </a:lnTo>
                <a:lnTo>
                  <a:pt x="86" y="166"/>
                </a:lnTo>
                <a:lnTo>
                  <a:pt x="90" y="166"/>
                </a:lnTo>
                <a:lnTo>
                  <a:pt x="92" y="168"/>
                </a:lnTo>
                <a:lnTo>
                  <a:pt x="92" y="170"/>
                </a:lnTo>
                <a:lnTo>
                  <a:pt x="96" y="170"/>
                </a:lnTo>
                <a:lnTo>
                  <a:pt x="96" y="172"/>
                </a:lnTo>
                <a:lnTo>
                  <a:pt x="104" y="172"/>
                </a:lnTo>
                <a:lnTo>
                  <a:pt x="104" y="174"/>
                </a:lnTo>
                <a:lnTo>
                  <a:pt x="104" y="176"/>
                </a:lnTo>
                <a:lnTo>
                  <a:pt x="112" y="176"/>
                </a:lnTo>
                <a:lnTo>
                  <a:pt x="112" y="178"/>
                </a:lnTo>
                <a:lnTo>
                  <a:pt x="118" y="178"/>
                </a:lnTo>
                <a:lnTo>
                  <a:pt x="118" y="176"/>
                </a:lnTo>
                <a:lnTo>
                  <a:pt x="118" y="174"/>
                </a:lnTo>
                <a:lnTo>
                  <a:pt x="122" y="174"/>
                </a:lnTo>
                <a:lnTo>
                  <a:pt x="122" y="170"/>
                </a:lnTo>
                <a:lnTo>
                  <a:pt x="126" y="164"/>
                </a:lnTo>
                <a:lnTo>
                  <a:pt x="130" y="160"/>
                </a:lnTo>
                <a:lnTo>
                  <a:pt x="132" y="158"/>
                </a:lnTo>
                <a:lnTo>
                  <a:pt x="134" y="156"/>
                </a:lnTo>
                <a:lnTo>
                  <a:pt x="138" y="154"/>
                </a:lnTo>
                <a:lnTo>
                  <a:pt x="140" y="152"/>
                </a:lnTo>
                <a:lnTo>
                  <a:pt x="144" y="152"/>
                </a:lnTo>
                <a:lnTo>
                  <a:pt x="146" y="154"/>
                </a:lnTo>
                <a:lnTo>
                  <a:pt x="150" y="154"/>
                </a:lnTo>
                <a:lnTo>
                  <a:pt x="152" y="156"/>
                </a:lnTo>
                <a:lnTo>
                  <a:pt x="162" y="156"/>
                </a:lnTo>
                <a:lnTo>
                  <a:pt x="166" y="160"/>
                </a:lnTo>
                <a:lnTo>
                  <a:pt x="166" y="162"/>
                </a:lnTo>
                <a:lnTo>
                  <a:pt x="170" y="162"/>
                </a:lnTo>
                <a:lnTo>
                  <a:pt x="172" y="164"/>
                </a:lnTo>
                <a:lnTo>
                  <a:pt x="178" y="164"/>
                </a:lnTo>
                <a:lnTo>
                  <a:pt x="182" y="162"/>
                </a:lnTo>
                <a:lnTo>
                  <a:pt x="184" y="160"/>
                </a:lnTo>
                <a:lnTo>
                  <a:pt x="186" y="154"/>
                </a:lnTo>
                <a:lnTo>
                  <a:pt x="192" y="150"/>
                </a:lnTo>
                <a:lnTo>
                  <a:pt x="196" y="150"/>
                </a:lnTo>
                <a:lnTo>
                  <a:pt x="196" y="148"/>
                </a:lnTo>
                <a:lnTo>
                  <a:pt x="200" y="144"/>
                </a:lnTo>
                <a:lnTo>
                  <a:pt x="200" y="142"/>
                </a:lnTo>
                <a:lnTo>
                  <a:pt x="198" y="140"/>
                </a:lnTo>
                <a:lnTo>
                  <a:pt x="192" y="140"/>
                </a:lnTo>
                <a:lnTo>
                  <a:pt x="188" y="138"/>
                </a:lnTo>
                <a:lnTo>
                  <a:pt x="186" y="136"/>
                </a:lnTo>
                <a:lnTo>
                  <a:pt x="186" y="134"/>
                </a:lnTo>
                <a:lnTo>
                  <a:pt x="188" y="132"/>
                </a:lnTo>
                <a:lnTo>
                  <a:pt x="190" y="130"/>
                </a:lnTo>
                <a:lnTo>
                  <a:pt x="190" y="126"/>
                </a:lnTo>
                <a:lnTo>
                  <a:pt x="188" y="126"/>
                </a:lnTo>
                <a:lnTo>
                  <a:pt x="184" y="126"/>
                </a:lnTo>
                <a:lnTo>
                  <a:pt x="182" y="120"/>
                </a:lnTo>
                <a:lnTo>
                  <a:pt x="188" y="120"/>
                </a:lnTo>
                <a:lnTo>
                  <a:pt x="192" y="116"/>
                </a:lnTo>
                <a:lnTo>
                  <a:pt x="192" y="114"/>
                </a:lnTo>
                <a:lnTo>
                  <a:pt x="186" y="108"/>
                </a:lnTo>
                <a:lnTo>
                  <a:pt x="188" y="106"/>
                </a:lnTo>
                <a:lnTo>
                  <a:pt x="190" y="106"/>
                </a:lnTo>
                <a:lnTo>
                  <a:pt x="190" y="104"/>
                </a:lnTo>
                <a:lnTo>
                  <a:pt x="186" y="100"/>
                </a:lnTo>
                <a:lnTo>
                  <a:pt x="188" y="94"/>
                </a:lnTo>
                <a:lnTo>
                  <a:pt x="186" y="94"/>
                </a:lnTo>
                <a:lnTo>
                  <a:pt x="182" y="94"/>
                </a:lnTo>
                <a:lnTo>
                  <a:pt x="176" y="100"/>
                </a:lnTo>
                <a:lnTo>
                  <a:pt x="174" y="100"/>
                </a:lnTo>
                <a:lnTo>
                  <a:pt x="174" y="98"/>
                </a:lnTo>
                <a:lnTo>
                  <a:pt x="176" y="96"/>
                </a:lnTo>
                <a:lnTo>
                  <a:pt x="174" y="94"/>
                </a:lnTo>
                <a:lnTo>
                  <a:pt x="178" y="92"/>
                </a:lnTo>
                <a:lnTo>
                  <a:pt x="178" y="88"/>
                </a:lnTo>
                <a:lnTo>
                  <a:pt x="182" y="86"/>
                </a:lnTo>
                <a:lnTo>
                  <a:pt x="182" y="82"/>
                </a:lnTo>
                <a:lnTo>
                  <a:pt x="186" y="82"/>
                </a:lnTo>
                <a:lnTo>
                  <a:pt x="188" y="80"/>
                </a:lnTo>
                <a:lnTo>
                  <a:pt x="190" y="78"/>
                </a:lnTo>
                <a:lnTo>
                  <a:pt x="192" y="76"/>
                </a:lnTo>
                <a:lnTo>
                  <a:pt x="192" y="74"/>
                </a:lnTo>
                <a:lnTo>
                  <a:pt x="198" y="76"/>
                </a:lnTo>
                <a:lnTo>
                  <a:pt x="198" y="72"/>
                </a:lnTo>
                <a:lnTo>
                  <a:pt x="198" y="60"/>
                </a:lnTo>
                <a:lnTo>
                  <a:pt x="200" y="58"/>
                </a:lnTo>
                <a:lnTo>
                  <a:pt x="202" y="56"/>
                </a:lnTo>
                <a:lnTo>
                  <a:pt x="204" y="54"/>
                </a:lnTo>
                <a:lnTo>
                  <a:pt x="204" y="50"/>
                </a:lnTo>
                <a:lnTo>
                  <a:pt x="208" y="46"/>
                </a:lnTo>
                <a:lnTo>
                  <a:pt x="210" y="42"/>
                </a:lnTo>
                <a:lnTo>
                  <a:pt x="204" y="40"/>
                </a:lnTo>
                <a:lnTo>
                  <a:pt x="198" y="4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5" name="Finland"/>
          <p:cNvSpPr>
            <a:spLocks/>
          </p:cNvSpPr>
          <p:nvPr/>
        </p:nvSpPr>
        <p:spPr bwMode="gray">
          <a:xfrm>
            <a:off x="4526821" y="2051718"/>
            <a:ext cx="254000" cy="288925"/>
          </a:xfrm>
          <a:custGeom>
            <a:avLst/>
            <a:gdLst>
              <a:gd name="T0" fmla="*/ 2147483647 w 630"/>
              <a:gd name="T1" fmla="*/ 2147483647 h 714"/>
              <a:gd name="T2" fmla="*/ 2147483647 w 630"/>
              <a:gd name="T3" fmla="*/ 2147483647 h 714"/>
              <a:gd name="T4" fmla="*/ 2147483647 w 630"/>
              <a:gd name="T5" fmla="*/ 2147483647 h 714"/>
              <a:gd name="T6" fmla="*/ 2147483647 w 630"/>
              <a:gd name="T7" fmla="*/ 2147483647 h 714"/>
              <a:gd name="T8" fmla="*/ 2147483647 w 630"/>
              <a:gd name="T9" fmla="*/ 2147483647 h 714"/>
              <a:gd name="T10" fmla="*/ 2147483647 w 630"/>
              <a:gd name="T11" fmla="*/ 2147483647 h 714"/>
              <a:gd name="T12" fmla="*/ 2147483647 w 630"/>
              <a:gd name="T13" fmla="*/ 2147483647 h 714"/>
              <a:gd name="T14" fmla="*/ 2147483647 w 630"/>
              <a:gd name="T15" fmla="*/ 2147483647 h 714"/>
              <a:gd name="T16" fmla="*/ 2147483647 w 630"/>
              <a:gd name="T17" fmla="*/ 2147483647 h 714"/>
              <a:gd name="T18" fmla="*/ 2147483647 w 630"/>
              <a:gd name="T19" fmla="*/ 2147483647 h 714"/>
              <a:gd name="T20" fmla="*/ 2147483647 w 630"/>
              <a:gd name="T21" fmla="*/ 2147483647 h 714"/>
              <a:gd name="T22" fmla="*/ 2147483647 w 630"/>
              <a:gd name="T23" fmla="*/ 2147483647 h 714"/>
              <a:gd name="T24" fmla="*/ 2147483647 w 630"/>
              <a:gd name="T25" fmla="*/ 2147483647 h 714"/>
              <a:gd name="T26" fmla="*/ 2147483647 w 630"/>
              <a:gd name="T27" fmla="*/ 2147483647 h 714"/>
              <a:gd name="T28" fmla="*/ 2147483647 w 630"/>
              <a:gd name="T29" fmla="*/ 2147483647 h 714"/>
              <a:gd name="T30" fmla="*/ 2147483647 w 630"/>
              <a:gd name="T31" fmla="*/ 2147483647 h 714"/>
              <a:gd name="T32" fmla="*/ 2147483647 w 630"/>
              <a:gd name="T33" fmla="*/ 2147483647 h 714"/>
              <a:gd name="T34" fmla="*/ 2147483647 w 630"/>
              <a:gd name="T35" fmla="*/ 2147483647 h 714"/>
              <a:gd name="T36" fmla="*/ 2147483647 w 630"/>
              <a:gd name="T37" fmla="*/ 2147483647 h 714"/>
              <a:gd name="T38" fmla="*/ 2147483647 w 630"/>
              <a:gd name="T39" fmla="*/ 2147483647 h 714"/>
              <a:gd name="T40" fmla="*/ 2147483647 w 630"/>
              <a:gd name="T41" fmla="*/ 2147483647 h 714"/>
              <a:gd name="T42" fmla="*/ 2147483647 w 630"/>
              <a:gd name="T43" fmla="*/ 2147483647 h 714"/>
              <a:gd name="T44" fmla="*/ 2147483647 w 630"/>
              <a:gd name="T45" fmla="*/ 2147483647 h 714"/>
              <a:gd name="T46" fmla="*/ 2147483647 w 630"/>
              <a:gd name="T47" fmla="*/ 2147483647 h 714"/>
              <a:gd name="T48" fmla="*/ 2147483647 w 630"/>
              <a:gd name="T49" fmla="*/ 2147483647 h 714"/>
              <a:gd name="T50" fmla="*/ 2147483647 w 630"/>
              <a:gd name="T51" fmla="*/ 2147483647 h 714"/>
              <a:gd name="T52" fmla="*/ 2147483647 w 630"/>
              <a:gd name="T53" fmla="*/ 2147483647 h 714"/>
              <a:gd name="T54" fmla="*/ 2147483647 w 630"/>
              <a:gd name="T55" fmla="*/ 2147483647 h 714"/>
              <a:gd name="T56" fmla="*/ 2147483647 w 630"/>
              <a:gd name="T57" fmla="*/ 2147483647 h 714"/>
              <a:gd name="T58" fmla="*/ 2147483647 w 630"/>
              <a:gd name="T59" fmla="*/ 2147483647 h 714"/>
              <a:gd name="T60" fmla="*/ 2147483647 w 630"/>
              <a:gd name="T61" fmla="*/ 2147483647 h 714"/>
              <a:gd name="T62" fmla="*/ 2147483647 w 630"/>
              <a:gd name="T63" fmla="*/ 2147483647 h 714"/>
              <a:gd name="T64" fmla="*/ 2147483647 w 630"/>
              <a:gd name="T65" fmla="*/ 2147483647 h 714"/>
              <a:gd name="T66" fmla="*/ 2147483647 w 630"/>
              <a:gd name="T67" fmla="*/ 2147483647 h 714"/>
              <a:gd name="T68" fmla="*/ 2147483647 w 630"/>
              <a:gd name="T69" fmla="*/ 2147483647 h 714"/>
              <a:gd name="T70" fmla="*/ 2147483647 w 630"/>
              <a:gd name="T71" fmla="*/ 2147483647 h 714"/>
              <a:gd name="T72" fmla="*/ 2147483647 w 630"/>
              <a:gd name="T73" fmla="*/ 2147483647 h 714"/>
              <a:gd name="T74" fmla="*/ 2147483647 w 630"/>
              <a:gd name="T75" fmla="*/ 2147483647 h 714"/>
              <a:gd name="T76" fmla="*/ 2147483647 w 630"/>
              <a:gd name="T77" fmla="*/ 2147483647 h 714"/>
              <a:gd name="T78" fmla="*/ 2147483647 w 630"/>
              <a:gd name="T79" fmla="*/ 2147483647 h 714"/>
              <a:gd name="T80" fmla="*/ 2147483647 w 630"/>
              <a:gd name="T81" fmla="*/ 2147483647 h 714"/>
              <a:gd name="T82" fmla="*/ 2147483647 w 630"/>
              <a:gd name="T83" fmla="*/ 2147483647 h 714"/>
              <a:gd name="T84" fmla="*/ 2147483647 w 630"/>
              <a:gd name="T85" fmla="*/ 2147483647 h 714"/>
              <a:gd name="T86" fmla="*/ 2147483647 w 630"/>
              <a:gd name="T87" fmla="*/ 2147483647 h 714"/>
              <a:gd name="T88" fmla="*/ 2147483647 w 630"/>
              <a:gd name="T89" fmla="*/ 2147483647 h 714"/>
              <a:gd name="T90" fmla="*/ 2147483647 w 630"/>
              <a:gd name="T91" fmla="*/ 2147483647 h 714"/>
              <a:gd name="T92" fmla="*/ 2147483647 w 630"/>
              <a:gd name="T93" fmla="*/ 2147483647 h 714"/>
              <a:gd name="T94" fmla="*/ 2147483647 w 630"/>
              <a:gd name="T95" fmla="*/ 2147483647 h 714"/>
              <a:gd name="T96" fmla="*/ 2147483647 w 630"/>
              <a:gd name="T97" fmla="*/ 2147483647 h 714"/>
              <a:gd name="T98" fmla="*/ 2147483647 w 630"/>
              <a:gd name="T99" fmla="*/ 2147483647 h 714"/>
              <a:gd name="T100" fmla="*/ 2147483647 w 630"/>
              <a:gd name="T101" fmla="*/ 2147483647 h 714"/>
              <a:gd name="T102" fmla="*/ 2147483647 w 630"/>
              <a:gd name="T103" fmla="*/ 2147483647 h 714"/>
              <a:gd name="T104" fmla="*/ 2147483647 w 630"/>
              <a:gd name="T105" fmla="*/ 2147483647 h 714"/>
              <a:gd name="T106" fmla="*/ 2147483647 w 630"/>
              <a:gd name="T107" fmla="*/ 0 h 714"/>
              <a:gd name="T108" fmla="*/ 2147483647 w 630"/>
              <a:gd name="T109" fmla="*/ 2147483647 h 714"/>
              <a:gd name="T110" fmla="*/ 2147483647 w 630"/>
              <a:gd name="T111" fmla="*/ 2147483647 h 714"/>
              <a:gd name="T112" fmla="*/ 2147483647 w 630"/>
              <a:gd name="T113" fmla="*/ 2147483647 h 714"/>
              <a:gd name="T114" fmla="*/ 2147483647 w 630"/>
              <a:gd name="T115" fmla="*/ 2147483647 h 714"/>
              <a:gd name="T116" fmla="*/ 2147483647 w 630"/>
              <a:gd name="T117" fmla="*/ 2147483647 h 71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30"/>
              <a:gd name="T178" fmla="*/ 0 h 714"/>
              <a:gd name="T179" fmla="*/ 630 w 630"/>
              <a:gd name="T180" fmla="*/ 714 h 71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30" h="714">
                <a:moveTo>
                  <a:pt x="162" y="84"/>
                </a:moveTo>
                <a:lnTo>
                  <a:pt x="156" y="90"/>
                </a:lnTo>
                <a:lnTo>
                  <a:pt x="144" y="96"/>
                </a:lnTo>
                <a:lnTo>
                  <a:pt x="132" y="96"/>
                </a:lnTo>
                <a:lnTo>
                  <a:pt x="126" y="90"/>
                </a:lnTo>
                <a:lnTo>
                  <a:pt x="108" y="90"/>
                </a:lnTo>
                <a:lnTo>
                  <a:pt x="96" y="84"/>
                </a:lnTo>
                <a:lnTo>
                  <a:pt x="84" y="84"/>
                </a:lnTo>
                <a:lnTo>
                  <a:pt x="72" y="72"/>
                </a:lnTo>
                <a:lnTo>
                  <a:pt x="60" y="66"/>
                </a:lnTo>
                <a:lnTo>
                  <a:pt x="54" y="54"/>
                </a:lnTo>
                <a:lnTo>
                  <a:pt x="48" y="48"/>
                </a:lnTo>
                <a:lnTo>
                  <a:pt x="30" y="48"/>
                </a:lnTo>
                <a:lnTo>
                  <a:pt x="24" y="54"/>
                </a:lnTo>
                <a:lnTo>
                  <a:pt x="24" y="66"/>
                </a:lnTo>
                <a:lnTo>
                  <a:pt x="6" y="60"/>
                </a:lnTo>
                <a:lnTo>
                  <a:pt x="0" y="66"/>
                </a:lnTo>
                <a:lnTo>
                  <a:pt x="6" y="72"/>
                </a:lnTo>
                <a:lnTo>
                  <a:pt x="18" y="78"/>
                </a:lnTo>
                <a:lnTo>
                  <a:pt x="24" y="84"/>
                </a:lnTo>
                <a:lnTo>
                  <a:pt x="36" y="90"/>
                </a:lnTo>
                <a:lnTo>
                  <a:pt x="48" y="90"/>
                </a:lnTo>
                <a:lnTo>
                  <a:pt x="54" y="96"/>
                </a:lnTo>
                <a:lnTo>
                  <a:pt x="60" y="96"/>
                </a:lnTo>
                <a:lnTo>
                  <a:pt x="72" y="108"/>
                </a:lnTo>
                <a:lnTo>
                  <a:pt x="108" y="108"/>
                </a:lnTo>
                <a:lnTo>
                  <a:pt x="138" y="126"/>
                </a:lnTo>
                <a:lnTo>
                  <a:pt x="150" y="126"/>
                </a:lnTo>
                <a:lnTo>
                  <a:pt x="156" y="132"/>
                </a:lnTo>
                <a:lnTo>
                  <a:pt x="162" y="132"/>
                </a:lnTo>
                <a:lnTo>
                  <a:pt x="162" y="156"/>
                </a:lnTo>
                <a:lnTo>
                  <a:pt x="156" y="162"/>
                </a:lnTo>
                <a:lnTo>
                  <a:pt x="156" y="168"/>
                </a:lnTo>
                <a:lnTo>
                  <a:pt x="168" y="174"/>
                </a:lnTo>
                <a:lnTo>
                  <a:pt x="162" y="198"/>
                </a:lnTo>
                <a:lnTo>
                  <a:pt x="186" y="210"/>
                </a:lnTo>
                <a:lnTo>
                  <a:pt x="180" y="222"/>
                </a:lnTo>
                <a:lnTo>
                  <a:pt x="174" y="228"/>
                </a:lnTo>
                <a:lnTo>
                  <a:pt x="168" y="240"/>
                </a:lnTo>
                <a:lnTo>
                  <a:pt x="168" y="246"/>
                </a:lnTo>
                <a:lnTo>
                  <a:pt x="180" y="258"/>
                </a:lnTo>
                <a:lnTo>
                  <a:pt x="192" y="264"/>
                </a:lnTo>
                <a:lnTo>
                  <a:pt x="198" y="270"/>
                </a:lnTo>
                <a:lnTo>
                  <a:pt x="210" y="306"/>
                </a:lnTo>
                <a:lnTo>
                  <a:pt x="222" y="294"/>
                </a:lnTo>
                <a:lnTo>
                  <a:pt x="228" y="294"/>
                </a:lnTo>
                <a:lnTo>
                  <a:pt x="234" y="300"/>
                </a:lnTo>
                <a:lnTo>
                  <a:pt x="246" y="300"/>
                </a:lnTo>
                <a:lnTo>
                  <a:pt x="270" y="324"/>
                </a:lnTo>
                <a:lnTo>
                  <a:pt x="270" y="336"/>
                </a:lnTo>
                <a:lnTo>
                  <a:pt x="276" y="348"/>
                </a:lnTo>
                <a:lnTo>
                  <a:pt x="276" y="354"/>
                </a:lnTo>
                <a:lnTo>
                  <a:pt x="264" y="348"/>
                </a:lnTo>
                <a:lnTo>
                  <a:pt x="246" y="348"/>
                </a:lnTo>
                <a:lnTo>
                  <a:pt x="240" y="354"/>
                </a:lnTo>
                <a:lnTo>
                  <a:pt x="234" y="366"/>
                </a:lnTo>
                <a:lnTo>
                  <a:pt x="228" y="372"/>
                </a:lnTo>
                <a:lnTo>
                  <a:pt x="222" y="384"/>
                </a:lnTo>
                <a:lnTo>
                  <a:pt x="216" y="390"/>
                </a:lnTo>
                <a:lnTo>
                  <a:pt x="180" y="420"/>
                </a:lnTo>
                <a:lnTo>
                  <a:pt x="144" y="432"/>
                </a:lnTo>
                <a:lnTo>
                  <a:pt x="138" y="438"/>
                </a:lnTo>
                <a:lnTo>
                  <a:pt x="126" y="444"/>
                </a:lnTo>
                <a:lnTo>
                  <a:pt x="120" y="456"/>
                </a:lnTo>
                <a:lnTo>
                  <a:pt x="120" y="462"/>
                </a:lnTo>
                <a:lnTo>
                  <a:pt x="108" y="474"/>
                </a:lnTo>
                <a:lnTo>
                  <a:pt x="90" y="474"/>
                </a:lnTo>
                <a:lnTo>
                  <a:pt x="66" y="504"/>
                </a:lnTo>
                <a:lnTo>
                  <a:pt x="66" y="534"/>
                </a:lnTo>
                <a:lnTo>
                  <a:pt x="72" y="540"/>
                </a:lnTo>
                <a:lnTo>
                  <a:pt x="72" y="570"/>
                </a:lnTo>
                <a:lnTo>
                  <a:pt x="96" y="588"/>
                </a:lnTo>
                <a:lnTo>
                  <a:pt x="96" y="594"/>
                </a:lnTo>
                <a:lnTo>
                  <a:pt x="90" y="600"/>
                </a:lnTo>
                <a:lnTo>
                  <a:pt x="90" y="612"/>
                </a:lnTo>
                <a:lnTo>
                  <a:pt x="84" y="630"/>
                </a:lnTo>
                <a:lnTo>
                  <a:pt x="84" y="648"/>
                </a:lnTo>
                <a:lnTo>
                  <a:pt x="90" y="654"/>
                </a:lnTo>
                <a:lnTo>
                  <a:pt x="96" y="666"/>
                </a:lnTo>
                <a:lnTo>
                  <a:pt x="108" y="678"/>
                </a:lnTo>
                <a:lnTo>
                  <a:pt x="132" y="690"/>
                </a:lnTo>
                <a:lnTo>
                  <a:pt x="174" y="690"/>
                </a:lnTo>
                <a:lnTo>
                  <a:pt x="174" y="696"/>
                </a:lnTo>
                <a:lnTo>
                  <a:pt x="168" y="702"/>
                </a:lnTo>
                <a:lnTo>
                  <a:pt x="168" y="708"/>
                </a:lnTo>
                <a:lnTo>
                  <a:pt x="174" y="714"/>
                </a:lnTo>
                <a:lnTo>
                  <a:pt x="240" y="714"/>
                </a:lnTo>
                <a:lnTo>
                  <a:pt x="252" y="708"/>
                </a:lnTo>
                <a:lnTo>
                  <a:pt x="270" y="708"/>
                </a:lnTo>
                <a:lnTo>
                  <a:pt x="300" y="696"/>
                </a:lnTo>
                <a:lnTo>
                  <a:pt x="336" y="696"/>
                </a:lnTo>
                <a:lnTo>
                  <a:pt x="384" y="672"/>
                </a:lnTo>
                <a:lnTo>
                  <a:pt x="462" y="672"/>
                </a:lnTo>
                <a:lnTo>
                  <a:pt x="456" y="660"/>
                </a:lnTo>
                <a:lnTo>
                  <a:pt x="516" y="630"/>
                </a:lnTo>
                <a:lnTo>
                  <a:pt x="576" y="570"/>
                </a:lnTo>
                <a:lnTo>
                  <a:pt x="582" y="570"/>
                </a:lnTo>
                <a:lnTo>
                  <a:pt x="618" y="534"/>
                </a:lnTo>
                <a:lnTo>
                  <a:pt x="624" y="522"/>
                </a:lnTo>
                <a:lnTo>
                  <a:pt x="630" y="516"/>
                </a:lnTo>
                <a:lnTo>
                  <a:pt x="630" y="504"/>
                </a:lnTo>
                <a:lnTo>
                  <a:pt x="624" y="492"/>
                </a:lnTo>
                <a:lnTo>
                  <a:pt x="618" y="486"/>
                </a:lnTo>
                <a:lnTo>
                  <a:pt x="612" y="474"/>
                </a:lnTo>
                <a:lnTo>
                  <a:pt x="540" y="438"/>
                </a:lnTo>
                <a:lnTo>
                  <a:pt x="546" y="438"/>
                </a:lnTo>
                <a:lnTo>
                  <a:pt x="570" y="414"/>
                </a:lnTo>
                <a:lnTo>
                  <a:pt x="570" y="408"/>
                </a:lnTo>
                <a:lnTo>
                  <a:pt x="564" y="402"/>
                </a:lnTo>
                <a:lnTo>
                  <a:pt x="552" y="396"/>
                </a:lnTo>
                <a:lnTo>
                  <a:pt x="528" y="390"/>
                </a:lnTo>
                <a:lnTo>
                  <a:pt x="534" y="378"/>
                </a:lnTo>
                <a:lnTo>
                  <a:pt x="540" y="372"/>
                </a:lnTo>
                <a:lnTo>
                  <a:pt x="540" y="366"/>
                </a:lnTo>
                <a:lnTo>
                  <a:pt x="534" y="360"/>
                </a:lnTo>
                <a:lnTo>
                  <a:pt x="528" y="360"/>
                </a:lnTo>
                <a:lnTo>
                  <a:pt x="522" y="354"/>
                </a:lnTo>
                <a:lnTo>
                  <a:pt x="510" y="354"/>
                </a:lnTo>
                <a:lnTo>
                  <a:pt x="510" y="342"/>
                </a:lnTo>
                <a:lnTo>
                  <a:pt x="498" y="330"/>
                </a:lnTo>
                <a:lnTo>
                  <a:pt x="504" y="300"/>
                </a:lnTo>
                <a:lnTo>
                  <a:pt x="510" y="300"/>
                </a:lnTo>
                <a:lnTo>
                  <a:pt x="522" y="306"/>
                </a:lnTo>
                <a:lnTo>
                  <a:pt x="534" y="306"/>
                </a:lnTo>
                <a:lnTo>
                  <a:pt x="540" y="300"/>
                </a:lnTo>
                <a:lnTo>
                  <a:pt x="540" y="294"/>
                </a:lnTo>
                <a:lnTo>
                  <a:pt x="534" y="288"/>
                </a:lnTo>
                <a:lnTo>
                  <a:pt x="522" y="282"/>
                </a:lnTo>
                <a:lnTo>
                  <a:pt x="498" y="258"/>
                </a:lnTo>
                <a:lnTo>
                  <a:pt x="486" y="252"/>
                </a:lnTo>
                <a:lnTo>
                  <a:pt x="480" y="240"/>
                </a:lnTo>
                <a:lnTo>
                  <a:pt x="468" y="234"/>
                </a:lnTo>
                <a:lnTo>
                  <a:pt x="450" y="216"/>
                </a:lnTo>
                <a:lnTo>
                  <a:pt x="456" y="210"/>
                </a:lnTo>
                <a:lnTo>
                  <a:pt x="468" y="204"/>
                </a:lnTo>
                <a:lnTo>
                  <a:pt x="474" y="204"/>
                </a:lnTo>
                <a:lnTo>
                  <a:pt x="474" y="192"/>
                </a:lnTo>
                <a:lnTo>
                  <a:pt x="480" y="192"/>
                </a:lnTo>
                <a:lnTo>
                  <a:pt x="492" y="186"/>
                </a:lnTo>
                <a:lnTo>
                  <a:pt x="498" y="186"/>
                </a:lnTo>
                <a:lnTo>
                  <a:pt x="498" y="174"/>
                </a:lnTo>
                <a:lnTo>
                  <a:pt x="450" y="126"/>
                </a:lnTo>
                <a:lnTo>
                  <a:pt x="432" y="126"/>
                </a:lnTo>
                <a:lnTo>
                  <a:pt x="426" y="132"/>
                </a:lnTo>
                <a:lnTo>
                  <a:pt x="420" y="132"/>
                </a:lnTo>
                <a:lnTo>
                  <a:pt x="414" y="126"/>
                </a:lnTo>
                <a:lnTo>
                  <a:pt x="414" y="120"/>
                </a:lnTo>
                <a:lnTo>
                  <a:pt x="408" y="108"/>
                </a:lnTo>
                <a:lnTo>
                  <a:pt x="408" y="96"/>
                </a:lnTo>
                <a:lnTo>
                  <a:pt x="426" y="96"/>
                </a:lnTo>
                <a:lnTo>
                  <a:pt x="426" y="90"/>
                </a:lnTo>
                <a:lnTo>
                  <a:pt x="414" y="78"/>
                </a:lnTo>
                <a:lnTo>
                  <a:pt x="420" y="54"/>
                </a:lnTo>
                <a:lnTo>
                  <a:pt x="426" y="54"/>
                </a:lnTo>
                <a:lnTo>
                  <a:pt x="426" y="60"/>
                </a:lnTo>
                <a:lnTo>
                  <a:pt x="432" y="60"/>
                </a:lnTo>
                <a:lnTo>
                  <a:pt x="432" y="42"/>
                </a:lnTo>
                <a:lnTo>
                  <a:pt x="426" y="30"/>
                </a:lnTo>
                <a:lnTo>
                  <a:pt x="414" y="18"/>
                </a:lnTo>
                <a:lnTo>
                  <a:pt x="408" y="18"/>
                </a:lnTo>
                <a:lnTo>
                  <a:pt x="372" y="12"/>
                </a:lnTo>
                <a:lnTo>
                  <a:pt x="372" y="0"/>
                </a:lnTo>
                <a:lnTo>
                  <a:pt x="336" y="0"/>
                </a:lnTo>
                <a:lnTo>
                  <a:pt x="324" y="6"/>
                </a:lnTo>
                <a:lnTo>
                  <a:pt x="294" y="6"/>
                </a:lnTo>
                <a:lnTo>
                  <a:pt x="282" y="12"/>
                </a:lnTo>
                <a:lnTo>
                  <a:pt x="276" y="12"/>
                </a:lnTo>
                <a:lnTo>
                  <a:pt x="264" y="18"/>
                </a:lnTo>
                <a:lnTo>
                  <a:pt x="264" y="30"/>
                </a:lnTo>
                <a:lnTo>
                  <a:pt x="258" y="36"/>
                </a:lnTo>
                <a:lnTo>
                  <a:pt x="258" y="72"/>
                </a:lnTo>
                <a:lnTo>
                  <a:pt x="234" y="72"/>
                </a:lnTo>
                <a:lnTo>
                  <a:pt x="234" y="78"/>
                </a:lnTo>
                <a:lnTo>
                  <a:pt x="228" y="84"/>
                </a:lnTo>
                <a:lnTo>
                  <a:pt x="228" y="96"/>
                </a:lnTo>
                <a:lnTo>
                  <a:pt x="210" y="96"/>
                </a:lnTo>
                <a:lnTo>
                  <a:pt x="204" y="90"/>
                </a:lnTo>
                <a:lnTo>
                  <a:pt x="192" y="84"/>
                </a:lnTo>
                <a:lnTo>
                  <a:pt x="162" y="8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6" name="Ethiopia"/>
          <p:cNvSpPr>
            <a:spLocks/>
          </p:cNvSpPr>
          <p:nvPr/>
        </p:nvSpPr>
        <p:spPr bwMode="gray">
          <a:xfrm>
            <a:off x="4961796" y="3777330"/>
            <a:ext cx="425450" cy="371475"/>
          </a:xfrm>
          <a:custGeom>
            <a:avLst/>
            <a:gdLst>
              <a:gd name="T0" fmla="*/ 2147483647 w 1056"/>
              <a:gd name="T1" fmla="*/ 2147483647 h 924"/>
              <a:gd name="T2" fmla="*/ 2147483647 w 1056"/>
              <a:gd name="T3" fmla="*/ 2147483647 h 924"/>
              <a:gd name="T4" fmla="*/ 2147483647 w 1056"/>
              <a:gd name="T5" fmla="*/ 2147483647 h 924"/>
              <a:gd name="T6" fmla="*/ 2147483647 w 1056"/>
              <a:gd name="T7" fmla="*/ 2147483647 h 924"/>
              <a:gd name="T8" fmla="*/ 2147483647 w 1056"/>
              <a:gd name="T9" fmla="*/ 2147483647 h 924"/>
              <a:gd name="T10" fmla="*/ 2147483647 w 1056"/>
              <a:gd name="T11" fmla="*/ 2147483647 h 924"/>
              <a:gd name="T12" fmla="*/ 2147483647 w 1056"/>
              <a:gd name="T13" fmla="*/ 2147483647 h 924"/>
              <a:gd name="T14" fmla="*/ 2147483647 w 1056"/>
              <a:gd name="T15" fmla="*/ 2147483647 h 924"/>
              <a:gd name="T16" fmla="*/ 2147483647 w 1056"/>
              <a:gd name="T17" fmla="*/ 2147483647 h 924"/>
              <a:gd name="T18" fmla="*/ 2147483647 w 1056"/>
              <a:gd name="T19" fmla="*/ 2147483647 h 924"/>
              <a:gd name="T20" fmla="*/ 2147483647 w 1056"/>
              <a:gd name="T21" fmla="*/ 2147483647 h 924"/>
              <a:gd name="T22" fmla="*/ 2147483647 w 1056"/>
              <a:gd name="T23" fmla="*/ 2147483647 h 924"/>
              <a:gd name="T24" fmla="*/ 2147483647 w 1056"/>
              <a:gd name="T25" fmla="*/ 2147483647 h 924"/>
              <a:gd name="T26" fmla="*/ 2147483647 w 1056"/>
              <a:gd name="T27" fmla="*/ 2147483647 h 924"/>
              <a:gd name="T28" fmla="*/ 2147483647 w 1056"/>
              <a:gd name="T29" fmla="*/ 2147483647 h 924"/>
              <a:gd name="T30" fmla="*/ 2147483647 w 1056"/>
              <a:gd name="T31" fmla="*/ 2147483647 h 924"/>
              <a:gd name="T32" fmla="*/ 2147483647 w 1056"/>
              <a:gd name="T33" fmla="*/ 2147483647 h 924"/>
              <a:gd name="T34" fmla="*/ 2147483647 w 1056"/>
              <a:gd name="T35" fmla="*/ 2147483647 h 924"/>
              <a:gd name="T36" fmla="*/ 2147483647 w 1056"/>
              <a:gd name="T37" fmla="*/ 2147483647 h 924"/>
              <a:gd name="T38" fmla="*/ 2147483647 w 1056"/>
              <a:gd name="T39" fmla="*/ 2147483647 h 924"/>
              <a:gd name="T40" fmla="*/ 2147483647 w 1056"/>
              <a:gd name="T41" fmla="*/ 2147483647 h 924"/>
              <a:gd name="T42" fmla="*/ 2147483647 w 1056"/>
              <a:gd name="T43" fmla="*/ 2147483647 h 924"/>
              <a:gd name="T44" fmla="*/ 2147483647 w 1056"/>
              <a:gd name="T45" fmla="*/ 2147483647 h 924"/>
              <a:gd name="T46" fmla="*/ 2147483647 w 1056"/>
              <a:gd name="T47" fmla="*/ 2147483647 h 924"/>
              <a:gd name="T48" fmla="*/ 2147483647 w 1056"/>
              <a:gd name="T49" fmla="*/ 2147483647 h 924"/>
              <a:gd name="T50" fmla="*/ 2147483647 w 1056"/>
              <a:gd name="T51" fmla="*/ 2147483647 h 924"/>
              <a:gd name="T52" fmla="*/ 2147483647 w 1056"/>
              <a:gd name="T53" fmla="*/ 2147483647 h 924"/>
              <a:gd name="T54" fmla="*/ 2147483647 w 1056"/>
              <a:gd name="T55" fmla="*/ 2147483647 h 924"/>
              <a:gd name="T56" fmla="*/ 2147483647 w 1056"/>
              <a:gd name="T57" fmla="*/ 2147483647 h 924"/>
              <a:gd name="T58" fmla="*/ 2147483647 w 1056"/>
              <a:gd name="T59" fmla="*/ 2147483647 h 924"/>
              <a:gd name="T60" fmla="*/ 2147483647 w 1056"/>
              <a:gd name="T61" fmla="*/ 2147483647 h 924"/>
              <a:gd name="T62" fmla="*/ 2147483647 w 1056"/>
              <a:gd name="T63" fmla="*/ 2147483647 h 924"/>
              <a:gd name="T64" fmla="*/ 2147483647 w 1056"/>
              <a:gd name="T65" fmla="*/ 2147483647 h 924"/>
              <a:gd name="T66" fmla="*/ 2147483647 w 1056"/>
              <a:gd name="T67" fmla="*/ 2147483647 h 924"/>
              <a:gd name="T68" fmla="*/ 2147483647 w 1056"/>
              <a:gd name="T69" fmla="*/ 2147483647 h 924"/>
              <a:gd name="T70" fmla="*/ 2147483647 w 1056"/>
              <a:gd name="T71" fmla="*/ 2147483647 h 924"/>
              <a:gd name="T72" fmla="*/ 2147483647 w 1056"/>
              <a:gd name="T73" fmla="*/ 0 h 924"/>
              <a:gd name="T74" fmla="*/ 2147483647 w 1056"/>
              <a:gd name="T75" fmla="*/ 2147483647 h 924"/>
              <a:gd name="T76" fmla="*/ 2147483647 w 1056"/>
              <a:gd name="T77" fmla="*/ 2147483647 h 924"/>
              <a:gd name="T78" fmla="*/ 2147483647 w 1056"/>
              <a:gd name="T79" fmla="*/ 2147483647 h 924"/>
              <a:gd name="T80" fmla="*/ 2147483647 w 1056"/>
              <a:gd name="T81" fmla="*/ 2147483647 h 924"/>
              <a:gd name="T82" fmla="*/ 2147483647 w 1056"/>
              <a:gd name="T83" fmla="*/ 2147483647 h 924"/>
              <a:gd name="T84" fmla="*/ 2147483647 w 1056"/>
              <a:gd name="T85" fmla="*/ 2147483647 h 924"/>
              <a:gd name="T86" fmla="*/ 2147483647 w 1056"/>
              <a:gd name="T87" fmla="*/ 2147483647 h 924"/>
              <a:gd name="T88" fmla="*/ 2147483647 w 1056"/>
              <a:gd name="T89" fmla="*/ 2147483647 h 924"/>
              <a:gd name="T90" fmla="*/ 2147483647 w 1056"/>
              <a:gd name="T91" fmla="*/ 2147483647 h 924"/>
              <a:gd name="T92" fmla="*/ 2147483647 w 1056"/>
              <a:gd name="T93" fmla="*/ 2147483647 h 924"/>
              <a:gd name="T94" fmla="*/ 2147483647 w 1056"/>
              <a:gd name="T95" fmla="*/ 2147483647 h 924"/>
              <a:gd name="T96" fmla="*/ 2147483647 w 1056"/>
              <a:gd name="T97" fmla="*/ 2147483647 h 924"/>
              <a:gd name="T98" fmla="*/ 2147483647 w 1056"/>
              <a:gd name="T99" fmla="*/ 2147483647 h 924"/>
              <a:gd name="T100" fmla="*/ 2147483647 w 1056"/>
              <a:gd name="T101" fmla="*/ 2147483647 h 924"/>
              <a:gd name="T102" fmla="*/ 2147483647 w 1056"/>
              <a:gd name="T103" fmla="*/ 2147483647 h 924"/>
              <a:gd name="T104" fmla="*/ 2147483647 w 1056"/>
              <a:gd name="T105" fmla="*/ 2147483647 h 924"/>
              <a:gd name="T106" fmla="*/ 2147483647 w 1056"/>
              <a:gd name="T107" fmla="*/ 2147483647 h 924"/>
              <a:gd name="T108" fmla="*/ 2147483647 w 1056"/>
              <a:gd name="T109" fmla="*/ 2147483647 h 924"/>
              <a:gd name="T110" fmla="*/ 2147483647 w 1056"/>
              <a:gd name="T111" fmla="*/ 2147483647 h 924"/>
              <a:gd name="T112" fmla="*/ 2147483647 w 1056"/>
              <a:gd name="T113" fmla="*/ 2147483647 h 924"/>
              <a:gd name="T114" fmla="*/ 2147483647 w 1056"/>
              <a:gd name="T115" fmla="*/ 2147483647 h 924"/>
              <a:gd name="T116" fmla="*/ 2147483647 w 1056"/>
              <a:gd name="T117" fmla="*/ 2147483647 h 9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56"/>
              <a:gd name="T178" fmla="*/ 0 h 924"/>
              <a:gd name="T179" fmla="*/ 1056 w 1056"/>
              <a:gd name="T180" fmla="*/ 924 h 9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56" h="924">
                <a:moveTo>
                  <a:pt x="84" y="642"/>
                </a:moveTo>
                <a:lnTo>
                  <a:pt x="108" y="642"/>
                </a:lnTo>
                <a:lnTo>
                  <a:pt x="114" y="666"/>
                </a:lnTo>
                <a:lnTo>
                  <a:pt x="126" y="666"/>
                </a:lnTo>
                <a:lnTo>
                  <a:pt x="126" y="702"/>
                </a:lnTo>
                <a:lnTo>
                  <a:pt x="138" y="708"/>
                </a:lnTo>
                <a:lnTo>
                  <a:pt x="138" y="726"/>
                </a:lnTo>
                <a:lnTo>
                  <a:pt x="156" y="762"/>
                </a:lnTo>
                <a:lnTo>
                  <a:pt x="168" y="768"/>
                </a:lnTo>
                <a:lnTo>
                  <a:pt x="186" y="768"/>
                </a:lnTo>
                <a:lnTo>
                  <a:pt x="192" y="774"/>
                </a:lnTo>
                <a:lnTo>
                  <a:pt x="198" y="786"/>
                </a:lnTo>
                <a:lnTo>
                  <a:pt x="198" y="804"/>
                </a:lnTo>
                <a:lnTo>
                  <a:pt x="210" y="840"/>
                </a:lnTo>
                <a:lnTo>
                  <a:pt x="282" y="846"/>
                </a:lnTo>
                <a:lnTo>
                  <a:pt x="360" y="906"/>
                </a:lnTo>
                <a:lnTo>
                  <a:pt x="390" y="906"/>
                </a:lnTo>
                <a:lnTo>
                  <a:pt x="402" y="912"/>
                </a:lnTo>
                <a:lnTo>
                  <a:pt x="432" y="912"/>
                </a:lnTo>
                <a:lnTo>
                  <a:pt x="444" y="918"/>
                </a:lnTo>
                <a:lnTo>
                  <a:pt x="450" y="918"/>
                </a:lnTo>
                <a:lnTo>
                  <a:pt x="462" y="924"/>
                </a:lnTo>
                <a:lnTo>
                  <a:pt x="486" y="906"/>
                </a:lnTo>
                <a:lnTo>
                  <a:pt x="486" y="894"/>
                </a:lnTo>
                <a:lnTo>
                  <a:pt x="498" y="882"/>
                </a:lnTo>
                <a:lnTo>
                  <a:pt x="510" y="882"/>
                </a:lnTo>
                <a:lnTo>
                  <a:pt x="522" y="876"/>
                </a:lnTo>
                <a:lnTo>
                  <a:pt x="528" y="870"/>
                </a:lnTo>
                <a:lnTo>
                  <a:pt x="534" y="870"/>
                </a:lnTo>
                <a:lnTo>
                  <a:pt x="552" y="852"/>
                </a:lnTo>
                <a:lnTo>
                  <a:pt x="576" y="882"/>
                </a:lnTo>
                <a:lnTo>
                  <a:pt x="606" y="882"/>
                </a:lnTo>
                <a:lnTo>
                  <a:pt x="612" y="876"/>
                </a:lnTo>
                <a:lnTo>
                  <a:pt x="636" y="882"/>
                </a:lnTo>
                <a:lnTo>
                  <a:pt x="636" y="876"/>
                </a:lnTo>
                <a:lnTo>
                  <a:pt x="648" y="864"/>
                </a:lnTo>
                <a:lnTo>
                  <a:pt x="660" y="864"/>
                </a:lnTo>
                <a:lnTo>
                  <a:pt x="672" y="858"/>
                </a:lnTo>
                <a:lnTo>
                  <a:pt x="696" y="858"/>
                </a:lnTo>
                <a:lnTo>
                  <a:pt x="714" y="840"/>
                </a:lnTo>
                <a:lnTo>
                  <a:pt x="714" y="828"/>
                </a:lnTo>
                <a:lnTo>
                  <a:pt x="726" y="822"/>
                </a:lnTo>
                <a:lnTo>
                  <a:pt x="732" y="816"/>
                </a:lnTo>
                <a:lnTo>
                  <a:pt x="744" y="810"/>
                </a:lnTo>
                <a:lnTo>
                  <a:pt x="756" y="810"/>
                </a:lnTo>
                <a:lnTo>
                  <a:pt x="762" y="804"/>
                </a:lnTo>
                <a:lnTo>
                  <a:pt x="846" y="804"/>
                </a:lnTo>
                <a:lnTo>
                  <a:pt x="1056" y="558"/>
                </a:lnTo>
                <a:lnTo>
                  <a:pt x="984" y="564"/>
                </a:lnTo>
                <a:lnTo>
                  <a:pt x="948" y="546"/>
                </a:lnTo>
                <a:lnTo>
                  <a:pt x="936" y="534"/>
                </a:lnTo>
                <a:lnTo>
                  <a:pt x="918" y="528"/>
                </a:lnTo>
                <a:lnTo>
                  <a:pt x="906" y="522"/>
                </a:lnTo>
                <a:lnTo>
                  <a:pt x="882" y="516"/>
                </a:lnTo>
                <a:lnTo>
                  <a:pt x="810" y="492"/>
                </a:lnTo>
                <a:lnTo>
                  <a:pt x="774" y="474"/>
                </a:lnTo>
                <a:lnTo>
                  <a:pt x="768" y="462"/>
                </a:lnTo>
                <a:lnTo>
                  <a:pt x="762" y="456"/>
                </a:lnTo>
                <a:lnTo>
                  <a:pt x="756" y="444"/>
                </a:lnTo>
                <a:lnTo>
                  <a:pt x="732" y="444"/>
                </a:lnTo>
                <a:lnTo>
                  <a:pt x="732" y="438"/>
                </a:lnTo>
                <a:lnTo>
                  <a:pt x="726" y="432"/>
                </a:lnTo>
                <a:lnTo>
                  <a:pt x="714" y="408"/>
                </a:lnTo>
                <a:lnTo>
                  <a:pt x="708" y="402"/>
                </a:lnTo>
                <a:lnTo>
                  <a:pt x="702" y="390"/>
                </a:lnTo>
                <a:lnTo>
                  <a:pt x="696" y="384"/>
                </a:lnTo>
                <a:lnTo>
                  <a:pt x="690" y="372"/>
                </a:lnTo>
                <a:lnTo>
                  <a:pt x="690" y="360"/>
                </a:lnTo>
                <a:lnTo>
                  <a:pt x="678" y="348"/>
                </a:lnTo>
                <a:lnTo>
                  <a:pt x="696" y="318"/>
                </a:lnTo>
                <a:lnTo>
                  <a:pt x="690" y="312"/>
                </a:lnTo>
                <a:lnTo>
                  <a:pt x="678" y="306"/>
                </a:lnTo>
                <a:lnTo>
                  <a:pt x="666" y="306"/>
                </a:lnTo>
                <a:lnTo>
                  <a:pt x="660" y="312"/>
                </a:lnTo>
                <a:lnTo>
                  <a:pt x="654" y="312"/>
                </a:lnTo>
                <a:lnTo>
                  <a:pt x="648" y="318"/>
                </a:lnTo>
                <a:lnTo>
                  <a:pt x="624" y="318"/>
                </a:lnTo>
                <a:lnTo>
                  <a:pt x="612" y="306"/>
                </a:lnTo>
                <a:lnTo>
                  <a:pt x="612" y="294"/>
                </a:lnTo>
                <a:lnTo>
                  <a:pt x="606" y="276"/>
                </a:lnTo>
                <a:lnTo>
                  <a:pt x="606" y="264"/>
                </a:lnTo>
                <a:lnTo>
                  <a:pt x="624" y="246"/>
                </a:lnTo>
                <a:lnTo>
                  <a:pt x="654" y="192"/>
                </a:lnTo>
                <a:lnTo>
                  <a:pt x="642" y="174"/>
                </a:lnTo>
                <a:lnTo>
                  <a:pt x="630" y="174"/>
                </a:lnTo>
                <a:lnTo>
                  <a:pt x="618" y="168"/>
                </a:lnTo>
                <a:lnTo>
                  <a:pt x="612" y="162"/>
                </a:lnTo>
                <a:lnTo>
                  <a:pt x="612" y="138"/>
                </a:lnTo>
                <a:lnTo>
                  <a:pt x="600" y="126"/>
                </a:lnTo>
                <a:lnTo>
                  <a:pt x="576" y="114"/>
                </a:lnTo>
                <a:lnTo>
                  <a:pt x="570" y="108"/>
                </a:lnTo>
                <a:lnTo>
                  <a:pt x="546" y="72"/>
                </a:lnTo>
                <a:lnTo>
                  <a:pt x="534" y="66"/>
                </a:lnTo>
                <a:lnTo>
                  <a:pt x="528" y="60"/>
                </a:lnTo>
                <a:lnTo>
                  <a:pt x="516" y="60"/>
                </a:lnTo>
                <a:lnTo>
                  <a:pt x="498" y="36"/>
                </a:lnTo>
                <a:lnTo>
                  <a:pt x="468" y="36"/>
                </a:lnTo>
                <a:lnTo>
                  <a:pt x="462" y="30"/>
                </a:lnTo>
                <a:lnTo>
                  <a:pt x="444" y="30"/>
                </a:lnTo>
                <a:lnTo>
                  <a:pt x="432" y="36"/>
                </a:lnTo>
                <a:lnTo>
                  <a:pt x="420" y="36"/>
                </a:lnTo>
                <a:lnTo>
                  <a:pt x="420" y="24"/>
                </a:lnTo>
                <a:lnTo>
                  <a:pt x="414" y="18"/>
                </a:lnTo>
                <a:lnTo>
                  <a:pt x="408" y="24"/>
                </a:lnTo>
                <a:lnTo>
                  <a:pt x="402" y="36"/>
                </a:lnTo>
                <a:lnTo>
                  <a:pt x="372" y="36"/>
                </a:lnTo>
                <a:lnTo>
                  <a:pt x="366" y="24"/>
                </a:lnTo>
                <a:lnTo>
                  <a:pt x="360" y="18"/>
                </a:lnTo>
                <a:lnTo>
                  <a:pt x="354" y="18"/>
                </a:lnTo>
                <a:lnTo>
                  <a:pt x="342" y="6"/>
                </a:lnTo>
                <a:lnTo>
                  <a:pt x="330" y="0"/>
                </a:lnTo>
                <a:lnTo>
                  <a:pt x="330" y="12"/>
                </a:lnTo>
                <a:lnTo>
                  <a:pt x="324" y="24"/>
                </a:lnTo>
                <a:lnTo>
                  <a:pt x="318" y="42"/>
                </a:lnTo>
                <a:lnTo>
                  <a:pt x="318" y="54"/>
                </a:lnTo>
                <a:lnTo>
                  <a:pt x="306" y="66"/>
                </a:lnTo>
                <a:lnTo>
                  <a:pt x="288" y="48"/>
                </a:lnTo>
                <a:lnTo>
                  <a:pt x="288" y="42"/>
                </a:lnTo>
                <a:lnTo>
                  <a:pt x="282" y="36"/>
                </a:lnTo>
                <a:lnTo>
                  <a:pt x="276" y="36"/>
                </a:lnTo>
                <a:lnTo>
                  <a:pt x="276" y="42"/>
                </a:lnTo>
                <a:lnTo>
                  <a:pt x="270" y="48"/>
                </a:lnTo>
                <a:lnTo>
                  <a:pt x="234" y="48"/>
                </a:lnTo>
                <a:lnTo>
                  <a:pt x="234" y="90"/>
                </a:lnTo>
                <a:lnTo>
                  <a:pt x="228" y="96"/>
                </a:lnTo>
                <a:lnTo>
                  <a:pt x="222" y="108"/>
                </a:lnTo>
                <a:lnTo>
                  <a:pt x="216" y="114"/>
                </a:lnTo>
                <a:lnTo>
                  <a:pt x="210" y="126"/>
                </a:lnTo>
                <a:lnTo>
                  <a:pt x="210" y="174"/>
                </a:lnTo>
                <a:lnTo>
                  <a:pt x="180" y="174"/>
                </a:lnTo>
                <a:lnTo>
                  <a:pt x="174" y="180"/>
                </a:lnTo>
                <a:lnTo>
                  <a:pt x="168" y="192"/>
                </a:lnTo>
                <a:lnTo>
                  <a:pt x="162" y="198"/>
                </a:lnTo>
                <a:lnTo>
                  <a:pt x="162" y="234"/>
                </a:lnTo>
                <a:lnTo>
                  <a:pt x="156" y="240"/>
                </a:lnTo>
                <a:lnTo>
                  <a:pt x="144" y="240"/>
                </a:lnTo>
                <a:lnTo>
                  <a:pt x="138" y="246"/>
                </a:lnTo>
                <a:lnTo>
                  <a:pt x="138" y="270"/>
                </a:lnTo>
                <a:lnTo>
                  <a:pt x="126" y="288"/>
                </a:lnTo>
                <a:lnTo>
                  <a:pt x="126" y="294"/>
                </a:lnTo>
                <a:lnTo>
                  <a:pt x="132" y="300"/>
                </a:lnTo>
                <a:lnTo>
                  <a:pt x="132" y="336"/>
                </a:lnTo>
                <a:lnTo>
                  <a:pt x="126" y="342"/>
                </a:lnTo>
                <a:lnTo>
                  <a:pt x="114" y="342"/>
                </a:lnTo>
                <a:lnTo>
                  <a:pt x="108" y="336"/>
                </a:lnTo>
                <a:lnTo>
                  <a:pt x="108" y="324"/>
                </a:lnTo>
                <a:lnTo>
                  <a:pt x="102" y="324"/>
                </a:lnTo>
                <a:lnTo>
                  <a:pt x="84" y="342"/>
                </a:lnTo>
                <a:lnTo>
                  <a:pt x="84" y="360"/>
                </a:lnTo>
                <a:lnTo>
                  <a:pt x="90" y="372"/>
                </a:lnTo>
                <a:lnTo>
                  <a:pt x="90" y="390"/>
                </a:lnTo>
                <a:lnTo>
                  <a:pt x="84" y="396"/>
                </a:lnTo>
                <a:lnTo>
                  <a:pt x="72" y="402"/>
                </a:lnTo>
                <a:lnTo>
                  <a:pt x="66" y="414"/>
                </a:lnTo>
                <a:lnTo>
                  <a:pt x="66" y="426"/>
                </a:lnTo>
                <a:lnTo>
                  <a:pt x="72" y="438"/>
                </a:lnTo>
                <a:lnTo>
                  <a:pt x="72" y="450"/>
                </a:lnTo>
                <a:lnTo>
                  <a:pt x="78" y="456"/>
                </a:lnTo>
                <a:lnTo>
                  <a:pt x="78" y="492"/>
                </a:lnTo>
                <a:lnTo>
                  <a:pt x="72" y="504"/>
                </a:lnTo>
                <a:lnTo>
                  <a:pt x="72" y="516"/>
                </a:lnTo>
                <a:lnTo>
                  <a:pt x="66" y="522"/>
                </a:lnTo>
                <a:lnTo>
                  <a:pt x="54" y="522"/>
                </a:lnTo>
                <a:lnTo>
                  <a:pt x="48" y="528"/>
                </a:lnTo>
                <a:lnTo>
                  <a:pt x="42" y="522"/>
                </a:lnTo>
                <a:lnTo>
                  <a:pt x="6" y="522"/>
                </a:lnTo>
                <a:lnTo>
                  <a:pt x="12" y="546"/>
                </a:lnTo>
                <a:lnTo>
                  <a:pt x="6" y="552"/>
                </a:lnTo>
                <a:lnTo>
                  <a:pt x="0" y="564"/>
                </a:lnTo>
                <a:lnTo>
                  <a:pt x="0" y="576"/>
                </a:lnTo>
                <a:lnTo>
                  <a:pt x="6" y="576"/>
                </a:lnTo>
                <a:lnTo>
                  <a:pt x="18" y="582"/>
                </a:lnTo>
                <a:lnTo>
                  <a:pt x="42" y="582"/>
                </a:lnTo>
                <a:lnTo>
                  <a:pt x="48" y="588"/>
                </a:lnTo>
                <a:lnTo>
                  <a:pt x="60" y="594"/>
                </a:lnTo>
                <a:lnTo>
                  <a:pt x="66" y="606"/>
                </a:lnTo>
                <a:lnTo>
                  <a:pt x="78" y="612"/>
                </a:lnTo>
                <a:lnTo>
                  <a:pt x="78" y="630"/>
                </a:lnTo>
                <a:lnTo>
                  <a:pt x="84" y="6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7" name="Estonia"/>
          <p:cNvSpPr>
            <a:spLocks noEditPoints="1"/>
          </p:cNvSpPr>
          <p:nvPr/>
        </p:nvSpPr>
        <p:spPr bwMode="gray">
          <a:xfrm>
            <a:off x="4577621" y="2350168"/>
            <a:ext cx="139700" cy="61912"/>
          </a:xfrm>
          <a:custGeom>
            <a:avLst/>
            <a:gdLst>
              <a:gd name="T0" fmla="*/ 2147483647 w 348"/>
              <a:gd name="T1" fmla="*/ 2147483647 h 156"/>
              <a:gd name="T2" fmla="*/ 2147483647 w 348"/>
              <a:gd name="T3" fmla="*/ 2147483647 h 156"/>
              <a:gd name="T4" fmla="*/ 2147483647 w 348"/>
              <a:gd name="T5" fmla="*/ 2147483647 h 156"/>
              <a:gd name="T6" fmla="*/ 2147483647 w 348"/>
              <a:gd name="T7" fmla="*/ 2147483647 h 156"/>
              <a:gd name="T8" fmla="*/ 2147483647 w 348"/>
              <a:gd name="T9" fmla="*/ 2147483647 h 156"/>
              <a:gd name="T10" fmla="*/ 2147483647 w 348"/>
              <a:gd name="T11" fmla="*/ 2147483647 h 156"/>
              <a:gd name="T12" fmla="*/ 2147483647 w 348"/>
              <a:gd name="T13" fmla="*/ 2147483647 h 156"/>
              <a:gd name="T14" fmla="*/ 2147483647 w 348"/>
              <a:gd name="T15" fmla="*/ 0 h 156"/>
              <a:gd name="T16" fmla="*/ 2147483647 w 348"/>
              <a:gd name="T17" fmla="*/ 2147483647 h 156"/>
              <a:gd name="T18" fmla="*/ 2147483647 w 348"/>
              <a:gd name="T19" fmla="*/ 2147483647 h 156"/>
              <a:gd name="T20" fmla="*/ 2147483647 w 348"/>
              <a:gd name="T21" fmla="*/ 2147483647 h 156"/>
              <a:gd name="T22" fmla="*/ 2147483647 w 348"/>
              <a:gd name="T23" fmla="*/ 2147483647 h 156"/>
              <a:gd name="T24" fmla="*/ 2147483647 w 348"/>
              <a:gd name="T25" fmla="*/ 2147483647 h 156"/>
              <a:gd name="T26" fmla="*/ 2147483647 w 348"/>
              <a:gd name="T27" fmla="*/ 2147483647 h 156"/>
              <a:gd name="T28" fmla="*/ 2147483647 w 348"/>
              <a:gd name="T29" fmla="*/ 2147483647 h 156"/>
              <a:gd name="T30" fmla="*/ 2147483647 w 348"/>
              <a:gd name="T31" fmla="*/ 2147483647 h 156"/>
              <a:gd name="T32" fmla="*/ 2147483647 w 348"/>
              <a:gd name="T33" fmla="*/ 2147483647 h 156"/>
              <a:gd name="T34" fmla="*/ 2147483647 w 348"/>
              <a:gd name="T35" fmla="*/ 2147483647 h 156"/>
              <a:gd name="T36" fmla="*/ 2147483647 w 348"/>
              <a:gd name="T37" fmla="*/ 2147483647 h 156"/>
              <a:gd name="T38" fmla="*/ 2147483647 w 348"/>
              <a:gd name="T39" fmla="*/ 2147483647 h 156"/>
              <a:gd name="T40" fmla="*/ 2147483647 w 348"/>
              <a:gd name="T41" fmla="*/ 2147483647 h 156"/>
              <a:gd name="T42" fmla="*/ 2147483647 w 348"/>
              <a:gd name="T43" fmla="*/ 2147483647 h 156"/>
              <a:gd name="T44" fmla="*/ 2147483647 w 348"/>
              <a:gd name="T45" fmla="*/ 2147483647 h 156"/>
              <a:gd name="T46" fmla="*/ 2147483647 w 348"/>
              <a:gd name="T47" fmla="*/ 2147483647 h 156"/>
              <a:gd name="T48" fmla="*/ 0 w 348"/>
              <a:gd name="T49" fmla="*/ 2147483647 h 156"/>
              <a:gd name="T50" fmla="*/ 2147483647 w 348"/>
              <a:gd name="T51" fmla="*/ 2147483647 h 156"/>
              <a:gd name="T52" fmla="*/ 2147483647 w 348"/>
              <a:gd name="T53" fmla="*/ 2147483647 h 156"/>
              <a:gd name="T54" fmla="*/ 2147483647 w 348"/>
              <a:gd name="T55" fmla="*/ 2147483647 h 156"/>
              <a:gd name="T56" fmla="*/ 2147483647 w 348"/>
              <a:gd name="T57" fmla="*/ 2147483647 h 156"/>
              <a:gd name="T58" fmla="*/ 2147483647 w 348"/>
              <a:gd name="T59" fmla="*/ 2147483647 h 156"/>
              <a:gd name="T60" fmla="*/ 2147483647 w 348"/>
              <a:gd name="T61" fmla="*/ 2147483647 h 156"/>
              <a:gd name="T62" fmla="*/ 2147483647 w 348"/>
              <a:gd name="T63" fmla="*/ 2147483647 h 156"/>
              <a:gd name="T64" fmla="*/ 2147483647 w 348"/>
              <a:gd name="T65" fmla="*/ 2147483647 h 156"/>
              <a:gd name="T66" fmla="*/ 2147483647 w 348"/>
              <a:gd name="T67" fmla="*/ 2147483647 h 156"/>
              <a:gd name="T68" fmla="*/ 2147483647 w 348"/>
              <a:gd name="T69" fmla="*/ 2147483647 h 156"/>
              <a:gd name="T70" fmla="*/ 2147483647 w 348"/>
              <a:gd name="T71" fmla="*/ 2147483647 h 15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48"/>
              <a:gd name="T109" fmla="*/ 0 h 156"/>
              <a:gd name="T110" fmla="*/ 348 w 348"/>
              <a:gd name="T111" fmla="*/ 156 h 15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48" h="156">
                <a:moveTo>
                  <a:pt x="336" y="114"/>
                </a:moveTo>
                <a:lnTo>
                  <a:pt x="324" y="108"/>
                </a:lnTo>
                <a:lnTo>
                  <a:pt x="336" y="84"/>
                </a:lnTo>
                <a:lnTo>
                  <a:pt x="318" y="78"/>
                </a:lnTo>
                <a:lnTo>
                  <a:pt x="318" y="60"/>
                </a:lnTo>
                <a:lnTo>
                  <a:pt x="330" y="48"/>
                </a:lnTo>
                <a:lnTo>
                  <a:pt x="336" y="48"/>
                </a:lnTo>
                <a:lnTo>
                  <a:pt x="342" y="42"/>
                </a:lnTo>
                <a:lnTo>
                  <a:pt x="336" y="30"/>
                </a:lnTo>
                <a:lnTo>
                  <a:pt x="342" y="18"/>
                </a:lnTo>
                <a:lnTo>
                  <a:pt x="330" y="12"/>
                </a:lnTo>
                <a:lnTo>
                  <a:pt x="312" y="12"/>
                </a:lnTo>
                <a:lnTo>
                  <a:pt x="294" y="6"/>
                </a:lnTo>
                <a:lnTo>
                  <a:pt x="276" y="6"/>
                </a:lnTo>
                <a:lnTo>
                  <a:pt x="264" y="0"/>
                </a:lnTo>
                <a:lnTo>
                  <a:pt x="204" y="0"/>
                </a:lnTo>
                <a:lnTo>
                  <a:pt x="192" y="6"/>
                </a:lnTo>
                <a:lnTo>
                  <a:pt x="156" y="6"/>
                </a:lnTo>
                <a:lnTo>
                  <a:pt x="150" y="12"/>
                </a:lnTo>
                <a:lnTo>
                  <a:pt x="126" y="24"/>
                </a:lnTo>
                <a:lnTo>
                  <a:pt x="108" y="30"/>
                </a:lnTo>
                <a:lnTo>
                  <a:pt x="96" y="36"/>
                </a:lnTo>
                <a:lnTo>
                  <a:pt x="90" y="36"/>
                </a:lnTo>
                <a:lnTo>
                  <a:pt x="84" y="42"/>
                </a:lnTo>
                <a:lnTo>
                  <a:pt x="84" y="48"/>
                </a:lnTo>
                <a:lnTo>
                  <a:pt x="90" y="60"/>
                </a:lnTo>
                <a:lnTo>
                  <a:pt x="90" y="72"/>
                </a:lnTo>
                <a:lnTo>
                  <a:pt x="96" y="78"/>
                </a:lnTo>
                <a:lnTo>
                  <a:pt x="96" y="84"/>
                </a:lnTo>
                <a:lnTo>
                  <a:pt x="150" y="90"/>
                </a:lnTo>
                <a:lnTo>
                  <a:pt x="138" y="126"/>
                </a:lnTo>
                <a:lnTo>
                  <a:pt x="150" y="126"/>
                </a:lnTo>
                <a:lnTo>
                  <a:pt x="180" y="114"/>
                </a:lnTo>
                <a:lnTo>
                  <a:pt x="210" y="114"/>
                </a:lnTo>
                <a:lnTo>
                  <a:pt x="234" y="126"/>
                </a:lnTo>
                <a:lnTo>
                  <a:pt x="240" y="132"/>
                </a:lnTo>
                <a:lnTo>
                  <a:pt x="252" y="138"/>
                </a:lnTo>
                <a:lnTo>
                  <a:pt x="270" y="156"/>
                </a:lnTo>
                <a:lnTo>
                  <a:pt x="288" y="156"/>
                </a:lnTo>
                <a:lnTo>
                  <a:pt x="294" y="150"/>
                </a:lnTo>
                <a:lnTo>
                  <a:pt x="312" y="150"/>
                </a:lnTo>
                <a:lnTo>
                  <a:pt x="318" y="156"/>
                </a:lnTo>
                <a:lnTo>
                  <a:pt x="330" y="156"/>
                </a:lnTo>
                <a:lnTo>
                  <a:pt x="330" y="144"/>
                </a:lnTo>
                <a:lnTo>
                  <a:pt x="348" y="132"/>
                </a:lnTo>
                <a:lnTo>
                  <a:pt x="336" y="114"/>
                </a:lnTo>
                <a:close/>
                <a:moveTo>
                  <a:pt x="36" y="78"/>
                </a:moveTo>
                <a:lnTo>
                  <a:pt x="6" y="78"/>
                </a:lnTo>
                <a:lnTo>
                  <a:pt x="0" y="84"/>
                </a:lnTo>
                <a:lnTo>
                  <a:pt x="0" y="102"/>
                </a:lnTo>
                <a:lnTo>
                  <a:pt x="6" y="108"/>
                </a:lnTo>
                <a:lnTo>
                  <a:pt x="18" y="132"/>
                </a:lnTo>
                <a:lnTo>
                  <a:pt x="24" y="126"/>
                </a:lnTo>
                <a:lnTo>
                  <a:pt x="30" y="114"/>
                </a:lnTo>
                <a:lnTo>
                  <a:pt x="42" y="108"/>
                </a:lnTo>
                <a:lnTo>
                  <a:pt x="54" y="108"/>
                </a:lnTo>
                <a:lnTo>
                  <a:pt x="60" y="102"/>
                </a:lnTo>
                <a:lnTo>
                  <a:pt x="72" y="96"/>
                </a:lnTo>
                <a:lnTo>
                  <a:pt x="78" y="90"/>
                </a:lnTo>
                <a:lnTo>
                  <a:pt x="72" y="72"/>
                </a:lnTo>
                <a:lnTo>
                  <a:pt x="36" y="78"/>
                </a:lnTo>
                <a:close/>
                <a:moveTo>
                  <a:pt x="36" y="66"/>
                </a:moveTo>
                <a:lnTo>
                  <a:pt x="48" y="66"/>
                </a:lnTo>
                <a:lnTo>
                  <a:pt x="54" y="54"/>
                </a:lnTo>
                <a:lnTo>
                  <a:pt x="60" y="48"/>
                </a:lnTo>
                <a:lnTo>
                  <a:pt x="60" y="42"/>
                </a:lnTo>
                <a:lnTo>
                  <a:pt x="54" y="36"/>
                </a:lnTo>
                <a:lnTo>
                  <a:pt x="48" y="36"/>
                </a:lnTo>
                <a:lnTo>
                  <a:pt x="36" y="42"/>
                </a:lnTo>
                <a:lnTo>
                  <a:pt x="30" y="48"/>
                </a:lnTo>
                <a:lnTo>
                  <a:pt x="24" y="60"/>
                </a:lnTo>
                <a:lnTo>
                  <a:pt x="30" y="66"/>
                </a:lnTo>
                <a:lnTo>
                  <a:pt x="36" y="6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8" name="Eritrea"/>
          <p:cNvSpPr>
            <a:spLocks/>
          </p:cNvSpPr>
          <p:nvPr/>
        </p:nvSpPr>
        <p:spPr bwMode="gray">
          <a:xfrm>
            <a:off x="5050696" y="3674143"/>
            <a:ext cx="193675" cy="184150"/>
          </a:xfrm>
          <a:custGeom>
            <a:avLst/>
            <a:gdLst>
              <a:gd name="T0" fmla="*/ 2147483647 w 480"/>
              <a:gd name="T1" fmla="*/ 2147483647 h 456"/>
              <a:gd name="T2" fmla="*/ 2147483647 w 480"/>
              <a:gd name="T3" fmla="*/ 2147483647 h 456"/>
              <a:gd name="T4" fmla="*/ 2147483647 w 480"/>
              <a:gd name="T5" fmla="*/ 2147483647 h 456"/>
              <a:gd name="T6" fmla="*/ 2147483647 w 480"/>
              <a:gd name="T7" fmla="*/ 2147483647 h 456"/>
              <a:gd name="T8" fmla="*/ 2147483647 w 480"/>
              <a:gd name="T9" fmla="*/ 2147483647 h 456"/>
              <a:gd name="T10" fmla="*/ 2147483647 w 480"/>
              <a:gd name="T11" fmla="*/ 2147483647 h 456"/>
              <a:gd name="T12" fmla="*/ 2147483647 w 480"/>
              <a:gd name="T13" fmla="*/ 2147483647 h 456"/>
              <a:gd name="T14" fmla="*/ 2147483647 w 480"/>
              <a:gd name="T15" fmla="*/ 2147483647 h 456"/>
              <a:gd name="T16" fmla="*/ 0 w 480"/>
              <a:gd name="T17" fmla="*/ 2147483647 h 456"/>
              <a:gd name="T18" fmla="*/ 2147483647 w 480"/>
              <a:gd name="T19" fmla="*/ 2147483647 h 456"/>
              <a:gd name="T20" fmla="*/ 2147483647 w 480"/>
              <a:gd name="T21" fmla="*/ 2147483647 h 456"/>
              <a:gd name="T22" fmla="*/ 2147483647 w 480"/>
              <a:gd name="T23" fmla="*/ 2147483647 h 456"/>
              <a:gd name="T24" fmla="*/ 2147483647 w 480"/>
              <a:gd name="T25" fmla="*/ 2147483647 h 456"/>
              <a:gd name="T26" fmla="*/ 2147483647 w 480"/>
              <a:gd name="T27" fmla="*/ 2147483647 h 456"/>
              <a:gd name="T28" fmla="*/ 2147483647 w 480"/>
              <a:gd name="T29" fmla="*/ 2147483647 h 456"/>
              <a:gd name="T30" fmla="*/ 2147483647 w 480"/>
              <a:gd name="T31" fmla="*/ 2147483647 h 456"/>
              <a:gd name="T32" fmla="*/ 2147483647 w 480"/>
              <a:gd name="T33" fmla="*/ 2147483647 h 456"/>
              <a:gd name="T34" fmla="*/ 2147483647 w 480"/>
              <a:gd name="T35" fmla="*/ 2147483647 h 456"/>
              <a:gd name="T36" fmla="*/ 2147483647 w 480"/>
              <a:gd name="T37" fmla="*/ 2147483647 h 456"/>
              <a:gd name="T38" fmla="*/ 2147483647 w 480"/>
              <a:gd name="T39" fmla="*/ 2147483647 h 456"/>
              <a:gd name="T40" fmla="*/ 2147483647 w 480"/>
              <a:gd name="T41" fmla="*/ 2147483647 h 456"/>
              <a:gd name="T42" fmla="*/ 2147483647 w 480"/>
              <a:gd name="T43" fmla="*/ 2147483647 h 456"/>
              <a:gd name="T44" fmla="*/ 2147483647 w 480"/>
              <a:gd name="T45" fmla="*/ 2147483647 h 456"/>
              <a:gd name="T46" fmla="*/ 2147483647 w 480"/>
              <a:gd name="T47" fmla="*/ 2147483647 h 456"/>
              <a:gd name="T48" fmla="*/ 2147483647 w 480"/>
              <a:gd name="T49" fmla="*/ 2147483647 h 456"/>
              <a:gd name="T50" fmla="*/ 2147483647 w 480"/>
              <a:gd name="T51" fmla="*/ 2147483647 h 456"/>
              <a:gd name="T52" fmla="*/ 2147483647 w 480"/>
              <a:gd name="T53" fmla="*/ 2147483647 h 456"/>
              <a:gd name="T54" fmla="*/ 2147483647 w 480"/>
              <a:gd name="T55" fmla="*/ 2147483647 h 456"/>
              <a:gd name="T56" fmla="*/ 2147483647 w 480"/>
              <a:gd name="T57" fmla="*/ 2147483647 h 456"/>
              <a:gd name="T58" fmla="*/ 2147483647 w 480"/>
              <a:gd name="T59" fmla="*/ 2147483647 h 456"/>
              <a:gd name="T60" fmla="*/ 2147483647 w 480"/>
              <a:gd name="T61" fmla="*/ 2147483647 h 456"/>
              <a:gd name="T62" fmla="*/ 2147483647 w 480"/>
              <a:gd name="T63" fmla="*/ 2147483647 h 456"/>
              <a:gd name="T64" fmla="*/ 2147483647 w 480"/>
              <a:gd name="T65" fmla="*/ 2147483647 h 456"/>
              <a:gd name="T66" fmla="*/ 2147483647 w 480"/>
              <a:gd name="T67" fmla="*/ 2147483647 h 456"/>
              <a:gd name="T68" fmla="*/ 2147483647 w 480"/>
              <a:gd name="T69" fmla="*/ 2147483647 h 456"/>
              <a:gd name="T70" fmla="*/ 2147483647 w 480"/>
              <a:gd name="T71" fmla="*/ 2147483647 h 456"/>
              <a:gd name="T72" fmla="*/ 2147483647 w 480"/>
              <a:gd name="T73" fmla="*/ 2147483647 h 456"/>
              <a:gd name="T74" fmla="*/ 2147483647 w 480"/>
              <a:gd name="T75" fmla="*/ 2147483647 h 456"/>
              <a:gd name="T76" fmla="*/ 2147483647 w 480"/>
              <a:gd name="T77" fmla="*/ 2147483647 h 456"/>
              <a:gd name="T78" fmla="*/ 2147483647 w 480"/>
              <a:gd name="T79" fmla="*/ 2147483647 h 456"/>
              <a:gd name="T80" fmla="*/ 2147483647 w 480"/>
              <a:gd name="T81" fmla="*/ 2147483647 h 456"/>
              <a:gd name="T82" fmla="*/ 2147483647 w 480"/>
              <a:gd name="T83" fmla="*/ 2147483647 h 456"/>
              <a:gd name="T84" fmla="*/ 2147483647 w 480"/>
              <a:gd name="T85" fmla="*/ 2147483647 h 456"/>
              <a:gd name="T86" fmla="*/ 2147483647 w 480"/>
              <a:gd name="T87" fmla="*/ 2147483647 h 456"/>
              <a:gd name="T88" fmla="*/ 2147483647 w 480"/>
              <a:gd name="T89" fmla="*/ 2147483647 h 456"/>
              <a:gd name="T90" fmla="*/ 2147483647 w 480"/>
              <a:gd name="T91" fmla="*/ 2147483647 h 456"/>
              <a:gd name="T92" fmla="*/ 2147483647 w 480"/>
              <a:gd name="T93" fmla="*/ 2147483647 h 456"/>
              <a:gd name="T94" fmla="*/ 2147483647 w 480"/>
              <a:gd name="T95" fmla="*/ 2147483647 h 456"/>
              <a:gd name="T96" fmla="*/ 2147483647 w 480"/>
              <a:gd name="T97" fmla="*/ 0 h 456"/>
              <a:gd name="T98" fmla="*/ 2147483647 w 480"/>
              <a:gd name="T99" fmla="*/ 2147483647 h 456"/>
              <a:gd name="T100" fmla="*/ 2147483647 w 480"/>
              <a:gd name="T101" fmla="*/ 2147483647 h 456"/>
              <a:gd name="T102" fmla="*/ 2147483647 w 480"/>
              <a:gd name="T103" fmla="*/ 2147483647 h 45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80"/>
              <a:gd name="T157" fmla="*/ 0 h 456"/>
              <a:gd name="T158" fmla="*/ 480 w 480"/>
              <a:gd name="T159" fmla="*/ 456 h 45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80" h="456">
                <a:moveTo>
                  <a:pt x="78" y="54"/>
                </a:moveTo>
                <a:lnTo>
                  <a:pt x="78" y="66"/>
                </a:lnTo>
                <a:lnTo>
                  <a:pt x="72" y="72"/>
                </a:lnTo>
                <a:lnTo>
                  <a:pt x="72" y="78"/>
                </a:lnTo>
                <a:lnTo>
                  <a:pt x="66" y="84"/>
                </a:lnTo>
                <a:lnTo>
                  <a:pt x="48" y="84"/>
                </a:lnTo>
                <a:lnTo>
                  <a:pt x="48" y="102"/>
                </a:lnTo>
                <a:lnTo>
                  <a:pt x="42" y="108"/>
                </a:lnTo>
                <a:lnTo>
                  <a:pt x="30" y="108"/>
                </a:lnTo>
                <a:lnTo>
                  <a:pt x="30" y="120"/>
                </a:lnTo>
                <a:lnTo>
                  <a:pt x="36" y="126"/>
                </a:lnTo>
                <a:lnTo>
                  <a:pt x="36" y="168"/>
                </a:lnTo>
                <a:lnTo>
                  <a:pt x="30" y="180"/>
                </a:lnTo>
                <a:lnTo>
                  <a:pt x="24" y="186"/>
                </a:lnTo>
                <a:lnTo>
                  <a:pt x="18" y="186"/>
                </a:lnTo>
                <a:lnTo>
                  <a:pt x="18" y="222"/>
                </a:lnTo>
                <a:lnTo>
                  <a:pt x="12" y="222"/>
                </a:lnTo>
                <a:lnTo>
                  <a:pt x="0" y="228"/>
                </a:lnTo>
                <a:lnTo>
                  <a:pt x="0" y="246"/>
                </a:lnTo>
                <a:lnTo>
                  <a:pt x="6" y="252"/>
                </a:lnTo>
                <a:lnTo>
                  <a:pt x="12" y="300"/>
                </a:lnTo>
                <a:lnTo>
                  <a:pt x="48" y="300"/>
                </a:lnTo>
                <a:lnTo>
                  <a:pt x="54" y="294"/>
                </a:lnTo>
                <a:lnTo>
                  <a:pt x="54" y="288"/>
                </a:lnTo>
                <a:lnTo>
                  <a:pt x="60" y="288"/>
                </a:lnTo>
                <a:lnTo>
                  <a:pt x="66" y="294"/>
                </a:lnTo>
                <a:lnTo>
                  <a:pt x="66" y="300"/>
                </a:lnTo>
                <a:lnTo>
                  <a:pt x="84" y="318"/>
                </a:lnTo>
                <a:lnTo>
                  <a:pt x="96" y="306"/>
                </a:lnTo>
                <a:lnTo>
                  <a:pt x="96" y="294"/>
                </a:lnTo>
                <a:lnTo>
                  <a:pt x="102" y="276"/>
                </a:lnTo>
                <a:lnTo>
                  <a:pt x="108" y="264"/>
                </a:lnTo>
                <a:lnTo>
                  <a:pt x="108" y="252"/>
                </a:lnTo>
                <a:lnTo>
                  <a:pt x="120" y="258"/>
                </a:lnTo>
                <a:lnTo>
                  <a:pt x="132" y="270"/>
                </a:lnTo>
                <a:lnTo>
                  <a:pt x="138" y="270"/>
                </a:lnTo>
                <a:lnTo>
                  <a:pt x="144" y="276"/>
                </a:lnTo>
                <a:lnTo>
                  <a:pt x="150" y="288"/>
                </a:lnTo>
                <a:lnTo>
                  <a:pt x="180" y="288"/>
                </a:lnTo>
                <a:lnTo>
                  <a:pt x="186" y="276"/>
                </a:lnTo>
                <a:lnTo>
                  <a:pt x="192" y="270"/>
                </a:lnTo>
                <a:lnTo>
                  <a:pt x="198" y="276"/>
                </a:lnTo>
                <a:lnTo>
                  <a:pt x="198" y="288"/>
                </a:lnTo>
                <a:lnTo>
                  <a:pt x="210" y="288"/>
                </a:lnTo>
                <a:lnTo>
                  <a:pt x="222" y="282"/>
                </a:lnTo>
                <a:lnTo>
                  <a:pt x="240" y="282"/>
                </a:lnTo>
                <a:lnTo>
                  <a:pt x="246" y="288"/>
                </a:lnTo>
                <a:lnTo>
                  <a:pt x="276" y="288"/>
                </a:lnTo>
                <a:lnTo>
                  <a:pt x="294" y="312"/>
                </a:lnTo>
                <a:lnTo>
                  <a:pt x="306" y="312"/>
                </a:lnTo>
                <a:lnTo>
                  <a:pt x="312" y="318"/>
                </a:lnTo>
                <a:lnTo>
                  <a:pt x="324" y="324"/>
                </a:lnTo>
                <a:lnTo>
                  <a:pt x="348" y="360"/>
                </a:lnTo>
                <a:lnTo>
                  <a:pt x="354" y="366"/>
                </a:lnTo>
                <a:lnTo>
                  <a:pt x="378" y="378"/>
                </a:lnTo>
                <a:lnTo>
                  <a:pt x="390" y="390"/>
                </a:lnTo>
                <a:lnTo>
                  <a:pt x="390" y="414"/>
                </a:lnTo>
                <a:lnTo>
                  <a:pt x="396" y="420"/>
                </a:lnTo>
                <a:lnTo>
                  <a:pt x="408" y="426"/>
                </a:lnTo>
                <a:lnTo>
                  <a:pt x="420" y="426"/>
                </a:lnTo>
                <a:lnTo>
                  <a:pt x="432" y="444"/>
                </a:lnTo>
                <a:lnTo>
                  <a:pt x="456" y="456"/>
                </a:lnTo>
                <a:lnTo>
                  <a:pt x="468" y="438"/>
                </a:lnTo>
                <a:lnTo>
                  <a:pt x="480" y="432"/>
                </a:lnTo>
                <a:lnTo>
                  <a:pt x="474" y="420"/>
                </a:lnTo>
                <a:lnTo>
                  <a:pt x="456" y="402"/>
                </a:lnTo>
                <a:lnTo>
                  <a:pt x="432" y="402"/>
                </a:lnTo>
                <a:lnTo>
                  <a:pt x="426" y="396"/>
                </a:lnTo>
                <a:lnTo>
                  <a:pt x="426" y="360"/>
                </a:lnTo>
                <a:lnTo>
                  <a:pt x="420" y="360"/>
                </a:lnTo>
                <a:lnTo>
                  <a:pt x="414" y="354"/>
                </a:lnTo>
                <a:lnTo>
                  <a:pt x="366" y="330"/>
                </a:lnTo>
                <a:lnTo>
                  <a:pt x="360" y="324"/>
                </a:lnTo>
                <a:lnTo>
                  <a:pt x="360" y="312"/>
                </a:lnTo>
                <a:lnTo>
                  <a:pt x="354" y="300"/>
                </a:lnTo>
                <a:lnTo>
                  <a:pt x="354" y="288"/>
                </a:lnTo>
                <a:lnTo>
                  <a:pt x="348" y="276"/>
                </a:lnTo>
                <a:lnTo>
                  <a:pt x="348" y="270"/>
                </a:lnTo>
                <a:lnTo>
                  <a:pt x="336" y="270"/>
                </a:lnTo>
                <a:lnTo>
                  <a:pt x="324" y="264"/>
                </a:lnTo>
                <a:lnTo>
                  <a:pt x="306" y="264"/>
                </a:lnTo>
                <a:lnTo>
                  <a:pt x="282" y="240"/>
                </a:lnTo>
                <a:lnTo>
                  <a:pt x="264" y="246"/>
                </a:lnTo>
                <a:lnTo>
                  <a:pt x="252" y="228"/>
                </a:lnTo>
                <a:lnTo>
                  <a:pt x="234" y="222"/>
                </a:lnTo>
                <a:lnTo>
                  <a:pt x="216" y="204"/>
                </a:lnTo>
                <a:lnTo>
                  <a:pt x="210" y="192"/>
                </a:lnTo>
                <a:lnTo>
                  <a:pt x="204" y="186"/>
                </a:lnTo>
                <a:lnTo>
                  <a:pt x="198" y="174"/>
                </a:lnTo>
                <a:lnTo>
                  <a:pt x="198" y="114"/>
                </a:lnTo>
                <a:lnTo>
                  <a:pt x="192" y="90"/>
                </a:lnTo>
                <a:lnTo>
                  <a:pt x="186" y="78"/>
                </a:lnTo>
                <a:lnTo>
                  <a:pt x="180" y="60"/>
                </a:lnTo>
                <a:lnTo>
                  <a:pt x="168" y="42"/>
                </a:lnTo>
                <a:lnTo>
                  <a:pt x="162" y="24"/>
                </a:lnTo>
                <a:lnTo>
                  <a:pt x="156" y="12"/>
                </a:lnTo>
                <a:lnTo>
                  <a:pt x="150" y="6"/>
                </a:lnTo>
                <a:lnTo>
                  <a:pt x="150" y="0"/>
                </a:lnTo>
                <a:lnTo>
                  <a:pt x="144" y="0"/>
                </a:lnTo>
                <a:lnTo>
                  <a:pt x="144" y="12"/>
                </a:lnTo>
                <a:lnTo>
                  <a:pt x="132" y="36"/>
                </a:lnTo>
                <a:lnTo>
                  <a:pt x="108" y="48"/>
                </a:lnTo>
                <a:lnTo>
                  <a:pt x="90" y="54"/>
                </a:lnTo>
                <a:lnTo>
                  <a:pt x="78" y="5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49" name="El Salvador"/>
          <p:cNvSpPr>
            <a:spLocks/>
          </p:cNvSpPr>
          <p:nvPr/>
        </p:nvSpPr>
        <p:spPr bwMode="gray">
          <a:xfrm>
            <a:off x="1453421" y="3791618"/>
            <a:ext cx="68262" cy="44450"/>
          </a:xfrm>
          <a:custGeom>
            <a:avLst/>
            <a:gdLst>
              <a:gd name="T0" fmla="*/ 2147483647 w 174"/>
              <a:gd name="T1" fmla="*/ 2147483647 h 114"/>
              <a:gd name="T2" fmla="*/ 2147483647 w 174"/>
              <a:gd name="T3" fmla="*/ 2147483647 h 114"/>
              <a:gd name="T4" fmla="*/ 2147483647 w 174"/>
              <a:gd name="T5" fmla="*/ 2147483647 h 114"/>
              <a:gd name="T6" fmla="*/ 2147483647 w 174"/>
              <a:gd name="T7" fmla="*/ 2147483647 h 114"/>
              <a:gd name="T8" fmla="*/ 2147483647 w 174"/>
              <a:gd name="T9" fmla="*/ 2147483647 h 114"/>
              <a:gd name="T10" fmla="*/ 2147483647 w 174"/>
              <a:gd name="T11" fmla="*/ 2147483647 h 114"/>
              <a:gd name="T12" fmla="*/ 2147483647 w 174"/>
              <a:gd name="T13" fmla="*/ 2147483647 h 114"/>
              <a:gd name="T14" fmla="*/ 2147483647 w 174"/>
              <a:gd name="T15" fmla="*/ 2147483647 h 114"/>
              <a:gd name="T16" fmla="*/ 2147483647 w 174"/>
              <a:gd name="T17" fmla="*/ 2147483647 h 114"/>
              <a:gd name="T18" fmla="*/ 2147483647 w 174"/>
              <a:gd name="T19" fmla="*/ 0 h 114"/>
              <a:gd name="T20" fmla="*/ 2147483647 w 174"/>
              <a:gd name="T21" fmla="*/ 2147483647 h 114"/>
              <a:gd name="T22" fmla="*/ 2147483647 w 174"/>
              <a:gd name="T23" fmla="*/ 2147483647 h 114"/>
              <a:gd name="T24" fmla="*/ 2147483647 w 174"/>
              <a:gd name="T25" fmla="*/ 2147483647 h 114"/>
              <a:gd name="T26" fmla="*/ 2147483647 w 174"/>
              <a:gd name="T27" fmla="*/ 2147483647 h 114"/>
              <a:gd name="T28" fmla="*/ 2147483647 w 174"/>
              <a:gd name="T29" fmla="*/ 2147483647 h 114"/>
              <a:gd name="T30" fmla="*/ 2147483647 w 174"/>
              <a:gd name="T31" fmla="*/ 2147483647 h 114"/>
              <a:gd name="T32" fmla="*/ 2147483647 w 174"/>
              <a:gd name="T33" fmla="*/ 2147483647 h 114"/>
              <a:gd name="T34" fmla="*/ 2147483647 w 174"/>
              <a:gd name="T35" fmla="*/ 2147483647 h 114"/>
              <a:gd name="T36" fmla="*/ 0 w 174"/>
              <a:gd name="T37" fmla="*/ 2147483647 h 114"/>
              <a:gd name="T38" fmla="*/ 2147483647 w 174"/>
              <a:gd name="T39" fmla="*/ 2147483647 h 114"/>
              <a:gd name="T40" fmla="*/ 2147483647 w 174"/>
              <a:gd name="T41" fmla="*/ 2147483647 h 114"/>
              <a:gd name="T42" fmla="*/ 2147483647 w 174"/>
              <a:gd name="T43" fmla="*/ 2147483647 h 114"/>
              <a:gd name="T44" fmla="*/ 2147483647 w 174"/>
              <a:gd name="T45" fmla="*/ 2147483647 h 114"/>
              <a:gd name="T46" fmla="*/ 2147483647 w 174"/>
              <a:gd name="T47" fmla="*/ 2147483647 h 114"/>
              <a:gd name="T48" fmla="*/ 2147483647 w 174"/>
              <a:gd name="T49" fmla="*/ 2147483647 h 114"/>
              <a:gd name="T50" fmla="*/ 2147483647 w 174"/>
              <a:gd name="T51" fmla="*/ 2147483647 h 114"/>
              <a:gd name="T52" fmla="*/ 2147483647 w 174"/>
              <a:gd name="T53" fmla="*/ 2147483647 h 114"/>
              <a:gd name="T54" fmla="*/ 2147483647 w 174"/>
              <a:gd name="T55" fmla="*/ 2147483647 h 114"/>
              <a:gd name="T56" fmla="*/ 2147483647 w 174"/>
              <a:gd name="T57" fmla="*/ 2147483647 h 11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74"/>
              <a:gd name="T88" fmla="*/ 0 h 114"/>
              <a:gd name="T89" fmla="*/ 174 w 174"/>
              <a:gd name="T90" fmla="*/ 114 h 11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74" h="114">
                <a:moveTo>
                  <a:pt x="174" y="84"/>
                </a:moveTo>
                <a:lnTo>
                  <a:pt x="174" y="42"/>
                </a:lnTo>
                <a:lnTo>
                  <a:pt x="138" y="42"/>
                </a:lnTo>
                <a:lnTo>
                  <a:pt x="132" y="48"/>
                </a:lnTo>
                <a:lnTo>
                  <a:pt x="120" y="48"/>
                </a:lnTo>
                <a:lnTo>
                  <a:pt x="114" y="42"/>
                </a:lnTo>
                <a:lnTo>
                  <a:pt x="114" y="24"/>
                </a:lnTo>
                <a:lnTo>
                  <a:pt x="90" y="24"/>
                </a:lnTo>
                <a:lnTo>
                  <a:pt x="78" y="12"/>
                </a:lnTo>
                <a:lnTo>
                  <a:pt x="72" y="0"/>
                </a:lnTo>
                <a:lnTo>
                  <a:pt x="60" y="6"/>
                </a:lnTo>
                <a:lnTo>
                  <a:pt x="48" y="6"/>
                </a:lnTo>
                <a:lnTo>
                  <a:pt x="48" y="18"/>
                </a:lnTo>
                <a:lnTo>
                  <a:pt x="42" y="24"/>
                </a:lnTo>
                <a:lnTo>
                  <a:pt x="36" y="36"/>
                </a:lnTo>
                <a:lnTo>
                  <a:pt x="30" y="36"/>
                </a:lnTo>
                <a:lnTo>
                  <a:pt x="24" y="42"/>
                </a:lnTo>
                <a:lnTo>
                  <a:pt x="12" y="48"/>
                </a:lnTo>
                <a:lnTo>
                  <a:pt x="0" y="60"/>
                </a:lnTo>
                <a:lnTo>
                  <a:pt x="6" y="66"/>
                </a:lnTo>
                <a:lnTo>
                  <a:pt x="18" y="72"/>
                </a:lnTo>
                <a:lnTo>
                  <a:pt x="24" y="78"/>
                </a:lnTo>
                <a:lnTo>
                  <a:pt x="72" y="78"/>
                </a:lnTo>
                <a:lnTo>
                  <a:pt x="96" y="102"/>
                </a:lnTo>
                <a:lnTo>
                  <a:pt x="132" y="96"/>
                </a:lnTo>
                <a:lnTo>
                  <a:pt x="150" y="114"/>
                </a:lnTo>
                <a:lnTo>
                  <a:pt x="168" y="84"/>
                </a:lnTo>
                <a:lnTo>
                  <a:pt x="174" y="90"/>
                </a:lnTo>
                <a:lnTo>
                  <a:pt x="174" y="8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0" name="Egypt"/>
          <p:cNvSpPr>
            <a:spLocks/>
          </p:cNvSpPr>
          <p:nvPr/>
        </p:nvSpPr>
        <p:spPr bwMode="gray">
          <a:xfrm>
            <a:off x="4706208" y="3232818"/>
            <a:ext cx="317500" cy="323850"/>
          </a:xfrm>
          <a:custGeom>
            <a:avLst/>
            <a:gdLst>
              <a:gd name="T0" fmla="*/ 2147483647 w 792"/>
              <a:gd name="T1" fmla="*/ 2147483647 h 804"/>
              <a:gd name="T2" fmla="*/ 2147483647 w 792"/>
              <a:gd name="T3" fmla="*/ 2147483647 h 804"/>
              <a:gd name="T4" fmla="*/ 2147483647 w 792"/>
              <a:gd name="T5" fmla="*/ 2147483647 h 804"/>
              <a:gd name="T6" fmla="*/ 2147483647 w 792"/>
              <a:gd name="T7" fmla="*/ 2147483647 h 804"/>
              <a:gd name="T8" fmla="*/ 2147483647 w 792"/>
              <a:gd name="T9" fmla="*/ 2147483647 h 804"/>
              <a:gd name="T10" fmla="*/ 2147483647 w 792"/>
              <a:gd name="T11" fmla="*/ 2147483647 h 804"/>
              <a:gd name="T12" fmla="*/ 2147483647 w 792"/>
              <a:gd name="T13" fmla="*/ 2147483647 h 804"/>
              <a:gd name="T14" fmla="*/ 2147483647 w 792"/>
              <a:gd name="T15" fmla="*/ 2147483647 h 804"/>
              <a:gd name="T16" fmla="*/ 2147483647 w 792"/>
              <a:gd name="T17" fmla="*/ 2147483647 h 804"/>
              <a:gd name="T18" fmla="*/ 2147483647 w 792"/>
              <a:gd name="T19" fmla="*/ 2147483647 h 804"/>
              <a:gd name="T20" fmla="*/ 2147483647 w 792"/>
              <a:gd name="T21" fmla="*/ 2147483647 h 804"/>
              <a:gd name="T22" fmla="*/ 2147483647 w 792"/>
              <a:gd name="T23" fmla="*/ 2147483647 h 804"/>
              <a:gd name="T24" fmla="*/ 2147483647 w 792"/>
              <a:gd name="T25" fmla="*/ 2147483647 h 804"/>
              <a:gd name="T26" fmla="*/ 2147483647 w 792"/>
              <a:gd name="T27" fmla="*/ 2147483647 h 804"/>
              <a:gd name="T28" fmla="*/ 2147483647 w 792"/>
              <a:gd name="T29" fmla="*/ 2147483647 h 804"/>
              <a:gd name="T30" fmla="*/ 2147483647 w 792"/>
              <a:gd name="T31" fmla="*/ 2147483647 h 804"/>
              <a:gd name="T32" fmla="*/ 2147483647 w 792"/>
              <a:gd name="T33" fmla="*/ 2147483647 h 804"/>
              <a:gd name="T34" fmla="*/ 2147483647 w 792"/>
              <a:gd name="T35" fmla="*/ 2147483647 h 804"/>
              <a:gd name="T36" fmla="*/ 2147483647 w 792"/>
              <a:gd name="T37" fmla="*/ 2147483647 h 804"/>
              <a:gd name="T38" fmla="*/ 2147483647 w 792"/>
              <a:gd name="T39" fmla="*/ 2147483647 h 804"/>
              <a:gd name="T40" fmla="*/ 2147483647 w 792"/>
              <a:gd name="T41" fmla="*/ 2147483647 h 804"/>
              <a:gd name="T42" fmla="*/ 2147483647 w 792"/>
              <a:gd name="T43" fmla="*/ 2147483647 h 804"/>
              <a:gd name="T44" fmla="*/ 2147483647 w 792"/>
              <a:gd name="T45" fmla="*/ 2147483647 h 804"/>
              <a:gd name="T46" fmla="*/ 2147483647 w 792"/>
              <a:gd name="T47" fmla="*/ 2147483647 h 804"/>
              <a:gd name="T48" fmla="*/ 2147483647 w 792"/>
              <a:gd name="T49" fmla="*/ 2147483647 h 804"/>
              <a:gd name="T50" fmla="*/ 2147483647 w 792"/>
              <a:gd name="T51" fmla="*/ 2147483647 h 804"/>
              <a:gd name="T52" fmla="*/ 2147483647 w 792"/>
              <a:gd name="T53" fmla="*/ 2147483647 h 804"/>
              <a:gd name="T54" fmla="*/ 2147483647 w 792"/>
              <a:gd name="T55" fmla="*/ 2147483647 h 804"/>
              <a:gd name="T56" fmla="*/ 2147483647 w 792"/>
              <a:gd name="T57" fmla="*/ 2147483647 h 804"/>
              <a:gd name="T58" fmla="*/ 2147483647 w 792"/>
              <a:gd name="T59" fmla="*/ 2147483647 h 804"/>
              <a:gd name="T60" fmla="*/ 2147483647 w 792"/>
              <a:gd name="T61" fmla="*/ 2147483647 h 804"/>
              <a:gd name="T62" fmla="*/ 2147483647 w 792"/>
              <a:gd name="T63" fmla="*/ 2147483647 h 804"/>
              <a:gd name="T64" fmla="*/ 2147483647 w 792"/>
              <a:gd name="T65" fmla="*/ 2147483647 h 804"/>
              <a:gd name="T66" fmla="*/ 2147483647 w 792"/>
              <a:gd name="T67" fmla="*/ 2147483647 h 804"/>
              <a:gd name="T68" fmla="*/ 2147483647 w 792"/>
              <a:gd name="T69" fmla="*/ 2147483647 h 804"/>
              <a:gd name="T70" fmla="*/ 2147483647 w 792"/>
              <a:gd name="T71" fmla="*/ 2147483647 h 804"/>
              <a:gd name="T72" fmla="*/ 2147483647 w 792"/>
              <a:gd name="T73" fmla="*/ 2147483647 h 804"/>
              <a:gd name="T74" fmla="*/ 2147483647 w 792"/>
              <a:gd name="T75" fmla="*/ 2147483647 h 804"/>
              <a:gd name="T76" fmla="*/ 2147483647 w 792"/>
              <a:gd name="T77" fmla="*/ 2147483647 h 804"/>
              <a:gd name="T78" fmla="*/ 2147483647 w 792"/>
              <a:gd name="T79" fmla="*/ 2147483647 h 804"/>
              <a:gd name="T80" fmla="*/ 2147483647 w 792"/>
              <a:gd name="T81" fmla="*/ 2147483647 h 804"/>
              <a:gd name="T82" fmla="*/ 2147483647 w 792"/>
              <a:gd name="T83" fmla="*/ 2147483647 h 804"/>
              <a:gd name="T84" fmla="*/ 2147483647 w 792"/>
              <a:gd name="T85" fmla="*/ 2147483647 h 804"/>
              <a:gd name="T86" fmla="*/ 2147483647 w 792"/>
              <a:gd name="T87" fmla="*/ 2147483647 h 804"/>
              <a:gd name="T88" fmla="*/ 2147483647 w 792"/>
              <a:gd name="T89" fmla="*/ 2147483647 h 804"/>
              <a:gd name="T90" fmla="*/ 2147483647 w 792"/>
              <a:gd name="T91" fmla="*/ 0 h 804"/>
              <a:gd name="T92" fmla="*/ 2147483647 w 792"/>
              <a:gd name="T93" fmla="*/ 2147483647 h 804"/>
              <a:gd name="T94" fmla="*/ 2147483647 w 792"/>
              <a:gd name="T95" fmla="*/ 0 h 8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792"/>
              <a:gd name="T145" fmla="*/ 0 h 804"/>
              <a:gd name="T146" fmla="*/ 792 w 792"/>
              <a:gd name="T147" fmla="*/ 804 h 80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792" h="804">
                <a:moveTo>
                  <a:pt x="12" y="18"/>
                </a:moveTo>
                <a:lnTo>
                  <a:pt x="6" y="24"/>
                </a:lnTo>
                <a:lnTo>
                  <a:pt x="6" y="54"/>
                </a:lnTo>
                <a:lnTo>
                  <a:pt x="18" y="60"/>
                </a:lnTo>
                <a:lnTo>
                  <a:pt x="24" y="72"/>
                </a:lnTo>
                <a:lnTo>
                  <a:pt x="24" y="78"/>
                </a:lnTo>
                <a:lnTo>
                  <a:pt x="18" y="84"/>
                </a:lnTo>
                <a:lnTo>
                  <a:pt x="12" y="96"/>
                </a:lnTo>
                <a:lnTo>
                  <a:pt x="6" y="102"/>
                </a:lnTo>
                <a:lnTo>
                  <a:pt x="0" y="114"/>
                </a:lnTo>
                <a:lnTo>
                  <a:pt x="0" y="120"/>
                </a:lnTo>
                <a:lnTo>
                  <a:pt x="6" y="132"/>
                </a:lnTo>
                <a:lnTo>
                  <a:pt x="18" y="144"/>
                </a:lnTo>
                <a:lnTo>
                  <a:pt x="30" y="180"/>
                </a:lnTo>
                <a:lnTo>
                  <a:pt x="30" y="264"/>
                </a:lnTo>
                <a:lnTo>
                  <a:pt x="36" y="342"/>
                </a:lnTo>
                <a:lnTo>
                  <a:pt x="36" y="438"/>
                </a:lnTo>
                <a:lnTo>
                  <a:pt x="42" y="534"/>
                </a:lnTo>
                <a:lnTo>
                  <a:pt x="42" y="624"/>
                </a:lnTo>
                <a:lnTo>
                  <a:pt x="48" y="702"/>
                </a:lnTo>
                <a:lnTo>
                  <a:pt x="48" y="774"/>
                </a:lnTo>
                <a:lnTo>
                  <a:pt x="474" y="780"/>
                </a:lnTo>
                <a:lnTo>
                  <a:pt x="492" y="762"/>
                </a:lnTo>
                <a:lnTo>
                  <a:pt x="498" y="762"/>
                </a:lnTo>
                <a:lnTo>
                  <a:pt x="498" y="774"/>
                </a:lnTo>
                <a:lnTo>
                  <a:pt x="618" y="780"/>
                </a:lnTo>
                <a:lnTo>
                  <a:pt x="624" y="786"/>
                </a:lnTo>
                <a:lnTo>
                  <a:pt x="630" y="798"/>
                </a:lnTo>
                <a:lnTo>
                  <a:pt x="636" y="804"/>
                </a:lnTo>
                <a:lnTo>
                  <a:pt x="654" y="804"/>
                </a:lnTo>
                <a:lnTo>
                  <a:pt x="660" y="798"/>
                </a:lnTo>
                <a:lnTo>
                  <a:pt x="672" y="774"/>
                </a:lnTo>
                <a:lnTo>
                  <a:pt x="684" y="762"/>
                </a:lnTo>
                <a:lnTo>
                  <a:pt x="696" y="762"/>
                </a:lnTo>
                <a:lnTo>
                  <a:pt x="702" y="756"/>
                </a:lnTo>
                <a:lnTo>
                  <a:pt x="720" y="756"/>
                </a:lnTo>
                <a:lnTo>
                  <a:pt x="726" y="750"/>
                </a:lnTo>
                <a:lnTo>
                  <a:pt x="732" y="738"/>
                </a:lnTo>
                <a:lnTo>
                  <a:pt x="732" y="714"/>
                </a:lnTo>
                <a:lnTo>
                  <a:pt x="762" y="714"/>
                </a:lnTo>
                <a:lnTo>
                  <a:pt x="786" y="690"/>
                </a:lnTo>
                <a:lnTo>
                  <a:pt x="780" y="684"/>
                </a:lnTo>
                <a:lnTo>
                  <a:pt x="774" y="672"/>
                </a:lnTo>
                <a:lnTo>
                  <a:pt x="774" y="624"/>
                </a:lnTo>
                <a:lnTo>
                  <a:pt x="792" y="618"/>
                </a:lnTo>
                <a:lnTo>
                  <a:pt x="786" y="618"/>
                </a:lnTo>
                <a:lnTo>
                  <a:pt x="756" y="588"/>
                </a:lnTo>
                <a:lnTo>
                  <a:pt x="732" y="552"/>
                </a:lnTo>
                <a:lnTo>
                  <a:pt x="726" y="528"/>
                </a:lnTo>
                <a:lnTo>
                  <a:pt x="714" y="492"/>
                </a:lnTo>
                <a:lnTo>
                  <a:pt x="702" y="468"/>
                </a:lnTo>
                <a:lnTo>
                  <a:pt x="690" y="462"/>
                </a:lnTo>
                <a:lnTo>
                  <a:pt x="684" y="450"/>
                </a:lnTo>
                <a:lnTo>
                  <a:pt x="672" y="444"/>
                </a:lnTo>
                <a:lnTo>
                  <a:pt x="666" y="432"/>
                </a:lnTo>
                <a:lnTo>
                  <a:pt x="654" y="396"/>
                </a:lnTo>
                <a:lnTo>
                  <a:pt x="654" y="378"/>
                </a:lnTo>
                <a:lnTo>
                  <a:pt x="618" y="336"/>
                </a:lnTo>
                <a:lnTo>
                  <a:pt x="618" y="318"/>
                </a:lnTo>
                <a:lnTo>
                  <a:pt x="606" y="294"/>
                </a:lnTo>
                <a:lnTo>
                  <a:pt x="594" y="282"/>
                </a:lnTo>
                <a:lnTo>
                  <a:pt x="588" y="270"/>
                </a:lnTo>
                <a:lnTo>
                  <a:pt x="576" y="258"/>
                </a:lnTo>
                <a:lnTo>
                  <a:pt x="570" y="246"/>
                </a:lnTo>
                <a:lnTo>
                  <a:pt x="558" y="234"/>
                </a:lnTo>
                <a:lnTo>
                  <a:pt x="552" y="222"/>
                </a:lnTo>
                <a:lnTo>
                  <a:pt x="546" y="216"/>
                </a:lnTo>
                <a:lnTo>
                  <a:pt x="552" y="210"/>
                </a:lnTo>
                <a:lnTo>
                  <a:pt x="552" y="198"/>
                </a:lnTo>
                <a:lnTo>
                  <a:pt x="540" y="174"/>
                </a:lnTo>
                <a:lnTo>
                  <a:pt x="528" y="168"/>
                </a:lnTo>
                <a:lnTo>
                  <a:pt x="522" y="168"/>
                </a:lnTo>
                <a:lnTo>
                  <a:pt x="540" y="144"/>
                </a:lnTo>
                <a:lnTo>
                  <a:pt x="558" y="156"/>
                </a:lnTo>
                <a:lnTo>
                  <a:pt x="558" y="174"/>
                </a:lnTo>
                <a:lnTo>
                  <a:pt x="564" y="186"/>
                </a:lnTo>
                <a:lnTo>
                  <a:pt x="576" y="198"/>
                </a:lnTo>
                <a:lnTo>
                  <a:pt x="582" y="210"/>
                </a:lnTo>
                <a:lnTo>
                  <a:pt x="588" y="216"/>
                </a:lnTo>
                <a:lnTo>
                  <a:pt x="588" y="246"/>
                </a:lnTo>
                <a:lnTo>
                  <a:pt x="606" y="264"/>
                </a:lnTo>
                <a:lnTo>
                  <a:pt x="612" y="276"/>
                </a:lnTo>
                <a:lnTo>
                  <a:pt x="636" y="300"/>
                </a:lnTo>
                <a:lnTo>
                  <a:pt x="648" y="306"/>
                </a:lnTo>
                <a:lnTo>
                  <a:pt x="654" y="306"/>
                </a:lnTo>
                <a:lnTo>
                  <a:pt x="666" y="300"/>
                </a:lnTo>
                <a:lnTo>
                  <a:pt x="678" y="288"/>
                </a:lnTo>
                <a:lnTo>
                  <a:pt x="672" y="270"/>
                </a:lnTo>
                <a:lnTo>
                  <a:pt x="684" y="246"/>
                </a:lnTo>
                <a:lnTo>
                  <a:pt x="684" y="234"/>
                </a:lnTo>
                <a:lnTo>
                  <a:pt x="690" y="222"/>
                </a:lnTo>
                <a:lnTo>
                  <a:pt x="690" y="198"/>
                </a:lnTo>
                <a:lnTo>
                  <a:pt x="696" y="186"/>
                </a:lnTo>
                <a:lnTo>
                  <a:pt x="696" y="180"/>
                </a:lnTo>
                <a:lnTo>
                  <a:pt x="702" y="168"/>
                </a:lnTo>
                <a:lnTo>
                  <a:pt x="648" y="24"/>
                </a:lnTo>
                <a:lnTo>
                  <a:pt x="642" y="24"/>
                </a:lnTo>
                <a:lnTo>
                  <a:pt x="636" y="30"/>
                </a:lnTo>
                <a:lnTo>
                  <a:pt x="624" y="30"/>
                </a:lnTo>
                <a:lnTo>
                  <a:pt x="600" y="42"/>
                </a:lnTo>
                <a:lnTo>
                  <a:pt x="576" y="42"/>
                </a:lnTo>
                <a:lnTo>
                  <a:pt x="564" y="36"/>
                </a:lnTo>
                <a:lnTo>
                  <a:pt x="558" y="30"/>
                </a:lnTo>
                <a:lnTo>
                  <a:pt x="552" y="36"/>
                </a:lnTo>
                <a:lnTo>
                  <a:pt x="540" y="42"/>
                </a:lnTo>
                <a:lnTo>
                  <a:pt x="534" y="42"/>
                </a:lnTo>
                <a:lnTo>
                  <a:pt x="510" y="30"/>
                </a:lnTo>
                <a:lnTo>
                  <a:pt x="504" y="24"/>
                </a:lnTo>
                <a:lnTo>
                  <a:pt x="504" y="18"/>
                </a:lnTo>
                <a:lnTo>
                  <a:pt x="498" y="12"/>
                </a:lnTo>
                <a:lnTo>
                  <a:pt x="486" y="6"/>
                </a:lnTo>
                <a:lnTo>
                  <a:pt x="468" y="6"/>
                </a:lnTo>
                <a:lnTo>
                  <a:pt x="456" y="12"/>
                </a:lnTo>
                <a:lnTo>
                  <a:pt x="438" y="12"/>
                </a:lnTo>
                <a:lnTo>
                  <a:pt x="432" y="18"/>
                </a:lnTo>
                <a:lnTo>
                  <a:pt x="420" y="18"/>
                </a:lnTo>
                <a:lnTo>
                  <a:pt x="414" y="12"/>
                </a:lnTo>
                <a:lnTo>
                  <a:pt x="390" y="12"/>
                </a:lnTo>
                <a:lnTo>
                  <a:pt x="378" y="18"/>
                </a:lnTo>
                <a:lnTo>
                  <a:pt x="372" y="24"/>
                </a:lnTo>
                <a:lnTo>
                  <a:pt x="366" y="36"/>
                </a:lnTo>
                <a:lnTo>
                  <a:pt x="360" y="42"/>
                </a:lnTo>
                <a:lnTo>
                  <a:pt x="336" y="42"/>
                </a:lnTo>
                <a:lnTo>
                  <a:pt x="324" y="54"/>
                </a:lnTo>
                <a:lnTo>
                  <a:pt x="312" y="60"/>
                </a:lnTo>
                <a:lnTo>
                  <a:pt x="306" y="60"/>
                </a:lnTo>
                <a:lnTo>
                  <a:pt x="300" y="54"/>
                </a:lnTo>
                <a:lnTo>
                  <a:pt x="288" y="54"/>
                </a:lnTo>
                <a:lnTo>
                  <a:pt x="276" y="48"/>
                </a:lnTo>
                <a:lnTo>
                  <a:pt x="264" y="48"/>
                </a:lnTo>
                <a:lnTo>
                  <a:pt x="258" y="42"/>
                </a:lnTo>
                <a:lnTo>
                  <a:pt x="204" y="42"/>
                </a:lnTo>
                <a:lnTo>
                  <a:pt x="198" y="36"/>
                </a:lnTo>
                <a:lnTo>
                  <a:pt x="186" y="30"/>
                </a:lnTo>
                <a:lnTo>
                  <a:pt x="174" y="18"/>
                </a:lnTo>
                <a:lnTo>
                  <a:pt x="126" y="18"/>
                </a:lnTo>
                <a:lnTo>
                  <a:pt x="120" y="12"/>
                </a:lnTo>
                <a:lnTo>
                  <a:pt x="96" y="0"/>
                </a:lnTo>
                <a:lnTo>
                  <a:pt x="78" y="0"/>
                </a:lnTo>
                <a:lnTo>
                  <a:pt x="66" y="12"/>
                </a:lnTo>
                <a:lnTo>
                  <a:pt x="54" y="12"/>
                </a:lnTo>
                <a:lnTo>
                  <a:pt x="42" y="6"/>
                </a:lnTo>
                <a:lnTo>
                  <a:pt x="36" y="6"/>
                </a:lnTo>
                <a:lnTo>
                  <a:pt x="36" y="0"/>
                </a:lnTo>
                <a:lnTo>
                  <a:pt x="30" y="0"/>
                </a:lnTo>
                <a:lnTo>
                  <a:pt x="12" y="1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1" name="East Timor"/>
          <p:cNvSpPr>
            <a:spLocks noEditPoints="1"/>
          </p:cNvSpPr>
          <p:nvPr/>
        </p:nvSpPr>
        <p:spPr bwMode="gray">
          <a:xfrm>
            <a:off x="7558946" y="4526630"/>
            <a:ext cx="100012" cy="47625"/>
          </a:xfrm>
          <a:custGeom>
            <a:avLst/>
            <a:gdLst>
              <a:gd name="T0" fmla="*/ 2147483647 w 252"/>
              <a:gd name="T1" fmla="*/ 0 h 120"/>
              <a:gd name="T2" fmla="*/ 2147483647 w 252"/>
              <a:gd name="T3" fmla="*/ 2147483647 h 120"/>
              <a:gd name="T4" fmla="*/ 2147483647 w 252"/>
              <a:gd name="T5" fmla="*/ 2147483647 h 120"/>
              <a:gd name="T6" fmla="*/ 2147483647 w 252"/>
              <a:gd name="T7" fmla="*/ 2147483647 h 120"/>
              <a:gd name="T8" fmla="*/ 2147483647 w 252"/>
              <a:gd name="T9" fmla="*/ 2147483647 h 120"/>
              <a:gd name="T10" fmla="*/ 2147483647 w 252"/>
              <a:gd name="T11" fmla="*/ 2147483647 h 120"/>
              <a:gd name="T12" fmla="*/ 2147483647 w 252"/>
              <a:gd name="T13" fmla="*/ 2147483647 h 120"/>
              <a:gd name="T14" fmla="*/ 2147483647 w 252"/>
              <a:gd name="T15" fmla="*/ 2147483647 h 120"/>
              <a:gd name="T16" fmla="*/ 2147483647 w 252"/>
              <a:gd name="T17" fmla="*/ 2147483647 h 120"/>
              <a:gd name="T18" fmla="*/ 2147483647 w 252"/>
              <a:gd name="T19" fmla="*/ 2147483647 h 120"/>
              <a:gd name="T20" fmla="*/ 2147483647 w 252"/>
              <a:gd name="T21" fmla="*/ 2147483647 h 120"/>
              <a:gd name="T22" fmla="*/ 2147483647 w 252"/>
              <a:gd name="T23" fmla="*/ 2147483647 h 120"/>
              <a:gd name="T24" fmla="*/ 2147483647 w 252"/>
              <a:gd name="T25" fmla="*/ 2147483647 h 120"/>
              <a:gd name="T26" fmla="*/ 2147483647 w 252"/>
              <a:gd name="T27" fmla="*/ 2147483647 h 120"/>
              <a:gd name="T28" fmla="*/ 2147483647 w 252"/>
              <a:gd name="T29" fmla="*/ 2147483647 h 120"/>
              <a:gd name="T30" fmla="*/ 2147483647 w 252"/>
              <a:gd name="T31" fmla="*/ 2147483647 h 120"/>
              <a:gd name="T32" fmla="*/ 2147483647 w 252"/>
              <a:gd name="T33" fmla="*/ 2147483647 h 120"/>
              <a:gd name="T34" fmla="*/ 2147483647 w 252"/>
              <a:gd name="T35" fmla="*/ 2147483647 h 120"/>
              <a:gd name="T36" fmla="*/ 2147483647 w 252"/>
              <a:gd name="T37" fmla="*/ 2147483647 h 120"/>
              <a:gd name="T38" fmla="*/ 2147483647 w 252"/>
              <a:gd name="T39" fmla="*/ 2147483647 h 120"/>
              <a:gd name="T40" fmla="*/ 2147483647 w 252"/>
              <a:gd name="T41" fmla="*/ 2147483647 h 120"/>
              <a:gd name="T42" fmla="*/ 2147483647 w 252"/>
              <a:gd name="T43" fmla="*/ 2147483647 h 120"/>
              <a:gd name="T44" fmla="*/ 2147483647 w 252"/>
              <a:gd name="T45" fmla="*/ 2147483647 h 120"/>
              <a:gd name="T46" fmla="*/ 2147483647 w 252"/>
              <a:gd name="T47" fmla="*/ 0 h 120"/>
              <a:gd name="T48" fmla="*/ 0 w 252"/>
              <a:gd name="T49" fmla="*/ 2147483647 h 120"/>
              <a:gd name="T50" fmla="*/ 2147483647 w 252"/>
              <a:gd name="T51" fmla="*/ 2147483647 h 120"/>
              <a:gd name="T52" fmla="*/ 2147483647 w 252"/>
              <a:gd name="T53" fmla="*/ 2147483647 h 120"/>
              <a:gd name="T54" fmla="*/ 2147483647 w 252"/>
              <a:gd name="T55" fmla="*/ 2147483647 h 120"/>
              <a:gd name="T56" fmla="*/ 2147483647 w 252"/>
              <a:gd name="T57" fmla="*/ 2147483647 h 120"/>
              <a:gd name="T58" fmla="*/ 2147483647 w 252"/>
              <a:gd name="T59" fmla="*/ 2147483647 h 120"/>
              <a:gd name="T60" fmla="*/ 2147483647 w 252"/>
              <a:gd name="T61" fmla="*/ 2147483647 h 120"/>
              <a:gd name="T62" fmla="*/ 2147483647 w 252"/>
              <a:gd name="T63" fmla="*/ 2147483647 h 120"/>
              <a:gd name="T64" fmla="*/ 0 w 252"/>
              <a:gd name="T65" fmla="*/ 2147483647 h 12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52"/>
              <a:gd name="T100" fmla="*/ 0 h 120"/>
              <a:gd name="T101" fmla="*/ 252 w 252"/>
              <a:gd name="T102" fmla="*/ 120 h 12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52" h="120">
                <a:moveTo>
                  <a:pt x="228" y="0"/>
                </a:moveTo>
                <a:lnTo>
                  <a:pt x="204" y="24"/>
                </a:lnTo>
                <a:lnTo>
                  <a:pt x="114" y="24"/>
                </a:lnTo>
                <a:lnTo>
                  <a:pt x="108" y="30"/>
                </a:lnTo>
                <a:lnTo>
                  <a:pt x="102" y="42"/>
                </a:lnTo>
                <a:lnTo>
                  <a:pt x="96" y="48"/>
                </a:lnTo>
                <a:lnTo>
                  <a:pt x="90" y="48"/>
                </a:lnTo>
                <a:lnTo>
                  <a:pt x="78" y="54"/>
                </a:lnTo>
                <a:lnTo>
                  <a:pt x="90" y="72"/>
                </a:lnTo>
                <a:lnTo>
                  <a:pt x="84" y="78"/>
                </a:lnTo>
                <a:lnTo>
                  <a:pt x="72" y="102"/>
                </a:lnTo>
                <a:lnTo>
                  <a:pt x="72" y="114"/>
                </a:lnTo>
                <a:lnTo>
                  <a:pt x="78" y="120"/>
                </a:lnTo>
                <a:lnTo>
                  <a:pt x="78" y="114"/>
                </a:lnTo>
                <a:lnTo>
                  <a:pt x="84" y="108"/>
                </a:lnTo>
                <a:lnTo>
                  <a:pt x="96" y="108"/>
                </a:lnTo>
                <a:lnTo>
                  <a:pt x="132" y="84"/>
                </a:lnTo>
                <a:lnTo>
                  <a:pt x="138" y="90"/>
                </a:lnTo>
                <a:lnTo>
                  <a:pt x="162" y="90"/>
                </a:lnTo>
                <a:lnTo>
                  <a:pt x="186" y="78"/>
                </a:lnTo>
                <a:lnTo>
                  <a:pt x="198" y="66"/>
                </a:lnTo>
                <a:lnTo>
                  <a:pt x="210" y="60"/>
                </a:lnTo>
                <a:lnTo>
                  <a:pt x="252" y="18"/>
                </a:lnTo>
                <a:lnTo>
                  <a:pt x="228" y="0"/>
                </a:lnTo>
                <a:close/>
                <a:moveTo>
                  <a:pt x="0" y="90"/>
                </a:moveTo>
                <a:lnTo>
                  <a:pt x="6" y="102"/>
                </a:lnTo>
                <a:lnTo>
                  <a:pt x="18" y="96"/>
                </a:lnTo>
                <a:lnTo>
                  <a:pt x="24" y="90"/>
                </a:lnTo>
                <a:lnTo>
                  <a:pt x="36" y="90"/>
                </a:lnTo>
                <a:lnTo>
                  <a:pt x="36" y="84"/>
                </a:lnTo>
                <a:lnTo>
                  <a:pt x="42" y="72"/>
                </a:lnTo>
                <a:lnTo>
                  <a:pt x="18" y="72"/>
                </a:lnTo>
                <a:lnTo>
                  <a:pt x="0" y="9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2" name="Ecuador"/>
          <p:cNvSpPr>
            <a:spLocks noEditPoints="1"/>
          </p:cNvSpPr>
          <p:nvPr/>
        </p:nvSpPr>
        <p:spPr bwMode="gray">
          <a:xfrm>
            <a:off x="1693133" y="4207543"/>
            <a:ext cx="166688" cy="212725"/>
          </a:xfrm>
          <a:custGeom>
            <a:avLst/>
            <a:gdLst>
              <a:gd name="T0" fmla="*/ 2147483647 w 414"/>
              <a:gd name="T1" fmla="*/ 2147483647 h 528"/>
              <a:gd name="T2" fmla="*/ 2147483647 w 414"/>
              <a:gd name="T3" fmla="*/ 2147483647 h 528"/>
              <a:gd name="T4" fmla="*/ 2147483647 w 414"/>
              <a:gd name="T5" fmla="*/ 2147483647 h 528"/>
              <a:gd name="T6" fmla="*/ 2147483647 w 414"/>
              <a:gd name="T7" fmla="*/ 2147483647 h 528"/>
              <a:gd name="T8" fmla="*/ 2147483647 w 414"/>
              <a:gd name="T9" fmla="*/ 2147483647 h 528"/>
              <a:gd name="T10" fmla="*/ 2147483647 w 414"/>
              <a:gd name="T11" fmla="*/ 2147483647 h 528"/>
              <a:gd name="T12" fmla="*/ 2147483647 w 414"/>
              <a:gd name="T13" fmla="*/ 2147483647 h 528"/>
              <a:gd name="T14" fmla="*/ 2147483647 w 414"/>
              <a:gd name="T15" fmla="*/ 2147483647 h 528"/>
              <a:gd name="T16" fmla="*/ 2147483647 w 414"/>
              <a:gd name="T17" fmla="*/ 2147483647 h 528"/>
              <a:gd name="T18" fmla="*/ 2147483647 w 414"/>
              <a:gd name="T19" fmla="*/ 2147483647 h 528"/>
              <a:gd name="T20" fmla="*/ 2147483647 w 414"/>
              <a:gd name="T21" fmla="*/ 2147483647 h 528"/>
              <a:gd name="T22" fmla="*/ 2147483647 w 414"/>
              <a:gd name="T23" fmla="*/ 2147483647 h 528"/>
              <a:gd name="T24" fmla="*/ 2147483647 w 414"/>
              <a:gd name="T25" fmla="*/ 2147483647 h 528"/>
              <a:gd name="T26" fmla="*/ 2147483647 w 414"/>
              <a:gd name="T27" fmla="*/ 2147483647 h 528"/>
              <a:gd name="T28" fmla="*/ 2147483647 w 414"/>
              <a:gd name="T29" fmla="*/ 2147483647 h 528"/>
              <a:gd name="T30" fmla="*/ 2147483647 w 414"/>
              <a:gd name="T31" fmla="*/ 2147483647 h 528"/>
              <a:gd name="T32" fmla="*/ 2147483647 w 414"/>
              <a:gd name="T33" fmla="*/ 2147483647 h 528"/>
              <a:gd name="T34" fmla="*/ 2147483647 w 414"/>
              <a:gd name="T35" fmla="*/ 2147483647 h 528"/>
              <a:gd name="T36" fmla="*/ 2147483647 w 414"/>
              <a:gd name="T37" fmla="*/ 2147483647 h 528"/>
              <a:gd name="T38" fmla="*/ 2147483647 w 414"/>
              <a:gd name="T39" fmla="*/ 2147483647 h 528"/>
              <a:gd name="T40" fmla="*/ 2147483647 w 414"/>
              <a:gd name="T41" fmla="*/ 2147483647 h 528"/>
              <a:gd name="T42" fmla="*/ 2147483647 w 414"/>
              <a:gd name="T43" fmla="*/ 2147483647 h 528"/>
              <a:gd name="T44" fmla="*/ 2147483647 w 414"/>
              <a:gd name="T45" fmla="*/ 2147483647 h 528"/>
              <a:gd name="T46" fmla="*/ 2147483647 w 414"/>
              <a:gd name="T47" fmla="*/ 2147483647 h 528"/>
              <a:gd name="T48" fmla="*/ 2147483647 w 414"/>
              <a:gd name="T49" fmla="*/ 2147483647 h 528"/>
              <a:gd name="T50" fmla="*/ 2147483647 w 414"/>
              <a:gd name="T51" fmla="*/ 2147483647 h 528"/>
              <a:gd name="T52" fmla="*/ 2147483647 w 414"/>
              <a:gd name="T53" fmla="*/ 2147483647 h 528"/>
              <a:gd name="T54" fmla="*/ 2147483647 w 414"/>
              <a:gd name="T55" fmla="*/ 2147483647 h 528"/>
              <a:gd name="T56" fmla="*/ 2147483647 w 414"/>
              <a:gd name="T57" fmla="*/ 2147483647 h 528"/>
              <a:gd name="T58" fmla="*/ 2147483647 w 414"/>
              <a:gd name="T59" fmla="*/ 2147483647 h 528"/>
              <a:gd name="T60" fmla="*/ 2147483647 w 414"/>
              <a:gd name="T61" fmla="*/ 2147483647 h 528"/>
              <a:gd name="T62" fmla="*/ 2147483647 w 414"/>
              <a:gd name="T63" fmla="*/ 2147483647 h 528"/>
              <a:gd name="T64" fmla="*/ 2147483647 w 414"/>
              <a:gd name="T65" fmla="*/ 2147483647 h 528"/>
              <a:gd name="T66" fmla="*/ 2147483647 w 414"/>
              <a:gd name="T67" fmla="*/ 2147483647 h 528"/>
              <a:gd name="T68" fmla="*/ 2147483647 w 414"/>
              <a:gd name="T69" fmla="*/ 2147483647 h 528"/>
              <a:gd name="T70" fmla="*/ 2147483647 w 414"/>
              <a:gd name="T71" fmla="*/ 2147483647 h 528"/>
              <a:gd name="T72" fmla="*/ 2147483647 w 414"/>
              <a:gd name="T73" fmla="*/ 2147483647 h 528"/>
              <a:gd name="T74" fmla="*/ 2147483647 w 414"/>
              <a:gd name="T75" fmla="*/ 2147483647 h 528"/>
              <a:gd name="T76" fmla="*/ 2147483647 w 414"/>
              <a:gd name="T77" fmla="*/ 2147483647 h 528"/>
              <a:gd name="T78" fmla="*/ 2147483647 w 414"/>
              <a:gd name="T79" fmla="*/ 2147483647 h 528"/>
              <a:gd name="T80" fmla="*/ 2147483647 w 414"/>
              <a:gd name="T81" fmla="*/ 2147483647 h 528"/>
              <a:gd name="T82" fmla="*/ 2147483647 w 414"/>
              <a:gd name="T83" fmla="*/ 2147483647 h 528"/>
              <a:gd name="T84" fmla="*/ 2147483647 w 414"/>
              <a:gd name="T85" fmla="*/ 2147483647 h 528"/>
              <a:gd name="T86" fmla="*/ 2147483647 w 414"/>
              <a:gd name="T87" fmla="*/ 2147483647 h 528"/>
              <a:gd name="T88" fmla="*/ 2147483647 w 414"/>
              <a:gd name="T89" fmla="*/ 2147483647 h 52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414"/>
              <a:gd name="T136" fmla="*/ 0 h 528"/>
              <a:gd name="T137" fmla="*/ 414 w 414"/>
              <a:gd name="T138" fmla="*/ 528 h 52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414" h="528">
                <a:moveTo>
                  <a:pt x="60" y="372"/>
                </a:moveTo>
                <a:lnTo>
                  <a:pt x="72" y="366"/>
                </a:lnTo>
                <a:lnTo>
                  <a:pt x="78" y="360"/>
                </a:lnTo>
                <a:lnTo>
                  <a:pt x="78" y="342"/>
                </a:lnTo>
                <a:lnTo>
                  <a:pt x="72" y="342"/>
                </a:lnTo>
                <a:lnTo>
                  <a:pt x="54" y="360"/>
                </a:lnTo>
                <a:lnTo>
                  <a:pt x="54" y="372"/>
                </a:lnTo>
                <a:lnTo>
                  <a:pt x="60" y="372"/>
                </a:lnTo>
                <a:close/>
                <a:moveTo>
                  <a:pt x="414" y="174"/>
                </a:moveTo>
                <a:lnTo>
                  <a:pt x="390" y="156"/>
                </a:lnTo>
                <a:lnTo>
                  <a:pt x="396" y="156"/>
                </a:lnTo>
                <a:lnTo>
                  <a:pt x="396" y="150"/>
                </a:lnTo>
                <a:lnTo>
                  <a:pt x="402" y="150"/>
                </a:lnTo>
                <a:lnTo>
                  <a:pt x="402" y="126"/>
                </a:lnTo>
                <a:lnTo>
                  <a:pt x="372" y="126"/>
                </a:lnTo>
                <a:lnTo>
                  <a:pt x="360" y="114"/>
                </a:lnTo>
                <a:lnTo>
                  <a:pt x="360" y="108"/>
                </a:lnTo>
                <a:lnTo>
                  <a:pt x="354" y="102"/>
                </a:lnTo>
                <a:lnTo>
                  <a:pt x="354" y="96"/>
                </a:lnTo>
                <a:lnTo>
                  <a:pt x="342" y="90"/>
                </a:lnTo>
                <a:lnTo>
                  <a:pt x="336" y="90"/>
                </a:lnTo>
                <a:lnTo>
                  <a:pt x="330" y="96"/>
                </a:lnTo>
                <a:lnTo>
                  <a:pt x="330" y="108"/>
                </a:lnTo>
                <a:lnTo>
                  <a:pt x="306" y="108"/>
                </a:lnTo>
                <a:lnTo>
                  <a:pt x="300" y="102"/>
                </a:lnTo>
                <a:lnTo>
                  <a:pt x="288" y="96"/>
                </a:lnTo>
                <a:lnTo>
                  <a:pt x="282" y="102"/>
                </a:lnTo>
                <a:lnTo>
                  <a:pt x="270" y="102"/>
                </a:lnTo>
                <a:lnTo>
                  <a:pt x="258" y="96"/>
                </a:lnTo>
                <a:lnTo>
                  <a:pt x="252" y="90"/>
                </a:lnTo>
                <a:lnTo>
                  <a:pt x="252" y="84"/>
                </a:lnTo>
                <a:lnTo>
                  <a:pt x="246" y="72"/>
                </a:lnTo>
                <a:lnTo>
                  <a:pt x="240" y="66"/>
                </a:lnTo>
                <a:lnTo>
                  <a:pt x="228" y="60"/>
                </a:lnTo>
                <a:lnTo>
                  <a:pt x="210" y="60"/>
                </a:lnTo>
                <a:lnTo>
                  <a:pt x="204" y="48"/>
                </a:lnTo>
                <a:lnTo>
                  <a:pt x="168" y="30"/>
                </a:lnTo>
                <a:lnTo>
                  <a:pt x="162" y="18"/>
                </a:lnTo>
                <a:lnTo>
                  <a:pt x="150" y="12"/>
                </a:lnTo>
                <a:lnTo>
                  <a:pt x="144" y="0"/>
                </a:lnTo>
                <a:lnTo>
                  <a:pt x="144" y="12"/>
                </a:lnTo>
                <a:lnTo>
                  <a:pt x="150" y="18"/>
                </a:lnTo>
                <a:lnTo>
                  <a:pt x="150" y="36"/>
                </a:lnTo>
                <a:lnTo>
                  <a:pt x="144" y="42"/>
                </a:lnTo>
                <a:lnTo>
                  <a:pt x="120" y="54"/>
                </a:lnTo>
                <a:lnTo>
                  <a:pt x="102" y="54"/>
                </a:lnTo>
                <a:lnTo>
                  <a:pt x="96" y="42"/>
                </a:lnTo>
                <a:lnTo>
                  <a:pt x="90" y="42"/>
                </a:lnTo>
                <a:lnTo>
                  <a:pt x="78" y="54"/>
                </a:lnTo>
                <a:lnTo>
                  <a:pt x="66" y="60"/>
                </a:lnTo>
                <a:lnTo>
                  <a:pt x="60" y="72"/>
                </a:lnTo>
                <a:lnTo>
                  <a:pt x="60" y="84"/>
                </a:lnTo>
                <a:lnTo>
                  <a:pt x="66" y="90"/>
                </a:lnTo>
                <a:lnTo>
                  <a:pt x="72" y="102"/>
                </a:lnTo>
                <a:lnTo>
                  <a:pt x="72" y="120"/>
                </a:lnTo>
                <a:lnTo>
                  <a:pt x="66" y="126"/>
                </a:lnTo>
                <a:lnTo>
                  <a:pt x="54" y="132"/>
                </a:lnTo>
                <a:lnTo>
                  <a:pt x="42" y="144"/>
                </a:lnTo>
                <a:lnTo>
                  <a:pt x="42" y="162"/>
                </a:lnTo>
                <a:lnTo>
                  <a:pt x="48" y="168"/>
                </a:lnTo>
                <a:lnTo>
                  <a:pt x="54" y="180"/>
                </a:lnTo>
                <a:lnTo>
                  <a:pt x="36" y="180"/>
                </a:lnTo>
                <a:lnTo>
                  <a:pt x="36" y="198"/>
                </a:lnTo>
                <a:lnTo>
                  <a:pt x="0" y="216"/>
                </a:lnTo>
                <a:lnTo>
                  <a:pt x="24" y="228"/>
                </a:lnTo>
                <a:lnTo>
                  <a:pt x="12" y="258"/>
                </a:lnTo>
                <a:lnTo>
                  <a:pt x="24" y="270"/>
                </a:lnTo>
                <a:lnTo>
                  <a:pt x="24" y="282"/>
                </a:lnTo>
                <a:lnTo>
                  <a:pt x="6" y="300"/>
                </a:lnTo>
                <a:lnTo>
                  <a:pt x="0" y="300"/>
                </a:lnTo>
                <a:lnTo>
                  <a:pt x="12" y="312"/>
                </a:lnTo>
                <a:lnTo>
                  <a:pt x="6" y="318"/>
                </a:lnTo>
                <a:lnTo>
                  <a:pt x="6" y="324"/>
                </a:lnTo>
                <a:lnTo>
                  <a:pt x="18" y="336"/>
                </a:lnTo>
                <a:lnTo>
                  <a:pt x="30" y="342"/>
                </a:lnTo>
                <a:lnTo>
                  <a:pt x="60" y="342"/>
                </a:lnTo>
                <a:lnTo>
                  <a:pt x="72" y="330"/>
                </a:lnTo>
                <a:lnTo>
                  <a:pt x="72" y="324"/>
                </a:lnTo>
                <a:lnTo>
                  <a:pt x="96" y="330"/>
                </a:lnTo>
                <a:lnTo>
                  <a:pt x="102" y="342"/>
                </a:lnTo>
                <a:lnTo>
                  <a:pt x="102" y="348"/>
                </a:lnTo>
                <a:lnTo>
                  <a:pt x="96" y="366"/>
                </a:lnTo>
                <a:lnTo>
                  <a:pt x="90" y="372"/>
                </a:lnTo>
                <a:lnTo>
                  <a:pt x="90" y="384"/>
                </a:lnTo>
                <a:lnTo>
                  <a:pt x="84" y="396"/>
                </a:lnTo>
                <a:lnTo>
                  <a:pt x="72" y="402"/>
                </a:lnTo>
                <a:lnTo>
                  <a:pt x="66" y="402"/>
                </a:lnTo>
                <a:lnTo>
                  <a:pt x="60" y="408"/>
                </a:lnTo>
                <a:lnTo>
                  <a:pt x="54" y="408"/>
                </a:lnTo>
                <a:lnTo>
                  <a:pt x="60" y="408"/>
                </a:lnTo>
                <a:lnTo>
                  <a:pt x="72" y="414"/>
                </a:lnTo>
                <a:lnTo>
                  <a:pt x="78" y="414"/>
                </a:lnTo>
                <a:lnTo>
                  <a:pt x="78" y="420"/>
                </a:lnTo>
                <a:lnTo>
                  <a:pt x="72" y="426"/>
                </a:lnTo>
                <a:lnTo>
                  <a:pt x="66" y="438"/>
                </a:lnTo>
                <a:lnTo>
                  <a:pt x="54" y="444"/>
                </a:lnTo>
                <a:lnTo>
                  <a:pt x="48" y="456"/>
                </a:lnTo>
                <a:lnTo>
                  <a:pt x="42" y="462"/>
                </a:lnTo>
                <a:lnTo>
                  <a:pt x="54" y="474"/>
                </a:lnTo>
                <a:lnTo>
                  <a:pt x="42" y="486"/>
                </a:lnTo>
                <a:lnTo>
                  <a:pt x="48" y="492"/>
                </a:lnTo>
                <a:lnTo>
                  <a:pt x="54" y="492"/>
                </a:lnTo>
                <a:lnTo>
                  <a:pt x="66" y="486"/>
                </a:lnTo>
                <a:lnTo>
                  <a:pt x="78" y="474"/>
                </a:lnTo>
                <a:lnTo>
                  <a:pt x="90" y="486"/>
                </a:lnTo>
                <a:lnTo>
                  <a:pt x="120" y="486"/>
                </a:lnTo>
                <a:lnTo>
                  <a:pt x="120" y="492"/>
                </a:lnTo>
                <a:lnTo>
                  <a:pt x="126" y="498"/>
                </a:lnTo>
                <a:lnTo>
                  <a:pt x="126" y="516"/>
                </a:lnTo>
                <a:lnTo>
                  <a:pt x="132" y="528"/>
                </a:lnTo>
                <a:lnTo>
                  <a:pt x="150" y="528"/>
                </a:lnTo>
                <a:lnTo>
                  <a:pt x="150" y="522"/>
                </a:lnTo>
                <a:lnTo>
                  <a:pt x="156" y="516"/>
                </a:lnTo>
                <a:lnTo>
                  <a:pt x="156" y="510"/>
                </a:lnTo>
                <a:lnTo>
                  <a:pt x="162" y="504"/>
                </a:lnTo>
                <a:lnTo>
                  <a:pt x="180" y="504"/>
                </a:lnTo>
                <a:lnTo>
                  <a:pt x="180" y="474"/>
                </a:lnTo>
                <a:lnTo>
                  <a:pt x="186" y="462"/>
                </a:lnTo>
                <a:lnTo>
                  <a:pt x="186" y="438"/>
                </a:lnTo>
                <a:lnTo>
                  <a:pt x="198" y="426"/>
                </a:lnTo>
                <a:lnTo>
                  <a:pt x="198" y="408"/>
                </a:lnTo>
                <a:lnTo>
                  <a:pt x="210" y="402"/>
                </a:lnTo>
                <a:lnTo>
                  <a:pt x="210" y="396"/>
                </a:lnTo>
                <a:lnTo>
                  <a:pt x="228" y="378"/>
                </a:lnTo>
                <a:lnTo>
                  <a:pt x="246" y="366"/>
                </a:lnTo>
                <a:lnTo>
                  <a:pt x="264" y="360"/>
                </a:lnTo>
                <a:lnTo>
                  <a:pt x="324" y="330"/>
                </a:lnTo>
                <a:lnTo>
                  <a:pt x="342" y="318"/>
                </a:lnTo>
                <a:lnTo>
                  <a:pt x="354" y="300"/>
                </a:lnTo>
                <a:lnTo>
                  <a:pt x="366" y="288"/>
                </a:lnTo>
                <a:lnTo>
                  <a:pt x="372" y="276"/>
                </a:lnTo>
                <a:lnTo>
                  <a:pt x="384" y="264"/>
                </a:lnTo>
                <a:lnTo>
                  <a:pt x="390" y="252"/>
                </a:lnTo>
                <a:lnTo>
                  <a:pt x="402" y="210"/>
                </a:lnTo>
                <a:lnTo>
                  <a:pt x="414" y="204"/>
                </a:lnTo>
                <a:lnTo>
                  <a:pt x="414" y="17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3" name="Dominikan Republic"/>
          <p:cNvSpPr>
            <a:spLocks/>
          </p:cNvSpPr>
          <p:nvPr/>
        </p:nvSpPr>
        <p:spPr bwMode="gray">
          <a:xfrm>
            <a:off x="1986821" y="3615405"/>
            <a:ext cx="100012" cy="66675"/>
          </a:xfrm>
          <a:custGeom>
            <a:avLst/>
            <a:gdLst>
              <a:gd name="T0" fmla="*/ 2147483647 w 252"/>
              <a:gd name="T1" fmla="*/ 2147483647 h 168"/>
              <a:gd name="T2" fmla="*/ 2147483647 w 252"/>
              <a:gd name="T3" fmla="*/ 2147483647 h 168"/>
              <a:gd name="T4" fmla="*/ 2147483647 w 252"/>
              <a:gd name="T5" fmla="*/ 2147483647 h 168"/>
              <a:gd name="T6" fmla="*/ 2147483647 w 252"/>
              <a:gd name="T7" fmla="*/ 2147483647 h 168"/>
              <a:gd name="T8" fmla="*/ 2147483647 w 252"/>
              <a:gd name="T9" fmla="*/ 2147483647 h 168"/>
              <a:gd name="T10" fmla="*/ 2147483647 w 252"/>
              <a:gd name="T11" fmla="*/ 2147483647 h 168"/>
              <a:gd name="T12" fmla="*/ 2147483647 w 252"/>
              <a:gd name="T13" fmla="*/ 2147483647 h 168"/>
              <a:gd name="T14" fmla="*/ 2147483647 w 252"/>
              <a:gd name="T15" fmla="*/ 2147483647 h 168"/>
              <a:gd name="T16" fmla="*/ 2147483647 w 252"/>
              <a:gd name="T17" fmla="*/ 2147483647 h 168"/>
              <a:gd name="T18" fmla="*/ 2147483647 w 252"/>
              <a:gd name="T19" fmla="*/ 2147483647 h 168"/>
              <a:gd name="T20" fmla="*/ 2147483647 w 252"/>
              <a:gd name="T21" fmla="*/ 0 h 168"/>
              <a:gd name="T22" fmla="*/ 2147483647 w 252"/>
              <a:gd name="T23" fmla="*/ 0 h 168"/>
              <a:gd name="T24" fmla="*/ 2147483647 w 252"/>
              <a:gd name="T25" fmla="*/ 2147483647 h 168"/>
              <a:gd name="T26" fmla="*/ 2147483647 w 252"/>
              <a:gd name="T27" fmla="*/ 2147483647 h 168"/>
              <a:gd name="T28" fmla="*/ 2147483647 w 252"/>
              <a:gd name="T29" fmla="*/ 2147483647 h 168"/>
              <a:gd name="T30" fmla="*/ 2147483647 w 252"/>
              <a:gd name="T31" fmla="*/ 2147483647 h 168"/>
              <a:gd name="T32" fmla="*/ 2147483647 w 252"/>
              <a:gd name="T33" fmla="*/ 2147483647 h 168"/>
              <a:gd name="T34" fmla="*/ 2147483647 w 252"/>
              <a:gd name="T35" fmla="*/ 2147483647 h 168"/>
              <a:gd name="T36" fmla="*/ 2147483647 w 252"/>
              <a:gd name="T37" fmla="*/ 2147483647 h 168"/>
              <a:gd name="T38" fmla="*/ 2147483647 w 252"/>
              <a:gd name="T39" fmla="*/ 2147483647 h 168"/>
              <a:gd name="T40" fmla="*/ 2147483647 w 252"/>
              <a:gd name="T41" fmla="*/ 2147483647 h 168"/>
              <a:gd name="T42" fmla="*/ 0 w 252"/>
              <a:gd name="T43" fmla="*/ 2147483647 h 168"/>
              <a:gd name="T44" fmla="*/ 0 w 252"/>
              <a:gd name="T45" fmla="*/ 2147483647 h 168"/>
              <a:gd name="T46" fmla="*/ 2147483647 w 252"/>
              <a:gd name="T47" fmla="*/ 2147483647 h 168"/>
              <a:gd name="T48" fmla="*/ 0 w 252"/>
              <a:gd name="T49" fmla="*/ 2147483647 h 168"/>
              <a:gd name="T50" fmla="*/ 2147483647 w 252"/>
              <a:gd name="T51" fmla="*/ 2147483647 h 168"/>
              <a:gd name="T52" fmla="*/ 2147483647 w 252"/>
              <a:gd name="T53" fmla="*/ 2147483647 h 168"/>
              <a:gd name="T54" fmla="*/ 2147483647 w 252"/>
              <a:gd name="T55" fmla="*/ 2147483647 h 168"/>
              <a:gd name="T56" fmla="*/ 2147483647 w 252"/>
              <a:gd name="T57" fmla="*/ 2147483647 h 168"/>
              <a:gd name="T58" fmla="*/ 2147483647 w 252"/>
              <a:gd name="T59" fmla="*/ 2147483647 h 168"/>
              <a:gd name="T60" fmla="*/ 2147483647 w 252"/>
              <a:gd name="T61" fmla="*/ 2147483647 h 168"/>
              <a:gd name="T62" fmla="*/ 2147483647 w 252"/>
              <a:gd name="T63" fmla="*/ 2147483647 h 168"/>
              <a:gd name="T64" fmla="*/ 2147483647 w 252"/>
              <a:gd name="T65" fmla="*/ 2147483647 h 168"/>
              <a:gd name="T66" fmla="*/ 2147483647 w 252"/>
              <a:gd name="T67" fmla="*/ 2147483647 h 16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52"/>
              <a:gd name="T103" fmla="*/ 0 h 168"/>
              <a:gd name="T104" fmla="*/ 252 w 252"/>
              <a:gd name="T105" fmla="*/ 168 h 16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52" h="168">
                <a:moveTo>
                  <a:pt x="246" y="102"/>
                </a:moveTo>
                <a:lnTo>
                  <a:pt x="234" y="96"/>
                </a:lnTo>
                <a:lnTo>
                  <a:pt x="216" y="78"/>
                </a:lnTo>
                <a:lnTo>
                  <a:pt x="192" y="66"/>
                </a:lnTo>
                <a:lnTo>
                  <a:pt x="156" y="54"/>
                </a:lnTo>
                <a:lnTo>
                  <a:pt x="132" y="42"/>
                </a:lnTo>
                <a:lnTo>
                  <a:pt x="126" y="30"/>
                </a:lnTo>
                <a:lnTo>
                  <a:pt x="108" y="12"/>
                </a:lnTo>
                <a:lnTo>
                  <a:pt x="96" y="6"/>
                </a:lnTo>
                <a:lnTo>
                  <a:pt x="84" y="6"/>
                </a:lnTo>
                <a:lnTo>
                  <a:pt x="60" y="0"/>
                </a:lnTo>
                <a:lnTo>
                  <a:pt x="30" y="0"/>
                </a:lnTo>
                <a:lnTo>
                  <a:pt x="24" y="6"/>
                </a:lnTo>
                <a:lnTo>
                  <a:pt x="18" y="6"/>
                </a:lnTo>
                <a:lnTo>
                  <a:pt x="30" y="42"/>
                </a:lnTo>
                <a:lnTo>
                  <a:pt x="30" y="54"/>
                </a:lnTo>
                <a:lnTo>
                  <a:pt x="24" y="60"/>
                </a:lnTo>
                <a:lnTo>
                  <a:pt x="18" y="72"/>
                </a:lnTo>
                <a:lnTo>
                  <a:pt x="12" y="78"/>
                </a:lnTo>
                <a:lnTo>
                  <a:pt x="12" y="90"/>
                </a:lnTo>
                <a:lnTo>
                  <a:pt x="6" y="102"/>
                </a:lnTo>
                <a:lnTo>
                  <a:pt x="0" y="108"/>
                </a:lnTo>
                <a:lnTo>
                  <a:pt x="0" y="114"/>
                </a:lnTo>
                <a:lnTo>
                  <a:pt x="12" y="144"/>
                </a:lnTo>
                <a:lnTo>
                  <a:pt x="0" y="126"/>
                </a:lnTo>
                <a:lnTo>
                  <a:pt x="30" y="168"/>
                </a:lnTo>
                <a:lnTo>
                  <a:pt x="78" y="132"/>
                </a:lnTo>
                <a:lnTo>
                  <a:pt x="174" y="132"/>
                </a:lnTo>
                <a:lnTo>
                  <a:pt x="186" y="138"/>
                </a:lnTo>
                <a:lnTo>
                  <a:pt x="240" y="138"/>
                </a:lnTo>
                <a:lnTo>
                  <a:pt x="246" y="132"/>
                </a:lnTo>
                <a:lnTo>
                  <a:pt x="252" y="120"/>
                </a:lnTo>
                <a:lnTo>
                  <a:pt x="252" y="114"/>
                </a:lnTo>
                <a:lnTo>
                  <a:pt x="246" y="10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4" name="Djibouti"/>
          <p:cNvSpPr>
            <a:spLocks/>
          </p:cNvSpPr>
          <p:nvPr/>
        </p:nvSpPr>
        <p:spPr bwMode="gray">
          <a:xfrm>
            <a:off x="5204683" y="3848768"/>
            <a:ext cx="47625" cy="55562"/>
          </a:xfrm>
          <a:custGeom>
            <a:avLst/>
            <a:gdLst>
              <a:gd name="T0" fmla="*/ 2147483647 w 114"/>
              <a:gd name="T1" fmla="*/ 2147483647 h 138"/>
              <a:gd name="T2" fmla="*/ 2147483647 w 114"/>
              <a:gd name="T3" fmla="*/ 2147483647 h 138"/>
              <a:gd name="T4" fmla="*/ 2147483647 w 114"/>
              <a:gd name="T5" fmla="*/ 2147483647 h 138"/>
              <a:gd name="T6" fmla="*/ 0 w 114"/>
              <a:gd name="T7" fmla="*/ 2147483647 h 138"/>
              <a:gd name="T8" fmla="*/ 0 w 114"/>
              <a:gd name="T9" fmla="*/ 2147483647 h 138"/>
              <a:gd name="T10" fmla="*/ 2147483647 w 114"/>
              <a:gd name="T11" fmla="*/ 2147483647 h 138"/>
              <a:gd name="T12" fmla="*/ 2147483647 w 114"/>
              <a:gd name="T13" fmla="*/ 2147483647 h 138"/>
              <a:gd name="T14" fmla="*/ 2147483647 w 114"/>
              <a:gd name="T15" fmla="*/ 2147483647 h 138"/>
              <a:gd name="T16" fmla="*/ 2147483647 w 114"/>
              <a:gd name="T17" fmla="*/ 2147483647 h 138"/>
              <a:gd name="T18" fmla="*/ 2147483647 w 114"/>
              <a:gd name="T19" fmla="*/ 2147483647 h 138"/>
              <a:gd name="T20" fmla="*/ 2147483647 w 114"/>
              <a:gd name="T21" fmla="*/ 2147483647 h 138"/>
              <a:gd name="T22" fmla="*/ 2147483647 w 114"/>
              <a:gd name="T23" fmla="*/ 2147483647 h 138"/>
              <a:gd name="T24" fmla="*/ 2147483647 w 114"/>
              <a:gd name="T25" fmla="*/ 2147483647 h 138"/>
              <a:gd name="T26" fmla="*/ 2147483647 w 114"/>
              <a:gd name="T27" fmla="*/ 2147483647 h 138"/>
              <a:gd name="T28" fmla="*/ 2147483647 w 114"/>
              <a:gd name="T29" fmla="*/ 2147483647 h 138"/>
              <a:gd name="T30" fmla="*/ 2147483647 w 114"/>
              <a:gd name="T31" fmla="*/ 2147483647 h 138"/>
              <a:gd name="T32" fmla="*/ 2147483647 w 114"/>
              <a:gd name="T33" fmla="*/ 2147483647 h 138"/>
              <a:gd name="T34" fmla="*/ 2147483647 w 114"/>
              <a:gd name="T35" fmla="*/ 2147483647 h 138"/>
              <a:gd name="T36" fmla="*/ 2147483647 w 114"/>
              <a:gd name="T37" fmla="*/ 2147483647 h 138"/>
              <a:gd name="T38" fmla="*/ 2147483647 w 114"/>
              <a:gd name="T39" fmla="*/ 2147483647 h 138"/>
              <a:gd name="T40" fmla="*/ 2147483647 w 114"/>
              <a:gd name="T41" fmla="*/ 2147483647 h 138"/>
              <a:gd name="T42" fmla="*/ 2147483647 w 114"/>
              <a:gd name="T43" fmla="*/ 2147483647 h 138"/>
              <a:gd name="T44" fmla="*/ 2147483647 w 114"/>
              <a:gd name="T45" fmla="*/ 2147483647 h 138"/>
              <a:gd name="T46" fmla="*/ 2147483647 w 114"/>
              <a:gd name="T47" fmla="*/ 2147483647 h 138"/>
              <a:gd name="T48" fmla="*/ 2147483647 w 114"/>
              <a:gd name="T49" fmla="*/ 2147483647 h 138"/>
              <a:gd name="T50" fmla="*/ 2147483647 w 114"/>
              <a:gd name="T51" fmla="*/ 2147483647 h 138"/>
              <a:gd name="T52" fmla="*/ 2147483647 w 114"/>
              <a:gd name="T53" fmla="*/ 2147483647 h 138"/>
              <a:gd name="T54" fmla="*/ 2147483647 w 114"/>
              <a:gd name="T55" fmla="*/ 0 h 138"/>
              <a:gd name="T56" fmla="*/ 2147483647 w 114"/>
              <a:gd name="T57" fmla="*/ 2147483647 h 138"/>
              <a:gd name="T58" fmla="*/ 2147483647 w 114"/>
              <a:gd name="T59" fmla="*/ 2147483647 h 138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14"/>
              <a:gd name="T91" fmla="*/ 0 h 138"/>
              <a:gd name="T92" fmla="*/ 114 w 114"/>
              <a:gd name="T93" fmla="*/ 138 h 138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14" h="138">
                <a:moveTo>
                  <a:pt x="72" y="24"/>
                </a:moveTo>
                <a:lnTo>
                  <a:pt x="48" y="12"/>
                </a:lnTo>
                <a:lnTo>
                  <a:pt x="18" y="66"/>
                </a:lnTo>
                <a:lnTo>
                  <a:pt x="0" y="84"/>
                </a:lnTo>
                <a:lnTo>
                  <a:pt x="0" y="96"/>
                </a:lnTo>
                <a:lnTo>
                  <a:pt x="6" y="114"/>
                </a:lnTo>
                <a:lnTo>
                  <a:pt x="6" y="126"/>
                </a:lnTo>
                <a:lnTo>
                  <a:pt x="18" y="138"/>
                </a:lnTo>
                <a:lnTo>
                  <a:pt x="42" y="138"/>
                </a:lnTo>
                <a:lnTo>
                  <a:pt x="48" y="132"/>
                </a:lnTo>
                <a:lnTo>
                  <a:pt x="54" y="132"/>
                </a:lnTo>
                <a:lnTo>
                  <a:pt x="60" y="126"/>
                </a:lnTo>
                <a:lnTo>
                  <a:pt x="72" y="126"/>
                </a:lnTo>
                <a:lnTo>
                  <a:pt x="84" y="132"/>
                </a:lnTo>
                <a:lnTo>
                  <a:pt x="90" y="138"/>
                </a:lnTo>
                <a:lnTo>
                  <a:pt x="90" y="132"/>
                </a:lnTo>
                <a:lnTo>
                  <a:pt x="114" y="108"/>
                </a:lnTo>
                <a:lnTo>
                  <a:pt x="114" y="102"/>
                </a:lnTo>
                <a:lnTo>
                  <a:pt x="102" y="90"/>
                </a:lnTo>
                <a:lnTo>
                  <a:pt x="66" y="90"/>
                </a:lnTo>
                <a:lnTo>
                  <a:pt x="78" y="84"/>
                </a:lnTo>
                <a:lnTo>
                  <a:pt x="84" y="72"/>
                </a:lnTo>
                <a:lnTo>
                  <a:pt x="96" y="66"/>
                </a:lnTo>
                <a:lnTo>
                  <a:pt x="102" y="54"/>
                </a:lnTo>
                <a:lnTo>
                  <a:pt x="114" y="42"/>
                </a:lnTo>
                <a:lnTo>
                  <a:pt x="114" y="24"/>
                </a:lnTo>
                <a:lnTo>
                  <a:pt x="108" y="12"/>
                </a:lnTo>
                <a:lnTo>
                  <a:pt x="96" y="0"/>
                </a:lnTo>
                <a:lnTo>
                  <a:pt x="84" y="6"/>
                </a:lnTo>
                <a:lnTo>
                  <a:pt x="72" y="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5" name="Democratic Republic Congo"/>
          <p:cNvSpPr>
            <a:spLocks/>
          </p:cNvSpPr>
          <p:nvPr/>
        </p:nvSpPr>
        <p:spPr bwMode="gray">
          <a:xfrm>
            <a:off x="4333146" y="4139280"/>
            <a:ext cx="215900" cy="280988"/>
          </a:xfrm>
          <a:custGeom>
            <a:avLst/>
            <a:gdLst>
              <a:gd name="T0" fmla="*/ 2147483647 w 534"/>
              <a:gd name="T1" fmla="*/ 2147483647 h 702"/>
              <a:gd name="T2" fmla="*/ 2147483647 w 534"/>
              <a:gd name="T3" fmla="*/ 2147483647 h 702"/>
              <a:gd name="T4" fmla="*/ 2147483647 w 534"/>
              <a:gd name="T5" fmla="*/ 2147483647 h 702"/>
              <a:gd name="T6" fmla="*/ 2147483647 w 534"/>
              <a:gd name="T7" fmla="*/ 2147483647 h 702"/>
              <a:gd name="T8" fmla="*/ 2147483647 w 534"/>
              <a:gd name="T9" fmla="*/ 2147483647 h 702"/>
              <a:gd name="T10" fmla="*/ 2147483647 w 534"/>
              <a:gd name="T11" fmla="*/ 2147483647 h 702"/>
              <a:gd name="T12" fmla="*/ 2147483647 w 534"/>
              <a:gd name="T13" fmla="*/ 2147483647 h 702"/>
              <a:gd name="T14" fmla="*/ 2147483647 w 534"/>
              <a:gd name="T15" fmla="*/ 2147483647 h 702"/>
              <a:gd name="T16" fmla="*/ 2147483647 w 534"/>
              <a:gd name="T17" fmla="*/ 2147483647 h 702"/>
              <a:gd name="T18" fmla="*/ 2147483647 w 534"/>
              <a:gd name="T19" fmla="*/ 2147483647 h 702"/>
              <a:gd name="T20" fmla="*/ 2147483647 w 534"/>
              <a:gd name="T21" fmla="*/ 2147483647 h 702"/>
              <a:gd name="T22" fmla="*/ 2147483647 w 534"/>
              <a:gd name="T23" fmla="*/ 2147483647 h 702"/>
              <a:gd name="T24" fmla="*/ 2147483647 w 534"/>
              <a:gd name="T25" fmla="*/ 2147483647 h 702"/>
              <a:gd name="T26" fmla="*/ 2147483647 w 534"/>
              <a:gd name="T27" fmla="*/ 2147483647 h 702"/>
              <a:gd name="T28" fmla="*/ 2147483647 w 534"/>
              <a:gd name="T29" fmla="*/ 2147483647 h 702"/>
              <a:gd name="T30" fmla="*/ 2147483647 w 534"/>
              <a:gd name="T31" fmla="*/ 2147483647 h 702"/>
              <a:gd name="T32" fmla="*/ 2147483647 w 534"/>
              <a:gd name="T33" fmla="*/ 2147483647 h 702"/>
              <a:gd name="T34" fmla="*/ 2147483647 w 534"/>
              <a:gd name="T35" fmla="*/ 2147483647 h 702"/>
              <a:gd name="T36" fmla="*/ 2147483647 w 534"/>
              <a:gd name="T37" fmla="*/ 2147483647 h 702"/>
              <a:gd name="T38" fmla="*/ 2147483647 w 534"/>
              <a:gd name="T39" fmla="*/ 2147483647 h 702"/>
              <a:gd name="T40" fmla="*/ 2147483647 w 534"/>
              <a:gd name="T41" fmla="*/ 2147483647 h 702"/>
              <a:gd name="T42" fmla="*/ 2147483647 w 534"/>
              <a:gd name="T43" fmla="*/ 2147483647 h 702"/>
              <a:gd name="T44" fmla="*/ 2147483647 w 534"/>
              <a:gd name="T45" fmla="*/ 2147483647 h 702"/>
              <a:gd name="T46" fmla="*/ 2147483647 w 534"/>
              <a:gd name="T47" fmla="*/ 2147483647 h 702"/>
              <a:gd name="T48" fmla="*/ 2147483647 w 534"/>
              <a:gd name="T49" fmla="*/ 2147483647 h 702"/>
              <a:gd name="T50" fmla="*/ 0 w 534"/>
              <a:gd name="T51" fmla="*/ 2147483647 h 702"/>
              <a:gd name="T52" fmla="*/ 2147483647 w 534"/>
              <a:gd name="T53" fmla="*/ 2147483647 h 702"/>
              <a:gd name="T54" fmla="*/ 2147483647 w 534"/>
              <a:gd name="T55" fmla="*/ 2147483647 h 702"/>
              <a:gd name="T56" fmla="*/ 2147483647 w 534"/>
              <a:gd name="T57" fmla="*/ 2147483647 h 702"/>
              <a:gd name="T58" fmla="*/ 2147483647 w 534"/>
              <a:gd name="T59" fmla="*/ 2147483647 h 702"/>
              <a:gd name="T60" fmla="*/ 2147483647 w 534"/>
              <a:gd name="T61" fmla="*/ 2147483647 h 702"/>
              <a:gd name="T62" fmla="*/ 2147483647 w 534"/>
              <a:gd name="T63" fmla="*/ 2147483647 h 702"/>
              <a:gd name="T64" fmla="*/ 2147483647 w 534"/>
              <a:gd name="T65" fmla="*/ 2147483647 h 702"/>
              <a:gd name="T66" fmla="*/ 2147483647 w 534"/>
              <a:gd name="T67" fmla="*/ 2147483647 h 702"/>
              <a:gd name="T68" fmla="*/ 2147483647 w 534"/>
              <a:gd name="T69" fmla="*/ 2147483647 h 702"/>
              <a:gd name="T70" fmla="*/ 2147483647 w 534"/>
              <a:gd name="T71" fmla="*/ 2147483647 h 702"/>
              <a:gd name="T72" fmla="*/ 2147483647 w 534"/>
              <a:gd name="T73" fmla="*/ 2147483647 h 702"/>
              <a:gd name="T74" fmla="*/ 2147483647 w 534"/>
              <a:gd name="T75" fmla="*/ 2147483647 h 702"/>
              <a:gd name="T76" fmla="*/ 2147483647 w 534"/>
              <a:gd name="T77" fmla="*/ 2147483647 h 702"/>
              <a:gd name="T78" fmla="*/ 2147483647 w 534"/>
              <a:gd name="T79" fmla="*/ 2147483647 h 702"/>
              <a:gd name="T80" fmla="*/ 2147483647 w 534"/>
              <a:gd name="T81" fmla="*/ 2147483647 h 702"/>
              <a:gd name="T82" fmla="*/ 2147483647 w 534"/>
              <a:gd name="T83" fmla="*/ 2147483647 h 702"/>
              <a:gd name="T84" fmla="*/ 2147483647 w 534"/>
              <a:gd name="T85" fmla="*/ 2147483647 h 702"/>
              <a:gd name="T86" fmla="*/ 2147483647 w 534"/>
              <a:gd name="T87" fmla="*/ 2147483647 h 702"/>
              <a:gd name="T88" fmla="*/ 2147483647 w 534"/>
              <a:gd name="T89" fmla="*/ 2147483647 h 702"/>
              <a:gd name="T90" fmla="*/ 2147483647 w 534"/>
              <a:gd name="T91" fmla="*/ 2147483647 h 702"/>
              <a:gd name="T92" fmla="*/ 2147483647 w 534"/>
              <a:gd name="T93" fmla="*/ 2147483647 h 702"/>
              <a:gd name="T94" fmla="*/ 2147483647 w 534"/>
              <a:gd name="T95" fmla="*/ 2147483647 h 702"/>
              <a:gd name="T96" fmla="*/ 2147483647 w 534"/>
              <a:gd name="T97" fmla="*/ 2147483647 h 702"/>
              <a:gd name="T98" fmla="*/ 2147483647 w 534"/>
              <a:gd name="T99" fmla="*/ 2147483647 h 702"/>
              <a:gd name="T100" fmla="*/ 2147483647 w 534"/>
              <a:gd name="T101" fmla="*/ 2147483647 h 702"/>
              <a:gd name="T102" fmla="*/ 2147483647 w 534"/>
              <a:gd name="T103" fmla="*/ 2147483647 h 70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34"/>
              <a:gd name="T157" fmla="*/ 0 h 702"/>
              <a:gd name="T158" fmla="*/ 534 w 534"/>
              <a:gd name="T159" fmla="*/ 702 h 70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34" h="702">
                <a:moveTo>
                  <a:pt x="366" y="120"/>
                </a:moveTo>
                <a:lnTo>
                  <a:pt x="360" y="126"/>
                </a:lnTo>
                <a:lnTo>
                  <a:pt x="354" y="168"/>
                </a:lnTo>
                <a:lnTo>
                  <a:pt x="330" y="144"/>
                </a:lnTo>
                <a:lnTo>
                  <a:pt x="294" y="144"/>
                </a:lnTo>
                <a:lnTo>
                  <a:pt x="288" y="138"/>
                </a:lnTo>
                <a:lnTo>
                  <a:pt x="276" y="138"/>
                </a:lnTo>
                <a:lnTo>
                  <a:pt x="270" y="132"/>
                </a:lnTo>
                <a:lnTo>
                  <a:pt x="258" y="126"/>
                </a:lnTo>
                <a:lnTo>
                  <a:pt x="210" y="126"/>
                </a:lnTo>
                <a:lnTo>
                  <a:pt x="192" y="132"/>
                </a:lnTo>
                <a:lnTo>
                  <a:pt x="162" y="132"/>
                </a:lnTo>
                <a:lnTo>
                  <a:pt x="144" y="162"/>
                </a:lnTo>
                <a:lnTo>
                  <a:pt x="150" y="198"/>
                </a:lnTo>
                <a:lnTo>
                  <a:pt x="156" y="204"/>
                </a:lnTo>
                <a:lnTo>
                  <a:pt x="180" y="204"/>
                </a:lnTo>
                <a:lnTo>
                  <a:pt x="186" y="198"/>
                </a:lnTo>
                <a:lnTo>
                  <a:pt x="186" y="180"/>
                </a:lnTo>
                <a:lnTo>
                  <a:pt x="204" y="180"/>
                </a:lnTo>
                <a:lnTo>
                  <a:pt x="210" y="186"/>
                </a:lnTo>
                <a:lnTo>
                  <a:pt x="222" y="186"/>
                </a:lnTo>
                <a:lnTo>
                  <a:pt x="222" y="192"/>
                </a:lnTo>
                <a:lnTo>
                  <a:pt x="228" y="198"/>
                </a:lnTo>
                <a:lnTo>
                  <a:pt x="228" y="216"/>
                </a:lnTo>
                <a:lnTo>
                  <a:pt x="240" y="222"/>
                </a:lnTo>
                <a:lnTo>
                  <a:pt x="240" y="234"/>
                </a:lnTo>
                <a:lnTo>
                  <a:pt x="234" y="240"/>
                </a:lnTo>
                <a:lnTo>
                  <a:pt x="228" y="252"/>
                </a:lnTo>
                <a:lnTo>
                  <a:pt x="222" y="258"/>
                </a:lnTo>
                <a:lnTo>
                  <a:pt x="210" y="258"/>
                </a:lnTo>
                <a:lnTo>
                  <a:pt x="198" y="282"/>
                </a:lnTo>
                <a:lnTo>
                  <a:pt x="198" y="318"/>
                </a:lnTo>
                <a:lnTo>
                  <a:pt x="216" y="324"/>
                </a:lnTo>
                <a:lnTo>
                  <a:pt x="222" y="342"/>
                </a:lnTo>
                <a:lnTo>
                  <a:pt x="240" y="342"/>
                </a:lnTo>
                <a:lnTo>
                  <a:pt x="246" y="348"/>
                </a:lnTo>
                <a:lnTo>
                  <a:pt x="246" y="360"/>
                </a:lnTo>
                <a:lnTo>
                  <a:pt x="240" y="366"/>
                </a:lnTo>
                <a:lnTo>
                  <a:pt x="240" y="414"/>
                </a:lnTo>
                <a:lnTo>
                  <a:pt x="234" y="426"/>
                </a:lnTo>
                <a:lnTo>
                  <a:pt x="240" y="450"/>
                </a:lnTo>
                <a:lnTo>
                  <a:pt x="234" y="456"/>
                </a:lnTo>
                <a:lnTo>
                  <a:pt x="222" y="462"/>
                </a:lnTo>
                <a:lnTo>
                  <a:pt x="222" y="486"/>
                </a:lnTo>
                <a:lnTo>
                  <a:pt x="216" y="498"/>
                </a:lnTo>
                <a:lnTo>
                  <a:pt x="210" y="504"/>
                </a:lnTo>
                <a:lnTo>
                  <a:pt x="198" y="504"/>
                </a:lnTo>
                <a:lnTo>
                  <a:pt x="192" y="498"/>
                </a:lnTo>
                <a:lnTo>
                  <a:pt x="192" y="468"/>
                </a:lnTo>
                <a:lnTo>
                  <a:pt x="186" y="468"/>
                </a:lnTo>
                <a:lnTo>
                  <a:pt x="180" y="474"/>
                </a:lnTo>
                <a:lnTo>
                  <a:pt x="174" y="486"/>
                </a:lnTo>
                <a:lnTo>
                  <a:pt x="168" y="492"/>
                </a:lnTo>
                <a:lnTo>
                  <a:pt x="138" y="492"/>
                </a:lnTo>
                <a:lnTo>
                  <a:pt x="120" y="450"/>
                </a:lnTo>
                <a:lnTo>
                  <a:pt x="90" y="450"/>
                </a:lnTo>
                <a:lnTo>
                  <a:pt x="90" y="456"/>
                </a:lnTo>
                <a:lnTo>
                  <a:pt x="108" y="474"/>
                </a:lnTo>
                <a:lnTo>
                  <a:pt x="96" y="480"/>
                </a:lnTo>
                <a:lnTo>
                  <a:pt x="90" y="492"/>
                </a:lnTo>
                <a:lnTo>
                  <a:pt x="84" y="498"/>
                </a:lnTo>
                <a:lnTo>
                  <a:pt x="66" y="498"/>
                </a:lnTo>
                <a:lnTo>
                  <a:pt x="54" y="492"/>
                </a:lnTo>
                <a:lnTo>
                  <a:pt x="42" y="492"/>
                </a:lnTo>
                <a:lnTo>
                  <a:pt x="36" y="486"/>
                </a:lnTo>
                <a:lnTo>
                  <a:pt x="30" y="486"/>
                </a:lnTo>
                <a:lnTo>
                  <a:pt x="30" y="504"/>
                </a:lnTo>
                <a:lnTo>
                  <a:pt x="36" y="510"/>
                </a:lnTo>
                <a:lnTo>
                  <a:pt x="36" y="522"/>
                </a:lnTo>
                <a:lnTo>
                  <a:pt x="24" y="522"/>
                </a:lnTo>
                <a:lnTo>
                  <a:pt x="54" y="540"/>
                </a:lnTo>
                <a:lnTo>
                  <a:pt x="36" y="552"/>
                </a:lnTo>
                <a:lnTo>
                  <a:pt x="54" y="564"/>
                </a:lnTo>
                <a:lnTo>
                  <a:pt x="54" y="600"/>
                </a:lnTo>
                <a:lnTo>
                  <a:pt x="48" y="606"/>
                </a:lnTo>
                <a:lnTo>
                  <a:pt x="30" y="588"/>
                </a:lnTo>
                <a:lnTo>
                  <a:pt x="6" y="600"/>
                </a:lnTo>
                <a:lnTo>
                  <a:pt x="0" y="618"/>
                </a:lnTo>
                <a:lnTo>
                  <a:pt x="54" y="666"/>
                </a:lnTo>
                <a:lnTo>
                  <a:pt x="54" y="684"/>
                </a:lnTo>
                <a:lnTo>
                  <a:pt x="72" y="702"/>
                </a:lnTo>
                <a:lnTo>
                  <a:pt x="72" y="690"/>
                </a:lnTo>
                <a:lnTo>
                  <a:pt x="90" y="690"/>
                </a:lnTo>
                <a:lnTo>
                  <a:pt x="90" y="672"/>
                </a:lnTo>
                <a:lnTo>
                  <a:pt x="102" y="666"/>
                </a:lnTo>
                <a:lnTo>
                  <a:pt x="108" y="660"/>
                </a:lnTo>
                <a:lnTo>
                  <a:pt x="120" y="654"/>
                </a:lnTo>
                <a:lnTo>
                  <a:pt x="126" y="648"/>
                </a:lnTo>
                <a:lnTo>
                  <a:pt x="132" y="654"/>
                </a:lnTo>
                <a:lnTo>
                  <a:pt x="132" y="660"/>
                </a:lnTo>
                <a:lnTo>
                  <a:pt x="138" y="666"/>
                </a:lnTo>
                <a:lnTo>
                  <a:pt x="138" y="672"/>
                </a:lnTo>
                <a:lnTo>
                  <a:pt x="150" y="672"/>
                </a:lnTo>
                <a:lnTo>
                  <a:pt x="150" y="678"/>
                </a:lnTo>
                <a:lnTo>
                  <a:pt x="156" y="684"/>
                </a:lnTo>
                <a:lnTo>
                  <a:pt x="156" y="690"/>
                </a:lnTo>
                <a:lnTo>
                  <a:pt x="162" y="696"/>
                </a:lnTo>
                <a:lnTo>
                  <a:pt x="174" y="696"/>
                </a:lnTo>
                <a:lnTo>
                  <a:pt x="180" y="690"/>
                </a:lnTo>
                <a:lnTo>
                  <a:pt x="186" y="678"/>
                </a:lnTo>
                <a:lnTo>
                  <a:pt x="186" y="660"/>
                </a:lnTo>
                <a:lnTo>
                  <a:pt x="210" y="666"/>
                </a:lnTo>
                <a:lnTo>
                  <a:pt x="228" y="648"/>
                </a:lnTo>
                <a:lnTo>
                  <a:pt x="234" y="648"/>
                </a:lnTo>
                <a:lnTo>
                  <a:pt x="234" y="678"/>
                </a:lnTo>
                <a:lnTo>
                  <a:pt x="228" y="690"/>
                </a:lnTo>
                <a:lnTo>
                  <a:pt x="234" y="696"/>
                </a:lnTo>
                <a:lnTo>
                  <a:pt x="252" y="696"/>
                </a:lnTo>
                <a:lnTo>
                  <a:pt x="264" y="690"/>
                </a:lnTo>
                <a:lnTo>
                  <a:pt x="270" y="684"/>
                </a:lnTo>
                <a:lnTo>
                  <a:pt x="276" y="672"/>
                </a:lnTo>
                <a:lnTo>
                  <a:pt x="294" y="654"/>
                </a:lnTo>
                <a:lnTo>
                  <a:pt x="300" y="642"/>
                </a:lnTo>
                <a:lnTo>
                  <a:pt x="312" y="630"/>
                </a:lnTo>
                <a:lnTo>
                  <a:pt x="330" y="630"/>
                </a:lnTo>
                <a:lnTo>
                  <a:pt x="336" y="624"/>
                </a:lnTo>
                <a:lnTo>
                  <a:pt x="366" y="582"/>
                </a:lnTo>
                <a:lnTo>
                  <a:pt x="360" y="480"/>
                </a:lnTo>
                <a:lnTo>
                  <a:pt x="366" y="480"/>
                </a:lnTo>
                <a:lnTo>
                  <a:pt x="390" y="456"/>
                </a:lnTo>
                <a:lnTo>
                  <a:pt x="390" y="420"/>
                </a:lnTo>
                <a:lnTo>
                  <a:pt x="396" y="408"/>
                </a:lnTo>
                <a:lnTo>
                  <a:pt x="402" y="402"/>
                </a:lnTo>
                <a:lnTo>
                  <a:pt x="450" y="378"/>
                </a:lnTo>
                <a:lnTo>
                  <a:pt x="456" y="366"/>
                </a:lnTo>
                <a:lnTo>
                  <a:pt x="468" y="360"/>
                </a:lnTo>
                <a:lnTo>
                  <a:pt x="474" y="354"/>
                </a:lnTo>
                <a:lnTo>
                  <a:pt x="474" y="300"/>
                </a:lnTo>
                <a:lnTo>
                  <a:pt x="486" y="294"/>
                </a:lnTo>
                <a:lnTo>
                  <a:pt x="492" y="282"/>
                </a:lnTo>
                <a:lnTo>
                  <a:pt x="492" y="258"/>
                </a:lnTo>
                <a:lnTo>
                  <a:pt x="486" y="246"/>
                </a:lnTo>
                <a:lnTo>
                  <a:pt x="480" y="240"/>
                </a:lnTo>
                <a:lnTo>
                  <a:pt x="480" y="228"/>
                </a:lnTo>
                <a:lnTo>
                  <a:pt x="498" y="192"/>
                </a:lnTo>
                <a:lnTo>
                  <a:pt x="498" y="168"/>
                </a:lnTo>
                <a:lnTo>
                  <a:pt x="492" y="156"/>
                </a:lnTo>
                <a:lnTo>
                  <a:pt x="492" y="126"/>
                </a:lnTo>
                <a:lnTo>
                  <a:pt x="498" y="120"/>
                </a:lnTo>
                <a:lnTo>
                  <a:pt x="510" y="96"/>
                </a:lnTo>
                <a:lnTo>
                  <a:pt x="522" y="84"/>
                </a:lnTo>
                <a:lnTo>
                  <a:pt x="528" y="66"/>
                </a:lnTo>
                <a:lnTo>
                  <a:pt x="534" y="54"/>
                </a:lnTo>
                <a:lnTo>
                  <a:pt x="534" y="18"/>
                </a:lnTo>
                <a:lnTo>
                  <a:pt x="522" y="6"/>
                </a:lnTo>
                <a:lnTo>
                  <a:pt x="510" y="18"/>
                </a:lnTo>
                <a:lnTo>
                  <a:pt x="498" y="18"/>
                </a:lnTo>
                <a:lnTo>
                  <a:pt x="462" y="0"/>
                </a:lnTo>
                <a:lnTo>
                  <a:pt x="444" y="0"/>
                </a:lnTo>
                <a:lnTo>
                  <a:pt x="426" y="18"/>
                </a:lnTo>
                <a:lnTo>
                  <a:pt x="396" y="18"/>
                </a:lnTo>
                <a:lnTo>
                  <a:pt x="378" y="48"/>
                </a:lnTo>
                <a:lnTo>
                  <a:pt x="390" y="60"/>
                </a:lnTo>
                <a:lnTo>
                  <a:pt x="390" y="84"/>
                </a:lnTo>
                <a:lnTo>
                  <a:pt x="384" y="96"/>
                </a:lnTo>
                <a:lnTo>
                  <a:pt x="378" y="102"/>
                </a:lnTo>
                <a:lnTo>
                  <a:pt x="372" y="114"/>
                </a:lnTo>
                <a:lnTo>
                  <a:pt x="366" y="12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6" name="Denmark"/>
          <p:cNvSpPr>
            <a:spLocks noEditPoints="1"/>
          </p:cNvSpPr>
          <p:nvPr/>
        </p:nvSpPr>
        <p:spPr bwMode="gray">
          <a:xfrm>
            <a:off x="4256946" y="2408905"/>
            <a:ext cx="111125" cy="95250"/>
          </a:xfrm>
          <a:custGeom>
            <a:avLst/>
            <a:gdLst>
              <a:gd name="T0" fmla="*/ 2147483647 w 71"/>
              <a:gd name="T1" fmla="*/ 2147483647 h 60"/>
              <a:gd name="T2" fmla="*/ 2147483647 w 71"/>
              <a:gd name="T3" fmla="*/ 2147483647 h 60"/>
              <a:gd name="T4" fmla="*/ 2147483647 w 71"/>
              <a:gd name="T5" fmla="*/ 2147483647 h 60"/>
              <a:gd name="T6" fmla="*/ 2147483647 w 71"/>
              <a:gd name="T7" fmla="*/ 2147483647 h 60"/>
              <a:gd name="T8" fmla="*/ 2147483647 w 71"/>
              <a:gd name="T9" fmla="*/ 2147483647 h 60"/>
              <a:gd name="T10" fmla="*/ 2147483647 w 71"/>
              <a:gd name="T11" fmla="*/ 2147483647 h 60"/>
              <a:gd name="T12" fmla="*/ 2147483647 w 71"/>
              <a:gd name="T13" fmla="*/ 2147483647 h 60"/>
              <a:gd name="T14" fmla="*/ 2147483647 w 71"/>
              <a:gd name="T15" fmla="*/ 2147483647 h 60"/>
              <a:gd name="T16" fmla="*/ 2147483647 w 71"/>
              <a:gd name="T17" fmla="*/ 2147483647 h 60"/>
              <a:gd name="T18" fmla="*/ 2147483647 w 71"/>
              <a:gd name="T19" fmla="*/ 2147483647 h 60"/>
              <a:gd name="T20" fmla="*/ 2147483647 w 71"/>
              <a:gd name="T21" fmla="*/ 2147483647 h 60"/>
              <a:gd name="T22" fmla="*/ 2147483647 w 71"/>
              <a:gd name="T23" fmla="*/ 2147483647 h 60"/>
              <a:gd name="T24" fmla="*/ 2147483647 w 71"/>
              <a:gd name="T25" fmla="*/ 2147483647 h 60"/>
              <a:gd name="T26" fmla="*/ 2147483647 w 71"/>
              <a:gd name="T27" fmla="*/ 2147483647 h 60"/>
              <a:gd name="T28" fmla="*/ 2147483647 w 71"/>
              <a:gd name="T29" fmla="*/ 2147483647 h 60"/>
              <a:gd name="T30" fmla="*/ 2147483647 w 71"/>
              <a:gd name="T31" fmla="*/ 2147483647 h 60"/>
              <a:gd name="T32" fmla="*/ 2147483647 w 71"/>
              <a:gd name="T33" fmla="*/ 2147483647 h 60"/>
              <a:gd name="T34" fmla="*/ 2147483647 w 71"/>
              <a:gd name="T35" fmla="*/ 2147483647 h 60"/>
              <a:gd name="T36" fmla="*/ 2147483647 w 71"/>
              <a:gd name="T37" fmla="*/ 2147483647 h 60"/>
              <a:gd name="T38" fmla="*/ 2147483647 w 71"/>
              <a:gd name="T39" fmla="*/ 2147483647 h 60"/>
              <a:gd name="T40" fmla="*/ 2147483647 w 71"/>
              <a:gd name="T41" fmla="*/ 2147483647 h 60"/>
              <a:gd name="T42" fmla="*/ 2147483647 w 71"/>
              <a:gd name="T43" fmla="*/ 2147483647 h 60"/>
              <a:gd name="T44" fmla="*/ 2147483647 w 71"/>
              <a:gd name="T45" fmla="*/ 2147483647 h 60"/>
              <a:gd name="T46" fmla="*/ 2147483647 w 71"/>
              <a:gd name="T47" fmla="*/ 2147483647 h 60"/>
              <a:gd name="T48" fmla="*/ 2147483647 w 71"/>
              <a:gd name="T49" fmla="*/ 2147483647 h 60"/>
              <a:gd name="T50" fmla="*/ 2147483647 w 71"/>
              <a:gd name="T51" fmla="*/ 2147483647 h 60"/>
              <a:gd name="T52" fmla="*/ 2147483647 w 71"/>
              <a:gd name="T53" fmla="*/ 2147483647 h 60"/>
              <a:gd name="T54" fmla="*/ 2147483647 w 71"/>
              <a:gd name="T55" fmla="*/ 2147483647 h 60"/>
              <a:gd name="T56" fmla="*/ 2147483647 w 71"/>
              <a:gd name="T57" fmla="*/ 2147483647 h 60"/>
              <a:gd name="T58" fmla="*/ 2147483647 w 71"/>
              <a:gd name="T59" fmla="*/ 2147483647 h 60"/>
              <a:gd name="T60" fmla="*/ 2147483647 w 71"/>
              <a:gd name="T61" fmla="*/ 2147483647 h 60"/>
              <a:gd name="T62" fmla="*/ 2147483647 w 71"/>
              <a:gd name="T63" fmla="*/ 0 h 60"/>
              <a:gd name="T64" fmla="*/ 2147483647 w 71"/>
              <a:gd name="T65" fmla="*/ 2147483647 h 60"/>
              <a:gd name="T66" fmla="*/ 2147483647 w 71"/>
              <a:gd name="T67" fmla="*/ 2147483647 h 60"/>
              <a:gd name="T68" fmla="*/ 2147483647 w 71"/>
              <a:gd name="T69" fmla="*/ 2147483647 h 60"/>
              <a:gd name="T70" fmla="*/ 2147483647 w 71"/>
              <a:gd name="T71" fmla="*/ 2147483647 h 60"/>
              <a:gd name="T72" fmla="*/ 2147483647 w 71"/>
              <a:gd name="T73" fmla="*/ 2147483647 h 60"/>
              <a:gd name="T74" fmla="*/ 2147483647 w 71"/>
              <a:gd name="T75" fmla="*/ 2147483647 h 60"/>
              <a:gd name="T76" fmla="*/ 2147483647 w 71"/>
              <a:gd name="T77" fmla="*/ 2147483647 h 60"/>
              <a:gd name="T78" fmla="*/ 2147483647 w 71"/>
              <a:gd name="T79" fmla="*/ 2147483647 h 60"/>
              <a:gd name="T80" fmla="*/ 2147483647 w 71"/>
              <a:gd name="T81" fmla="*/ 2147483647 h 60"/>
              <a:gd name="T82" fmla="*/ 0 w 71"/>
              <a:gd name="T83" fmla="*/ 2147483647 h 60"/>
              <a:gd name="T84" fmla="*/ 0 w 71"/>
              <a:gd name="T85" fmla="*/ 2147483647 h 60"/>
              <a:gd name="T86" fmla="*/ 2147483647 w 71"/>
              <a:gd name="T87" fmla="*/ 2147483647 h 60"/>
              <a:gd name="T88" fmla="*/ 2147483647 w 71"/>
              <a:gd name="T89" fmla="*/ 2147483647 h 60"/>
              <a:gd name="T90" fmla="*/ 2147483647 w 71"/>
              <a:gd name="T91" fmla="*/ 2147483647 h 60"/>
              <a:gd name="T92" fmla="*/ 2147483647 w 71"/>
              <a:gd name="T93" fmla="*/ 2147483647 h 60"/>
              <a:gd name="T94" fmla="*/ 2147483647 w 71"/>
              <a:gd name="T95" fmla="*/ 2147483647 h 60"/>
              <a:gd name="T96" fmla="*/ 2147483647 w 71"/>
              <a:gd name="T97" fmla="*/ 2147483647 h 60"/>
              <a:gd name="T98" fmla="*/ 2147483647 w 71"/>
              <a:gd name="T99" fmla="*/ 2147483647 h 60"/>
              <a:gd name="T100" fmla="*/ 2147483647 w 71"/>
              <a:gd name="T101" fmla="*/ 2147483647 h 60"/>
              <a:gd name="T102" fmla="*/ 2147483647 w 71"/>
              <a:gd name="T103" fmla="*/ 2147483647 h 60"/>
              <a:gd name="T104" fmla="*/ 2147483647 w 71"/>
              <a:gd name="T105" fmla="*/ 2147483647 h 60"/>
              <a:gd name="T106" fmla="*/ 2147483647 w 71"/>
              <a:gd name="T107" fmla="*/ 2147483647 h 60"/>
              <a:gd name="T108" fmla="*/ 2147483647 w 71"/>
              <a:gd name="T109" fmla="*/ 2147483647 h 60"/>
              <a:gd name="T110" fmla="*/ 2147483647 w 71"/>
              <a:gd name="T111" fmla="*/ 2147483647 h 60"/>
              <a:gd name="T112" fmla="*/ 2147483647 w 71"/>
              <a:gd name="T113" fmla="*/ 2147483647 h 60"/>
              <a:gd name="T114" fmla="*/ 2147483647 w 71"/>
              <a:gd name="T115" fmla="*/ 2147483647 h 60"/>
              <a:gd name="T116" fmla="*/ 2147483647 w 71"/>
              <a:gd name="T117" fmla="*/ 2147483647 h 60"/>
              <a:gd name="T118" fmla="*/ 2147483647 w 71"/>
              <a:gd name="T119" fmla="*/ 2147483647 h 60"/>
              <a:gd name="T120" fmla="*/ 2147483647 w 71"/>
              <a:gd name="T121" fmla="*/ 2147483647 h 6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1"/>
              <a:gd name="T184" fmla="*/ 0 h 60"/>
              <a:gd name="T185" fmla="*/ 71 w 71"/>
              <a:gd name="T186" fmla="*/ 60 h 6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1" h="60">
                <a:moveTo>
                  <a:pt x="62" y="48"/>
                </a:moveTo>
                <a:lnTo>
                  <a:pt x="67" y="46"/>
                </a:lnTo>
                <a:lnTo>
                  <a:pt x="69" y="46"/>
                </a:lnTo>
                <a:lnTo>
                  <a:pt x="69" y="43"/>
                </a:lnTo>
                <a:lnTo>
                  <a:pt x="67" y="43"/>
                </a:lnTo>
                <a:lnTo>
                  <a:pt x="62" y="41"/>
                </a:lnTo>
                <a:lnTo>
                  <a:pt x="62" y="38"/>
                </a:lnTo>
                <a:lnTo>
                  <a:pt x="64" y="38"/>
                </a:lnTo>
                <a:lnTo>
                  <a:pt x="64" y="36"/>
                </a:lnTo>
                <a:lnTo>
                  <a:pt x="67" y="34"/>
                </a:lnTo>
                <a:lnTo>
                  <a:pt x="67" y="29"/>
                </a:lnTo>
                <a:lnTo>
                  <a:pt x="64" y="29"/>
                </a:lnTo>
                <a:lnTo>
                  <a:pt x="62" y="29"/>
                </a:lnTo>
                <a:lnTo>
                  <a:pt x="60" y="31"/>
                </a:lnTo>
                <a:lnTo>
                  <a:pt x="60" y="34"/>
                </a:lnTo>
                <a:lnTo>
                  <a:pt x="57" y="36"/>
                </a:lnTo>
                <a:lnTo>
                  <a:pt x="57" y="34"/>
                </a:lnTo>
                <a:lnTo>
                  <a:pt x="55" y="31"/>
                </a:lnTo>
                <a:lnTo>
                  <a:pt x="52" y="34"/>
                </a:lnTo>
                <a:lnTo>
                  <a:pt x="45" y="38"/>
                </a:lnTo>
                <a:lnTo>
                  <a:pt x="48" y="38"/>
                </a:lnTo>
                <a:lnTo>
                  <a:pt x="50" y="41"/>
                </a:lnTo>
                <a:lnTo>
                  <a:pt x="50" y="43"/>
                </a:lnTo>
                <a:lnTo>
                  <a:pt x="50" y="46"/>
                </a:lnTo>
                <a:lnTo>
                  <a:pt x="50" y="48"/>
                </a:lnTo>
                <a:lnTo>
                  <a:pt x="48" y="48"/>
                </a:lnTo>
                <a:lnTo>
                  <a:pt x="50" y="48"/>
                </a:lnTo>
                <a:lnTo>
                  <a:pt x="50" y="50"/>
                </a:lnTo>
                <a:lnTo>
                  <a:pt x="55" y="50"/>
                </a:lnTo>
                <a:lnTo>
                  <a:pt x="55" y="48"/>
                </a:lnTo>
                <a:lnTo>
                  <a:pt x="57" y="48"/>
                </a:lnTo>
                <a:lnTo>
                  <a:pt x="57" y="50"/>
                </a:lnTo>
                <a:lnTo>
                  <a:pt x="60" y="53"/>
                </a:lnTo>
                <a:lnTo>
                  <a:pt x="60" y="55"/>
                </a:lnTo>
                <a:lnTo>
                  <a:pt x="62" y="55"/>
                </a:lnTo>
                <a:lnTo>
                  <a:pt x="62" y="53"/>
                </a:lnTo>
                <a:lnTo>
                  <a:pt x="62" y="48"/>
                </a:lnTo>
                <a:close/>
                <a:moveTo>
                  <a:pt x="71" y="53"/>
                </a:moveTo>
                <a:lnTo>
                  <a:pt x="62" y="55"/>
                </a:lnTo>
                <a:lnTo>
                  <a:pt x="60" y="58"/>
                </a:lnTo>
                <a:lnTo>
                  <a:pt x="57" y="58"/>
                </a:lnTo>
                <a:lnTo>
                  <a:pt x="57" y="55"/>
                </a:lnTo>
                <a:lnTo>
                  <a:pt x="55" y="55"/>
                </a:lnTo>
                <a:lnTo>
                  <a:pt x="50" y="53"/>
                </a:lnTo>
                <a:lnTo>
                  <a:pt x="45" y="53"/>
                </a:lnTo>
                <a:lnTo>
                  <a:pt x="45" y="58"/>
                </a:lnTo>
                <a:lnTo>
                  <a:pt x="50" y="58"/>
                </a:lnTo>
                <a:lnTo>
                  <a:pt x="52" y="58"/>
                </a:lnTo>
                <a:lnTo>
                  <a:pt x="55" y="60"/>
                </a:lnTo>
                <a:lnTo>
                  <a:pt x="57" y="60"/>
                </a:lnTo>
                <a:lnTo>
                  <a:pt x="60" y="60"/>
                </a:lnTo>
                <a:lnTo>
                  <a:pt x="62" y="60"/>
                </a:lnTo>
                <a:lnTo>
                  <a:pt x="69" y="58"/>
                </a:lnTo>
                <a:lnTo>
                  <a:pt x="71" y="58"/>
                </a:lnTo>
                <a:lnTo>
                  <a:pt x="71" y="53"/>
                </a:lnTo>
                <a:close/>
                <a:moveTo>
                  <a:pt x="31" y="12"/>
                </a:moveTo>
                <a:lnTo>
                  <a:pt x="36" y="7"/>
                </a:lnTo>
                <a:lnTo>
                  <a:pt x="36" y="3"/>
                </a:lnTo>
                <a:lnTo>
                  <a:pt x="36" y="0"/>
                </a:lnTo>
                <a:lnTo>
                  <a:pt x="26" y="0"/>
                </a:lnTo>
                <a:lnTo>
                  <a:pt x="26" y="3"/>
                </a:lnTo>
                <a:lnTo>
                  <a:pt x="21" y="7"/>
                </a:lnTo>
                <a:lnTo>
                  <a:pt x="21" y="10"/>
                </a:lnTo>
                <a:lnTo>
                  <a:pt x="19" y="10"/>
                </a:lnTo>
                <a:lnTo>
                  <a:pt x="19" y="19"/>
                </a:lnTo>
                <a:lnTo>
                  <a:pt x="14" y="14"/>
                </a:lnTo>
                <a:lnTo>
                  <a:pt x="12" y="7"/>
                </a:lnTo>
                <a:lnTo>
                  <a:pt x="7" y="10"/>
                </a:lnTo>
                <a:lnTo>
                  <a:pt x="5" y="10"/>
                </a:lnTo>
                <a:lnTo>
                  <a:pt x="5" y="12"/>
                </a:lnTo>
                <a:lnTo>
                  <a:pt x="5" y="14"/>
                </a:lnTo>
                <a:lnTo>
                  <a:pt x="7" y="14"/>
                </a:lnTo>
                <a:lnTo>
                  <a:pt x="12" y="19"/>
                </a:lnTo>
                <a:lnTo>
                  <a:pt x="12" y="22"/>
                </a:lnTo>
                <a:lnTo>
                  <a:pt x="5" y="19"/>
                </a:lnTo>
                <a:lnTo>
                  <a:pt x="2" y="24"/>
                </a:lnTo>
                <a:lnTo>
                  <a:pt x="0" y="24"/>
                </a:lnTo>
                <a:lnTo>
                  <a:pt x="0" y="29"/>
                </a:lnTo>
                <a:lnTo>
                  <a:pt x="0" y="31"/>
                </a:lnTo>
                <a:lnTo>
                  <a:pt x="5" y="34"/>
                </a:lnTo>
                <a:lnTo>
                  <a:pt x="7" y="34"/>
                </a:lnTo>
                <a:lnTo>
                  <a:pt x="2" y="38"/>
                </a:lnTo>
                <a:lnTo>
                  <a:pt x="2" y="41"/>
                </a:lnTo>
                <a:lnTo>
                  <a:pt x="5" y="43"/>
                </a:lnTo>
                <a:lnTo>
                  <a:pt x="7" y="43"/>
                </a:lnTo>
                <a:lnTo>
                  <a:pt x="7" y="48"/>
                </a:lnTo>
                <a:lnTo>
                  <a:pt x="5" y="53"/>
                </a:lnTo>
                <a:lnTo>
                  <a:pt x="7" y="53"/>
                </a:lnTo>
                <a:lnTo>
                  <a:pt x="17" y="53"/>
                </a:lnTo>
                <a:lnTo>
                  <a:pt x="17" y="55"/>
                </a:lnTo>
                <a:lnTo>
                  <a:pt x="24" y="55"/>
                </a:lnTo>
                <a:lnTo>
                  <a:pt x="26" y="58"/>
                </a:lnTo>
                <a:lnTo>
                  <a:pt x="26" y="55"/>
                </a:lnTo>
                <a:lnTo>
                  <a:pt x="24" y="53"/>
                </a:lnTo>
                <a:lnTo>
                  <a:pt x="24" y="48"/>
                </a:lnTo>
                <a:lnTo>
                  <a:pt x="26" y="43"/>
                </a:lnTo>
                <a:lnTo>
                  <a:pt x="24" y="41"/>
                </a:lnTo>
                <a:lnTo>
                  <a:pt x="24" y="38"/>
                </a:lnTo>
                <a:lnTo>
                  <a:pt x="21" y="38"/>
                </a:lnTo>
                <a:lnTo>
                  <a:pt x="24" y="38"/>
                </a:lnTo>
                <a:lnTo>
                  <a:pt x="31" y="34"/>
                </a:lnTo>
                <a:lnTo>
                  <a:pt x="33" y="26"/>
                </a:lnTo>
                <a:lnTo>
                  <a:pt x="38" y="26"/>
                </a:lnTo>
                <a:lnTo>
                  <a:pt x="41" y="19"/>
                </a:lnTo>
                <a:lnTo>
                  <a:pt x="31" y="19"/>
                </a:lnTo>
                <a:lnTo>
                  <a:pt x="31" y="12"/>
                </a:lnTo>
                <a:close/>
                <a:moveTo>
                  <a:pt x="29" y="38"/>
                </a:moveTo>
                <a:lnTo>
                  <a:pt x="31" y="48"/>
                </a:lnTo>
                <a:lnTo>
                  <a:pt x="36" y="53"/>
                </a:lnTo>
                <a:lnTo>
                  <a:pt x="38" y="46"/>
                </a:lnTo>
                <a:lnTo>
                  <a:pt x="33" y="41"/>
                </a:lnTo>
                <a:lnTo>
                  <a:pt x="29" y="3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7" name="Cote d'Ivoire"/>
          <p:cNvSpPr>
            <a:spLocks/>
          </p:cNvSpPr>
          <p:nvPr/>
        </p:nvSpPr>
        <p:spPr bwMode="gray">
          <a:xfrm>
            <a:off x="3767996" y="3912268"/>
            <a:ext cx="176212" cy="207962"/>
          </a:xfrm>
          <a:custGeom>
            <a:avLst/>
            <a:gdLst>
              <a:gd name="T0" fmla="*/ 2147483647 w 438"/>
              <a:gd name="T1" fmla="*/ 2147483647 h 516"/>
              <a:gd name="T2" fmla="*/ 2147483647 w 438"/>
              <a:gd name="T3" fmla="*/ 2147483647 h 516"/>
              <a:gd name="T4" fmla="*/ 2147483647 w 438"/>
              <a:gd name="T5" fmla="*/ 2147483647 h 516"/>
              <a:gd name="T6" fmla="*/ 2147483647 w 438"/>
              <a:gd name="T7" fmla="*/ 2147483647 h 516"/>
              <a:gd name="T8" fmla="*/ 2147483647 w 438"/>
              <a:gd name="T9" fmla="*/ 2147483647 h 516"/>
              <a:gd name="T10" fmla="*/ 2147483647 w 438"/>
              <a:gd name="T11" fmla="*/ 2147483647 h 516"/>
              <a:gd name="T12" fmla="*/ 2147483647 w 438"/>
              <a:gd name="T13" fmla="*/ 2147483647 h 516"/>
              <a:gd name="T14" fmla="*/ 2147483647 w 438"/>
              <a:gd name="T15" fmla="*/ 2147483647 h 516"/>
              <a:gd name="T16" fmla="*/ 2147483647 w 438"/>
              <a:gd name="T17" fmla="*/ 2147483647 h 516"/>
              <a:gd name="T18" fmla="*/ 2147483647 w 438"/>
              <a:gd name="T19" fmla="*/ 2147483647 h 516"/>
              <a:gd name="T20" fmla="*/ 2147483647 w 438"/>
              <a:gd name="T21" fmla="*/ 2147483647 h 516"/>
              <a:gd name="T22" fmla="*/ 2147483647 w 438"/>
              <a:gd name="T23" fmla="*/ 2147483647 h 516"/>
              <a:gd name="T24" fmla="*/ 2147483647 w 438"/>
              <a:gd name="T25" fmla="*/ 2147483647 h 516"/>
              <a:gd name="T26" fmla="*/ 2147483647 w 438"/>
              <a:gd name="T27" fmla="*/ 2147483647 h 516"/>
              <a:gd name="T28" fmla="*/ 2147483647 w 438"/>
              <a:gd name="T29" fmla="*/ 2147483647 h 516"/>
              <a:gd name="T30" fmla="*/ 2147483647 w 438"/>
              <a:gd name="T31" fmla="*/ 2147483647 h 516"/>
              <a:gd name="T32" fmla="*/ 2147483647 w 438"/>
              <a:gd name="T33" fmla="*/ 0 h 516"/>
              <a:gd name="T34" fmla="*/ 2147483647 w 438"/>
              <a:gd name="T35" fmla="*/ 2147483647 h 516"/>
              <a:gd name="T36" fmla="*/ 2147483647 w 438"/>
              <a:gd name="T37" fmla="*/ 2147483647 h 516"/>
              <a:gd name="T38" fmla="*/ 2147483647 w 438"/>
              <a:gd name="T39" fmla="*/ 2147483647 h 516"/>
              <a:gd name="T40" fmla="*/ 2147483647 w 438"/>
              <a:gd name="T41" fmla="*/ 2147483647 h 516"/>
              <a:gd name="T42" fmla="*/ 2147483647 w 438"/>
              <a:gd name="T43" fmla="*/ 2147483647 h 516"/>
              <a:gd name="T44" fmla="*/ 2147483647 w 438"/>
              <a:gd name="T45" fmla="*/ 2147483647 h 516"/>
              <a:gd name="T46" fmla="*/ 2147483647 w 438"/>
              <a:gd name="T47" fmla="*/ 2147483647 h 516"/>
              <a:gd name="T48" fmla="*/ 2147483647 w 438"/>
              <a:gd name="T49" fmla="*/ 2147483647 h 516"/>
              <a:gd name="T50" fmla="*/ 2147483647 w 438"/>
              <a:gd name="T51" fmla="*/ 2147483647 h 516"/>
              <a:gd name="T52" fmla="*/ 2147483647 w 438"/>
              <a:gd name="T53" fmla="*/ 2147483647 h 516"/>
              <a:gd name="T54" fmla="*/ 2147483647 w 438"/>
              <a:gd name="T55" fmla="*/ 2147483647 h 516"/>
              <a:gd name="T56" fmla="*/ 2147483647 w 438"/>
              <a:gd name="T57" fmla="*/ 2147483647 h 516"/>
              <a:gd name="T58" fmla="*/ 2147483647 w 438"/>
              <a:gd name="T59" fmla="*/ 2147483647 h 516"/>
              <a:gd name="T60" fmla="*/ 2147483647 w 438"/>
              <a:gd name="T61" fmla="*/ 2147483647 h 516"/>
              <a:gd name="T62" fmla="*/ 2147483647 w 438"/>
              <a:gd name="T63" fmla="*/ 2147483647 h 516"/>
              <a:gd name="T64" fmla="*/ 2147483647 w 438"/>
              <a:gd name="T65" fmla="*/ 2147483647 h 516"/>
              <a:gd name="T66" fmla="*/ 2147483647 w 438"/>
              <a:gd name="T67" fmla="*/ 2147483647 h 516"/>
              <a:gd name="T68" fmla="*/ 2147483647 w 438"/>
              <a:gd name="T69" fmla="*/ 2147483647 h 516"/>
              <a:gd name="T70" fmla="*/ 2147483647 w 438"/>
              <a:gd name="T71" fmla="*/ 2147483647 h 516"/>
              <a:gd name="T72" fmla="*/ 2147483647 w 438"/>
              <a:gd name="T73" fmla="*/ 2147483647 h 516"/>
              <a:gd name="T74" fmla="*/ 2147483647 w 438"/>
              <a:gd name="T75" fmla="*/ 2147483647 h 516"/>
              <a:gd name="T76" fmla="*/ 2147483647 w 438"/>
              <a:gd name="T77" fmla="*/ 2147483647 h 516"/>
              <a:gd name="T78" fmla="*/ 2147483647 w 438"/>
              <a:gd name="T79" fmla="*/ 2147483647 h 516"/>
              <a:gd name="T80" fmla="*/ 2147483647 w 438"/>
              <a:gd name="T81" fmla="*/ 2147483647 h 516"/>
              <a:gd name="T82" fmla="*/ 2147483647 w 438"/>
              <a:gd name="T83" fmla="*/ 2147483647 h 516"/>
              <a:gd name="T84" fmla="*/ 2147483647 w 438"/>
              <a:gd name="T85" fmla="*/ 2147483647 h 516"/>
              <a:gd name="T86" fmla="*/ 2147483647 w 438"/>
              <a:gd name="T87" fmla="*/ 2147483647 h 516"/>
              <a:gd name="T88" fmla="*/ 2147483647 w 438"/>
              <a:gd name="T89" fmla="*/ 2147483647 h 51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438"/>
              <a:gd name="T136" fmla="*/ 0 h 516"/>
              <a:gd name="T137" fmla="*/ 438 w 438"/>
              <a:gd name="T138" fmla="*/ 516 h 51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438" h="516">
                <a:moveTo>
                  <a:pt x="402" y="408"/>
                </a:moveTo>
                <a:lnTo>
                  <a:pt x="402" y="402"/>
                </a:lnTo>
                <a:lnTo>
                  <a:pt x="396" y="396"/>
                </a:lnTo>
                <a:lnTo>
                  <a:pt x="390" y="384"/>
                </a:lnTo>
                <a:lnTo>
                  <a:pt x="390" y="372"/>
                </a:lnTo>
                <a:lnTo>
                  <a:pt x="384" y="354"/>
                </a:lnTo>
                <a:lnTo>
                  <a:pt x="378" y="342"/>
                </a:lnTo>
                <a:lnTo>
                  <a:pt x="378" y="318"/>
                </a:lnTo>
                <a:lnTo>
                  <a:pt x="384" y="312"/>
                </a:lnTo>
                <a:lnTo>
                  <a:pt x="390" y="300"/>
                </a:lnTo>
                <a:lnTo>
                  <a:pt x="408" y="282"/>
                </a:lnTo>
                <a:lnTo>
                  <a:pt x="408" y="270"/>
                </a:lnTo>
                <a:lnTo>
                  <a:pt x="414" y="258"/>
                </a:lnTo>
                <a:lnTo>
                  <a:pt x="414" y="240"/>
                </a:lnTo>
                <a:lnTo>
                  <a:pt x="420" y="228"/>
                </a:lnTo>
                <a:lnTo>
                  <a:pt x="426" y="222"/>
                </a:lnTo>
                <a:lnTo>
                  <a:pt x="438" y="198"/>
                </a:lnTo>
                <a:lnTo>
                  <a:pt x="438" y="186"/>
                </a:lnTo>
                <a:lnTo>
                  <a:pt x="432" y="174"/>
                </a:lnTo>
                <a:lnTo>
                  <a:pt x="432" y="162"/>
                </a:lnTo>
                <a:lnTo>
                  <a:pt x="426" y="150"/>
                </a:lnTo>
                <a:lnTo>
                  <a:pt x="426" y="138"/>
                </a:lnTo>
                <a:lnTo>
                  <a:pt x="420" y="132"/>
                </a:lnTo>
                <a:lnTo>
                  <a:pt x="420" y="126"/>
                </a:lnTo>
                <a:lnTo>
                  <a:pt x="432" y="126"/>
                </a:lnTo>
                <a:lnTo>
                  <a:pt x="426" y="96"/>
                </a:lnTo>
                <a:lnTo>
                  <a:pt x="408" y="102"/>
                </a:lnTo>
                <a:lnTo>
                  <a:pt x="408" y="90"/>
                </a:lnTo>
                <a:lnTo>
                  <a:pt x="390" y="72"/>
                </a:lnTo>
                <a:lnTo>
                  <a:pt x="372" y="66"/>
                </a:lnTo>
                <a:lnTo>
                  <a:pt x="342" y="66"/>
                </a:lnTo>
                <a:lnTo>
                  <a:pt x="318" y="78"/>
                </a:lnTo>
                <a:lnTo>
                  <a:pt x="318" y="84"/>
                </a:lnTo>
                <a:lnTo>
                  <a:pt x="312" y="90"/>
                </a:lnTo>
                <a:lnTo>
                  <a:pt x="300" y="90"/>
                </a:lnTo>
                <a:lnTo>
                  <a:pt x="294" y="84"/>
                </a:lnTo>
                <a:lnTo>
                  <a:pt x="282" y="84"/>
                </a:lnTo>
                <a:lnTo>
                  <a:pt x="276" y="78"/>
                </a:lnTo>
                <a:lnTo>
                  <a:pt x="264" y="72"/>
                </a:lnTo>
                <a:lnTo>
                  <a:pt x="258" y="60"/>
                </a:lnTo>
                <a:lnTo>
                  <a:pt x="258" y="48"/>
                </a:lnTo>
                <a:lnTo>
                  <a:pt x="252" y="42"/>
                </a:lnTo>
                <a:lnTo>
                  <a:pt x="252" y="36"/>
                </a:lnTo>
                <a:lnTo>
                  <a:pt x="228" y="42"/>
                </a:lnTo>
                <a:lnTo>
                  <a:pt x="228" y="18"/>
                </a:lnTo>
                <a:lnTo>
                  <a:pt x="216" y="18"/>
                </a:lnTo>
                <a:lnTo>
                  <a:pt x="210" y="24"/>
                </a:lnTo>
                <a:lnTo>
                  <a:pt x="204" y="36"/>
                </a:lnTo>
                <a:lnTo>
                  <a:pt x="198" y="42"/>
                </a:lnTo>
                <a:lnTo>
                  <a:pt x="174" y="36"/>
                </a:lnTo>
                <a:lnTo>
                  <a:pt x="174" y="0"/>
                </a:lnTo>
                <a:lnTo>
                  <a:pt x="162" y="24"/>
                </a:lnTo>
                <a:lnTo>
                  <a:pt x="150" y="6"/>
                </a:lnTo>
                <a:lnTo>
                  <a:pt x="144" y="30"/>
                </a:lnTo>
                <a:lnTo>
                  <a:pt x="126" y="30"/>
                </a:lnTo>
                <a:lnTo>
                  <a:pt x="120" y="48"/>
                </a:lnTo>
                <a:lnTo>
                  <a:pt x="102" y="30"/>
                </a:lnTo>
                <a:lnTo>
                  <a:pt x="84" y="24"/>
                </a:lnTo>
                <a:lnTo>
                  <a:pt x="72" y="24"/>
                </a:lnTo>
                <a:lnTo>
                  <a:pt x="66" y="30"/>
                </a:lnTo>
                <a:lnTo>
                  <a:pt x="66" y="48"/>
                </a:lnTo>
                <a:lnTo>
                  <a:pt x="54" y="42"/>
                </a:lnTo>
                <a:lnTo>
                  <a:pt x="36" y="66"/>
                </a:lnTo>
                <a:lnTo>
                  <a:pt x="42" y="102"/>
                </a:lnTo>
                <a:lnTo>
                  <a:pt x="60" y="108"/>
                </a:lnTo>
                <a:lnTo>
                  <a:pt x="48" y="126"/>
                </a:lnTo>
                <a:lnTo>
                  <a:pt x="66" y="132"/>
                </a:lnTo>
                <a:lnTo>
                  <a:pt x="60" y="138"/>
                </a:lnTo>
                <a:lnTo>
                  <a:pt x="54" y="150"/>
                </a:lnTo>
                <a:lnTo>
                  <a:pt x="54" y="162"/>
                </a:lnTo>
                <a:lnTo>
                  <a:pt x="60" y="162"/>
                </a:lnTo>
                <a:lnTo>
                  <a:pt x="72" y="168"/>
                </a:lnTo>
                <a:lnTo>
                  <a:pt x="78" y="168"/>
                </a:lnTo>
                <a:lnTo>
                  <a:pt x="78" y="180"/>
                </a:lnTo>
                <a:lnTo>
                  <a:pt x="72" y="186"/>
                </a:lnTo>
                <a:lnTo>
                  <a:pt x="72" y="192"/>
                </a:lnTo>
                <a:lnTo>
                  <a:pt x="66" y="186"/>
                </a:lnTo>
                <a:lnTo>
                  <a:pt x="54" y="186"/>
                </a:lnTo>
                <a:lnTo>
                  <a:pt x="48" y="180"/>
                </a:lnTo>
                <a:lnTo>
                  <a:pt x="30" y="180"/>
                </a:lnTo>
                <a:lnTo>
                  <a:pt x="30" y="192"/>
                </a:lnTo>
                <a:lnTo>
                  <a:pt x="36" y="204"/>
                </a:lnTo>
                <a:lnTo>
                  <a:pt x="48" y="210"/>
                </a:lnTo>
                <a:lnTo>
                  <a:pt x="54" y="222"/>
                </a:lnTo>
                <a:lnTo>
                  <a:pt x="36" y="222"/>
                </a:lnTo>
                <a:lnTo>
                  <a:pt x="36" y="228"/>
                </a:lnTo>
                <a:lnTo>
                  <a:pt x="42" y="234"/>
                </a:lnTo>
                <a:lnTo>
                  <a:pt x="42" y="252"/>
                </a:lnTo>
                <a:lnTo>
                  <a:pt x="36" y="258"/>
                </a:lnTo>
                <a:lnTo>
                  <a:pt x="30" y="258"/>
                </a:lnTo>
                <a:lnTo>
                  <a:pt x="18" y="252"/>
                </a:lnTo>
                <a:lnTo>
                  <a:pt x="12" y="246"/>
                </a:lnTo>
                <a:lnTo>
                  <a:pt x="6" y="246"/>
                </a:lnTo>
                <a:lnTo>
                  <a:pt x="24" y="282"/>
                </a:lnTo>
                <a:lnTo>
                  <a:pt x="24" y="306"/>
                </a:lnTo>
                <a:lnTo>
                  <a:pt x="18" y="324"/>
                </a:lnTo>
                <a:lnTo>
                  <a:pt x="6" y="330"/>
                </a:lnTo>
                <a:lnTo>
                  <a:pt x="0" y="342"/>
                </a:lnTo>
                <a:lnTo>
                  <a:pt x="6" y="348"/>
                </a:lnTo>
                <a:lnTo>
                  <a:pt x="24" y="348"/>
                </a:lnTo>
                <a:lnTo>
                  <a:pt x="24" y="360"/>
                </a:lnTo>
                <a:lnTo>
                  <a:pt x="60" y="354"/>
                </a:lnTo>
                <a:lnTo>
                  <a:pt x="60" y="384"/>
                </a:lnTo>
                <a:lnTo>
                  <a:pt x="90" y="414"/>
                </a:lnTo>
                <a:lnTo>
                  <a:pt x="90" y="438"/>
                </a:lnTo>
                <a:lnTo>
                  <a:pt x="84" y="450"/>
                </a:lnTo>
                <a:lnTo>
                  <a:pt x="84" y="462"/>
                </a:lnTo>
                <a:lnTo>
                  <a:pt x="78" y="468"/>
                </a:lnTo>
                <a:lnTo>
                  <a:pt x="78" y="516"/>
                </a:lnTo>
                <a:lnTo>
                  <a:pt x="90" y="516"/>
                </a:lnTo>
                <a:lnTo>
                  <a:pt x="96" y="510"/>
                </a:lnTo>
                <a:lnTo>
                  <a:pt x="102" y="498"/>
                </a:lnTo>
                <a:lnTo>
                  <a:pt x="114" y="498"/>
                </a:lnTo>
                <a:lnTo>
                  <a:pt x="126" y="486"/>
                </a:lnTo>
                <a:lnTo>
                  <a:pt x="138" y="480"/>
                </a:lnTo>
                <a:lnTo>
                  <a:pt x="198" y="456"/>
                </a:lnTo>
                <a:lnTo>
                  <a:pt x="228" y="450"/>
                </a:lnTo>
                <a:lnTo>
                  <a:pt x="264" y="450"/>
                </a:lnTo>
                <a:lnTo>
                  <a:pt x="270" y="444"/>
                </a:lnTo>
                <a:lnTo>
                  <a:pt x="282" y="444"/>
                </a:lnTo>
                <a:lnTo>
                  <a:pt x="294" y="438"/>
                </a:lnTo>
                <a:lnTo>
                  <a:pt x="330" y="438"/>
                </a:lnTo>
                <a:lnTo>
                  <a:pt x="336" y="444"/>
                </a:lnTo>
                <a:lnTo>
                  <a:pt x="342" y="444"/>
                </a:lnTo>
                <a:lnTo>
                  <a:pt x="348" y="450"/>
                </a:lnTo>
                <a:lnTo>
                  <a:pt x="366" y="450"/>
                </a:lnTo>
                <a:lnTo>
                  <a:pt x="378" y="438"/>
                </a:lnTo>
                <a:lnTo>
                  <a:pt x="384" y="438"/>
                </a:lnTo>
                <a:lnTo>
                  <a:pt x="384" y="444"/>
                </a:lnTo>
                <a:lnTo>
                  <a:pt x="396" y="456"/>
                </a:lnTo>
                <a:lnTo>
                  <a:pt x="408" y="462"/>
                </a:lnTo>
                <a:lnTo>
                  <a:pt x="420" y="462"/>
                </a:lnTo>
                <a:lnTo>
                  <a:pt x="426" y="468"/>
                </a:lnTo>
                <a:lnTo>
                  <a:pt x="426" y="414"/>
                </a:lnTo>
                <a:lnTo>
                  <a:pt x="402" y="40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8" name="Costa Rica"/>
          <p:cNvSpPr>
            <a:spLocks/>
          </p:cNvSpPr>
          <p:nvPr/>
        </p:nvSpPr>
        <p:spPr bwMode="gray">
          <a:xfrm>
            <a:off x="1564546" y="3896393"/>
            <a:ext cx="96837" cy="92075"/>
          </a:xfrm>
          <a:custGeom>
            <a:avLst/>
            <a:gdLst>
              <a:gd name="T0" fmla="*/ 2147483647 w 240"/>
              <a:gd name="T1" fmla="*/ 2147483647 h 228"/>
              <a:gd name="T2" fmla="*/ 2147483647 w 240"/>
              <a:gd name="T3" fmla="*/ 2147483647 h 228"/>
              <a:gd name="T4" fmla="*/ 2147483647 w 240"/>
              <a:gd name="T5" fmla="*/ 2147483647 h 228"/>
              <a:gd name="T6" fmla="*/ 2147483647 w 240"/>
              <a:gd name="T7" fmla="*/ 2147483647 h 228"/>
              <a:gd name="T8" fmla="*/ 2147483647 w 240"/>
              <a:gd name="T9" fmla="*/ 2147483647 h 228"/>
              <a:gd name="T10" fmla="*/ 2147483647 w 240"/>
              <a:gd name="T11" fmla="*/ 2147483647 h 228"/>
              <a:gd name="T12" fmla="*/ 2147483647 w 240"/>
              <a:gd name="T13" fmla="*/ 2147483647 h 228"/>
              <a:gd name="T14" fmla="*/ 2147483647 w 240"/>
              <a:gd name="T15" fmla="*/ 2147483647 h 228"/>
              <a:gd name="T16" fmla="*/ 2147483647 w 240"/>
              <a:gd name="T17" fmla="*/ 2147483647 h 228"/>
              <a:gd name="T18" fmla="*/ 2147483647 w 240"/>
              <a:gd name="T19" fmla="*/ 2147483647 h 228"/>
              <a:gd name="T20" fmla="*/ 2147483647 w 240"/>
              <a:gd name="T21" fmla="*/ 2147483647 h 228"/>
              <a:gd name="T22" fmla="*/ 2147483647 w 240"/>
              <a:gd name="T23" fmla="*/ 2147483647 h 228"/>
              <a:gd name="T24" fmla="*/ 2147483647 w 240"/>
              <a:gd name="T25" fmla="*/ 2147483647 h 228"/>
              <a:gd name="T26" fmla="*/ 2147483647 w 240"/>
              <a:gd name="T27" fmla="*/ 2147483647 h 228"/>
              <a:gd name="T28" fmla="*/ 2147483647 w 240"/>
              <a:gd name="T29" fmla="*/ 2147483647 h 228"/>
              <a:gd name="T30" fmla="*/ 2147483647 w 240"/>
              <a:gd name="T31" fmla="*/ 0 h 228"/>
              <a:gd name="T32" fmla="*/ 2147483647 w 240"/>
              <a:gd name="T33" fmla="*/ 2147483647 h 228"/>
              <a:gd name="T34" fmla="*/ 2147483647 w 240"/>
              <a:gd name="T35" fmla="*/ 2147483647 h 228"/>
              <a:gd name="T36" fmla="*/ 0 w 240"/>
              <a:gd name="T37" fmla="*/ 2147483647 h 228"/>
              <a:gd name="T38" fmla="*/ 2147483647 w 240"/>
              <a:gd name="T39" fmla="*/ 2147483647 h 228"/>
              <a:gd name="T40" fmla="*/ 2147483647 w 240"/>
              <a:gd name="T41" fmla="*/ 2147483647 h 228"/>
              <a:gd name="T42" fmla="*/ 2147483647 w 240"/>
              <a:gd name="T43" fmla="*/ 2147483647 h 228"/>
              <a:gd name="T44" fmla="*/ 2147483647 w 240"/>
              <a:gd name="T45" fmla="*/ 2147483647 h 228"/>
              <a:gd name="T46" fmla="*/ 2147483647 w 240"/>
              <a:gd name="T47" fmla="*/ 2147483647 h 228"/>
              <a:gd name="T48" fmla="*/ 2147483647 w 240"/>
              <a:gd name="T49" fmla="*/ 2147483647 h 228"/>
              <a:gd name="T50" fmla="*/ 2147483647 w 240"/>
              <a:gd name="T51" fmla="*/ 2147483647 h 228"/>
              <a:gd name="T52" fmla="*/ 2147483647 w 240"/>
              <a:gd name="T53" fmla="*/ 2147483647 h 228"/>
              <a:gd name="T54" fmla="*/ 2147483647 w 240"/>
              <a:gd name="T55" fmla="*/ 2147483647 h 228"/>
              <a:gd name="T56" fmla="*/ 2147483647 w 240"/>
              <a:gd name="T57" fmla="*/ 2147483647 h 228"/>
              <a:gd name="T58" fmla="*/ 2147483647 w 240"/>
              <a:gd name="T59" fmla="*/ 2147483647 h 228"/>
              <a:gd name="T60" fmla="*/ 2147483647 w 240"/>
              <a:gd name="T61" fmla="*/ 2147483647 h 228"/>
              <a:gd name="T62" fmla="*/ 2147483647 w 240"/>
              <a:gd name="T63" fmla="*/ 2147483647 h 228"/>
              <a:gd name="T64" fmla="*/ 2147483647 w 240"/>
              <a:gd name="T65" fmla="*/ 2147483647 h 228"/>
              <a:gd name="T66" fmla="*/ 2147483647 w 240"/>
              <a:gd name="T67" fmla="*/ 2147483647 h 22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40"/>
              <a:gd name="T103" fmla="*/ 0 h 228"/>
              <a:gd name="T104" fmla="*/ 240 w 240"/>
              <a:gd name="T105" fmla="*/ 228 h 22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40" h="228">
                <a:moveTo>
                  <a:pt x="210" y="198"/>
                </a:moveTo>
                <a:lnTo>
                  <a:pt x="216" y="198"/>
                </a:lnTo>
                <a:lnTo>
                  <a:pt x="234" y="180"/>
                </a:lnTo>
                <a:lnTo>
                  <a:pt x="228" y="174"/>
                </a:lnTo>
                <a:lnTo>
                  <a:pt x="210" y="174"/>
                </a:lnTo>
                <a:lnTo>
                  <a:pt x="210" y="168"/>
                </a:lnTo>
                <a:lnTo>
                  <a:pt x="204" y="162"/>
                </a:lnTo>
                <a:lnTo>
                  <a:pt x="204" y="144"/>
                </a:lnTo>
                <a:lnTo>
                  <a:pt x="210" y="138"/>
                </a:lnTo>
                <a:lnTo>
                  <a:pt x="222" y="138"/>
                </a:lnTo>
                <a:lnTo>
                  <a:pt x="228" y="132"/>
                </a:lnTo>
                <a:lnTo>
                  <a:pt x="240" y="132"/>
                </a:lnTo>
                <a:lnTo>
                  <a:pt x="228" y="126"/>
                </a:lnTo>
                <a:lnTo>
                  <a:pt x="210" y="108"/>
                </a:lnTo>
                <a:lnTo>
                  <a:pt x="198" y="84"/>
                </a:lnTo>
                <a:lnTo>
                  <a:pt x="192" y="78"/>
                </a:lnTo>
                <a:lnTo>
                  <a:pt x="186" y="66"/>
                </a:lnTo>
                <a:lnTo>
                  <a:pt x="180" y="60"/>
                </a:lnTo>
                <a:lnTo>
                  <a:pt x="174" y="36"/>
                </a:lnTo>
                <a:lnTo>
                  <a:pt x="138" y="36"/>
                </a:lnTo>
                <a:lnTo>
                  <a:pt x="126" y="24"/>
                </a:lnTo>
                <a:lnTo>
                  <a:pt x="126" y="18"/>
                </a:lnTo>
                <a:lnTo>
                  <a:pt x="120" y="18"/>
                </a:lnTo>
                <a:lnTo>
                  <a:pt x="114" y="12"/>
                </a:lnTo>
                <a:lnTo>
                  <a:pt x="84" y="12"/>
                </a:lnTo>
                <a:lnTo>
                  <a:pt x="84" y="18"/>
                </a:lnTo>
                <a:lnTo>
                  <a:pt x="78" y="18"/>
                </a:lnTo>
                <a:lnTo>
                  <a:pt x="72" y="12"/>
                </a:lnTo>
                <a:lnTo>
                  <a:pt x="60" y="6"/>
                </a:lnTo>
                <a:lnTo>
                  <a:pt x="48" y="6"/>
                </a:lnTo>
                <a:lnTo>
                  <a:pt x="42" y="0"/>
                </a:lnTo>
                <a:lnTo>
                  <a:pt x="24" y="0"/>
                </a:lnTo>
                <a:lnTo>
                  <a:pt x="6" y="30"/>
                </a:lnTo>
                <a:lnTo>
                  <a:pt x="18" y="42"/>
                </a:lnTo>
                <a:lnTo>
                  <a:pt x="24" y="42"/>
                </a:lnTo>
                <a:lnTo>
                  <a:pt x="24" y="48"/>
                </a:lnTo>
                <a:lnTo>
                  <a:pt x="6" y="66"/>
                </a:lnTo>
                <a:lnTo>
                  <a:pt x="0" y="78"/>
                </a:lnTo>
                <a:lnTo>
                  <a:pt x="6" y="90"/>
                </a:lnTo>
                <a:lnTo>
                  <a:pt x="18" y="102"/>
                </a:lnTo>
                <a:lnTo>
                  <a:pt x="30" y="108"/>
                </a:lnTo>
                <a:lnTo>
                  <a:pt x="42" y="108"/>
                </a:lnTo>
                <a:lnTo>
                  <a:pt x="60" y="126"/>
                </a:lnTo>
                <a:lnTo>
                  <a:pt x="72" y="126"/>
                </a:lnTo>
                <a:lnTo>
                  <a:pt x="72" y="102"/>
                </a:lnTo>
                <a:lnTo>
                  <a:pt x="66" y="96"/>
                </a:lnTo>
                <a:lnTo>
                  <a:pt x="54" y="90"/>
                </a:lnTo>
                <a:lnTo>
                  <a:pt x="42" y="78"/>
                </a:lnTo>
                <a:lnTo>
                  <a:pt x="42" y="72"/>
                </a:lnTo>
                <a:lnTo>
                  <a:pt x="48" y="72"/>
                </a:lnTo>
                <a:lnTo>
                  <a:pt x="60" y="78"/>
                </a:lnTo>
                <a:lnTo>
                  <a:pt x="66" y="84"/>
                </a:lnTo>
                <a:lnTo>
                  <a:pt x="90" y="96"/>
                </a:lnTo>
                <a:lnTo>
                  <a:pt x="96" y="102"/>
                </a:lnTo>
                <a:lnTo>
                  <a:pt x="96" y="132"/>
                </a:lnTo>
                <a:lnTo>
                  <a:pt x="114" y="132"/>
                </a:lnTo>
                <a:lnTo>
                  <a:pt x="126" y="138"/>
                </a:lnTo>
                <a:lnTo>
                  <a:pt x="138" y="138"/>
                </a:lnTo>
                <a:lnTo>
                  <a:pt x="156" y="180"/>
                </a:lnTo>
                <a:lnTo>
                  <a:pt x="150" y="186"/>
                </a:lnTo>
                <a:lnTo>
                  <a:pt x="150" y="198"/>
                </a:lnTo>
                <a:lnTo>
                  <a:pt x="168" y="216"/>
                </a:lnTo>
                <a:lnTo>
                  <a:pt x="180" y="222"/>
                </a:lnTo>
                <a:lnTo>
                  <a:pt x="192" y="222"/>
                </a:lnTo>
                <a:lnTo>
                  <a:pt x="174" y="198"/>
                </a:lnTo>
                <a:lnTo>
                  <a:pt x="204" y="228"/>
                </a:lnTo>
                <a:lnTo>
                  <a:pt x="210" y="222"/>
                </a:lnTo>
                <a:lnTo>
                  <a:pt x="210" y="198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59" name="China"/>
          <p:cNvSpPr>
            <a:spLocks noEditPoints="1"/>
          </p:cNvSpPr>
          <p:nvPr/>
        </p:nvSpPr>
        <p:spPr bwMode="gray">
          <a:xfrm>
            <a:off x="5990496" y="2531143"/>
            <a:ext cx="1473200" cy="1136650"/>
          </a:xfrm>
          <a:custGeom>
            <a:avLst/>
            <a:gdLst>
              <a:gd name="T0" fmla="*/ 2147483647 w 3660"/>
              <a:gd name="T1" fmla="*/ 2147483647 h 2826"/>
              <a:gd name="T2" fmla="*/ 2147483647 w 3660"/>
              <a:gd name="T3" fmla="*/ 2147483647 h 2826"/>
              <a:gd name="T4" fmla="*/ 2147483647 w 3660"/>
              <a:gd name="T5" fmla="*/ 2147483647 h 2826"/>
              <a:gd name="T6" fmla="*/ 2147483647 w 3660"/>
              <a:gd name="T7" fmla="*/ 2147483647 h 2826"/>
              <a:gd name="T8" fmla="*/ 2147483647 w 3660"/>
              <a:gd name="T9" fmla="*/ 2147483647 h 2826"/>
              <a:gd name="T10" fmla="*/ 2147483647 w 3660"/>
              <a:gd name="T11" fmla="*/ 2147483647 h 2826"/>
              <a:gd name="T12" fmla="*/ 2147483647 w 3660"/>
              <a:gd name="T13" fmla="*/ 2147483647 h 2826"/>
              <a:gd name="T14" fmla="*/ 2147483647 w 3660"/>
              <a:gd name="T15" fmla="*/ 2147483647 h 2826"/>
              <a:gd name="T16" fmla="*/ 2147483647 w 3660"/>
              <a:gd name="T17" fmla="*/ 2147483647 h 2826"/>
              <a:gd name="T18" fmla="*/ 2147483647 w 3660"/>
              <a:gd name="T19" fmla="*/ 2147483647 h 2826"/>
              <a:gd name="T20" fmla="*/ 2147483647 w 3660"/>
              <a:gd name="T21" fmla="*/ 2147483647 h 2826"/>
              <a:gd name="T22" fmla="*/ 2147483647 w 3660"/>
              <a:gd name="T23" fmla="*/ 2147483647 h 2826"/>
              <a:gd name="T24" fmla="*/ 2147483647 w 3660"/>
              <a:gd name="T25" fmla="*/ 2147483647 h 2826"/>
              <a:gd name="T26" fmla="*/ 2147483647 w 3660"/>
              <a:gd name="T27" fmla="*/ 2147483647 h 2826"/>
              <a:gd name="T28" fmla="*/ 2147483647 w 3660"/>
              <a:gd name="T29" fmla="*/ 2147483647 h 2826"/>
              <a:gd name="T30" fmla="*/ 2147483647 w 3660"/>
              <a:gd name="T31" fmla="*/ 2147483647 h 2826"/>
              <a:gd name="T32" fmla="*/ 2147483647 w 3660"/>
              <a:gd name="T33" fmla="*/ 2147483647 h 2826"/>
              <a:gd name="T34" fmla="*/ 2147483647 w 3660"/>
              <a:gd name="T35" fmla="*/ 2147483647 h 2826"/>
              <a:gd name="T36" fmla="*/ 2147483647 w 3660"/>
              <a:gd name="T37" fmla="*/ 2147483647 h 2826"/>
              <a:gd name="T38" fmla="*/ 2147483647 w 3660"/>
              <a:gd name="T39" fmla="*/ 2147483647 h 2826"/>
              <a:gd name="T40" fmla="*/ 2147483647 w 3660"/>
              <a:gd name="T41" fmla="*/ 2147483647 h 2826"/>
              <a:gd name="T42" fmla="*/ 2147483647 w 3660"/>
              <a:gd name="T43" fmla="*/ 2147483647 h 2826"/>
              <a:gd name="T44" fmla="*/ 2147483647 w 3660"/>
              <a:gd name="T45" fmla="*/ 2147483647 h 2826"/>
              <a:gd name="T46" fmla="*/ 0 w 3660"/>
              <a:gd name="T47" fmla="*/ 2147483647 h 2826"/>
              <a:gd name="T48" fmla="*/ 2147483647 w 3660"/>
              <a:gd name="T49" fmla="*/ 2147483647 h 2826"/>
              <a:gd name="T50" fmla="*/ 2147483647 w 3660"/>
              <a:gd name="T51" fmla="*/ 2147483647 h 2826"/>
              <a:gd name="T52" fmla="*/ 2147483647 w 3660"/>
              <a:gd name="T53" fmla="*/ 2147483647 h 2826"/>
              <a:gd name="T54" fmla="*/ 2147483647 w 3660"/>
              <a:gd name="T55" fmla="*/ 2147483647 h 2826"/>
              <a:gd name="T56" fmla="*/ 2147483647 w 3660"/>
              <a:gd name="T57" fmla="*/ 2147483647 h 2826"/>
              <a:gd name="T58" fmla="*/ 2147483647 w 3660"/>
              <a:gd name="T59" fmla="*/ 2147483647 h 2826"/>
              <a:gd name="T60" fmla="*/ 2147483647 w 3660"/>
              <a:gd name="T61" fmla="*/ 2147483647 h 2826"/>
              <a:gd name="T62" fmla="*/ 2147483647 w 3660"/>
              <a:gd name="T63" fmla="*/ 2147483647 h 2826"/>
              <a:gd name="T64" fmla="*/ 2147483647 w 3660"/>
              <a:gd name="T65" fmla="*/ 2147483647 h 2826"/>
              <a:gd name="T66" fmla="*/ 2147483647 w 3660"/>
              <a:gd name="T67" fmla="*/ 2147483647 h 2826"/>
              <a:gd name="T68" fmla="*/ 2147483647 w 3660"/>
              <a:gd name="T69" fmla="*/ 2147483647 h 2826"/>
              <a:gd name="T70" fmla="*/ 2147483647 w 3660"/>
              <a:gd name="T71" fmla="*/ 2147483647 h 2826"/>
              <a:gd name="T72" fmla="*/ 2147483647 w 3660"/>
              <a:gd name="T73" fmla="*/ 2147483647 h 2826"/>
              <a:gd name="T74" fmla="*/ 2147483647 w 3660"/>
              <a:gd name="T75" fmla="*/ 2147483647 h 2826"/>
              <a:gd name="T76" fmla="*/ 2147483647 w 3660"/>
              <a:gd name="T77" fmla="*/ 2147483647 h 2826"/>
              <a:gd name="T78" fmla="*/ 2147483647 w 3660"/>
              <a:gd name="T79" fmla="*/ 2147483647 h 2826"/>
              <a:gd name="T80" fmla="*/ 2147483647 w 3660"/>
              <a:gd name="T81" fmla="*/ 2147483647 h 2826"/>
              <a:gd name="T82" fmla="*/ 2147483647 w 3660"/>
              <a:gd name="T83" fmla="*/ 2147483647 h 2826"/>
              <a:gd name="T84" fmla="*/ 2147483647 w 3660"/>
              <a:gd name="T85" fmla="*/ 2147483647 h 2826"/>
              <a:gd name="T86" fmla="*/ 2147483647 w 3660"/>
              <a:gd name="T87" fmla="*/ 2147483647 h 2826"/>
              <a:gd name="T88" fmla="*/ 2147483647 w 3660"/>
              <a:gd name="T89" fmla="*/ 2147483647 h 2826"/>
              <a:gd name="T90" fmla="*/ 2147483647 w 3660"/>
              <a:gd name="T91" fmla="*/ 2147483647 h 2826"/>
              <a:gd name="T92" fmla="*/ 2147483647 w 3660"/>
              <a:gd name="T93" fmla="*/ 2147483647 h 2826"/>
              <a:gd name="T94" fmla="*/ 2147483647 w 3660"/>
              <a:gd name="T95" fmla="*/ 2147483647 h 2826"/>
              <a:gd name="T96" fmla="*/ 2147483647 w 3660"/>
              <a:gd name="T97" fmla="*/ 2147483647 h 2826"/>
              <a:gd name="T98" fmla="*/ 2147483647 w 3660"/>
              <a:gd name="T99" fmla="*/ 2147483647 h 2826"/>
              <a:gd name="T100" fmla="*/ 2147483647 w 3660"/>
              <a:gd name="T101" fmla="*/ 2147483647 h 2826"/>
              <a:gd name="T102" fmla="*/ 2147483647 w 3660"/>
              <a:gd name="T103" fmla="*/ 2147483647 h 2826"/>
              <a:gd name="T104" fmla="*/ 2147483647 w 3660"/>
              <a:gd name="T105" fmla="*/ 2147483647 h 2826"/>
              <a:gd name="T106" fmla="*/ 2147483647 w 3660"/>
              <a:gd name="T107" fmla="*/ 2147483647 h 2826"/>
              <a:gd name="T108" fmla="*/ 2147483647 w 3660"/>
              <a:gd name="T109" fmla="*/ 2147483647 h 2826"/>
              <a:gd name="T110" fmla="*/ 2147483647 w 3660"/>
              <a:gd name="T111" fmla="*/ 2147483647 h 2826"/>
              <a:gd name="T112" fmla="*/ 2147483647 w 3660"/>
              <a:gd name="T113" fmla="*/ 2147483647 h 2826"/>
              <a:gd name="T114" fmla="*/ 2147483647 w 3660"/>
              <a:gd name="T115" fmla="*/ 2147483647 h 2826"/>
              <a:gd name="T116" fmla="*/ 2147483647 w 3660"/>
              <a:gd name="T117" fmla="*/ 2147483647 h 2826"/>
              <a:gd name="T118" fmla="*/ 2147483647 w 3660"/>
              <a:gd name="T119" fmla="*/ 2147483647 h 2826"/>
              <a:gd name="T120" fmla="*/ 2147483647 w 3660"/>
              <a:gd name="T121" fmla="*/ 2147483647 h 2826"/>
              <a:gd name="T122" fmla="*/ 2147483647 w 3660"/>
              <a:gd name="T123" fmla="*/ 2147483647 h 28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660"/>
              <a:gd name="T187" fmla="*/ 0 h 2826"/>
              <a:gd name="T188" fmla="*/ 3660 w 3660"/>
              <a:gd name="T189" fmla="*/ 2826 h 282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660" h="2826">
                <a:moveTo>
                  <a:pt x="2862" y="2688"/>
                </a:moveTo>
                <a:lnTo>
                  <a:pt x="2850" y="2682"/>
                </a:lnTo>
                <a:lnTo>
                  <a:pt x="2772" y="2682"/>
                </a:lnTo>
                <a:lnTo>
                  <a:pt x="2766" y="2700"/>
                </a:lnTo>
                <a:lnTo>
                  <a:pt x="2748" y="2694"/>
                </a:lnTo>
                <a:lnTo>
                  <a:pt x="2736" y="2718"/>
                </a:lnTo>
                <a:lnTo>
                  <a:pt x="2730" y="2724"/>
                </a:lnTo>
                <a:lnTo>
                  <a:pt x="2712" y="2760"/>
                </a:lnTo>
                <a:lnTo>
                  <a:pt x="2718" y="2772"/>
                </a:lnTo>
                <a:lnTo>
                  <a:pt x="2724" y="2790"/>
                </a:lnTo>
                <a:lnTo>
                  <a:pt x="2754" y="2820"/>
                </a:lnTo>
                <a:lnTo>
                  <a:pt x="2766" y="2826"/>
                </a:lnTo>
                <a:lnTo>
                  <a:pt x="2772" y="2826"/>
                </a:lnTo>
                <a:lnTo>
                  <a:pt x="2802" y="2820"/>
                </a:lnTo>
                <a:lnTo>
                  <a:pt x="2820" y="2820"/>
                </a:lnTo>
                <a:lnTo>
                  <a:pt x="2844" y="2808"/>
                </a:lnTo>
                <a:lnTo>
                  <a:pt x="2850" y="2802"/>
                </a:lnTo>
                <a:lnTo>
                  <a:pt x="2850" y="2754"/>
                </a:lnTo>
                <a:lnTo>
                  <a:pt x="2856" y="2742"/>
                </a:lnTo>
                <a:lnTo>
                  <a:pt x="2862" y="2736"/>
                </a:lnTo>
                <a:lnTo>
                  <a:pt x="2868" y="2724"/>
                </a:lnTo>
                <a:lnTo>
                  <a:pt x="2868" y="2700"/>
                </a:lnTo>
                <a:lnTo>
                  <a:pt x="2862" y="2688"/>
                </a:lnTo>
                <a:close/>
                <a:moveTo>
                  <a:pt x="3660" y="624"/>
                </a:moveTo>
                <a:lnTo>
                  <a:pt x="3654" y="600"/>
                </a:lnTo>
                <a:lnTo>
                  <a:pt x="3660" y="570"/>
                </a:lnTo>
                <a:lnTo>
                  <a:pt x="3642" y="564"/>
                </a:lnTo>
                <a:lnTo>
                  <a:pt x="3642" y="540"/>
                </a:lnTo>
                <a:lnTo>
                  <a:pt x="3630" y="528"/>
                </a:lnTo>
                <a:lnTo>
                  <a:pt x="3630" y="510"/>
                </a:lnTo>
                <a:lnTo>
                  <a:pt x="3618" y="492"/>
                </a:lnTo>
                <a:lnTo>
                  <a:pt x="3636" y="486"/>
                </a:lnTo>
                <a:lnTo>
                  <a:pt x="3636" y="456"/>
                </a:lnTo>
                <a:lnTo>
                  <a:pt x="3612" y="444"/>
                </a:lnTo>
                <a:lnTo>
                  <a:pt x="3612" y="426"/>
                </a:lnTo>
                <a:lnTo>
                  <a:pt x="3606" y="414"/>
                </a:lnTo>
                <a:lnTo>
                  <a:pt x="3594" y="408"/>
                </a:lnTo>
                <a:lnTo>
                  <a:pt x="3552" y="408"/>
                </a:lnTo>
                <a:lnTo>
                  <a:pt x="3546" y="432"/>
                </a:lnTo>
                <a:lnTo>
                  <a:pt x="3516" y="432"/>
                </a:lnTo>
                <a:lnTo>
                  <a:pt x="3504" y="438"/>
                </a:lnTo>
                <a:lnTo>
                  <a:pt x="3498" y="438"/>
                </a:lnTo>
                <a:lnTo>
                  <a:pt x="3492" y="444"/>
                </a:lnTo>
                <a:lnTo>
                  <a:pt x="3492" y="462"/>
                </a:lnTo>
                <a:lnTo>
                  <a:pt x="3462" y="456"/>
                </a:lnTo>
                <a:lnTo>
                  <a:pt x="3462" y="468"/>
                </a:lnTo>
                <a:lnTo>
                  <a:pt x="3444" y="468"/>
                </a:lnTo>
                <a:lnTo>
                  <a:pt x="3432" y="456"/>
                </a:lnTo>
                <a:lnTo>
                  <a:pt x="3408" y="462"/>
                </a:lnTo>
                <a:lnTo>
                  <a:pt x="3366" y="432"/>
                </a:lnTo>
                <a:lnTo>
                  <a:pt x="3366" y="420"/>
                </a:lnTo>
                <a:lnTo>
                  <a:pt x="3360" y="408"/>
                </a:lnTo>
                <a:lnTo>
                  <a:pt x="3360" y="402"/>
                </a:lnTo>
                <a:lnTo>
                  <a:pt x="3354" y="396"/>
                </a:lnTo>
                <a:lnTo>
                  <a:pt x="3336" y="396"/>
                </a:lnTo>
                <a:lnTo>
                  <a:pt x="3318" y="366"/>
                </a:lnTo>
                <a:lnTo>
                  <a:pt x="3276" y="366"/>
                </a:lnTo>
                <a:lnTo>
                  <a:pt x="3258" y="348"/>
                </a:lnTo>
                <a:lnTo>
                  <a:pt x="3246" y="342"/>
                </a:lnTo>
                <a:lnTo>
                  <a:pt x="3228" y="324"/>
                </a:lnTo>
                <a:lnTo>
                  <a:pt x="3216" y="324"/>
                </a:lnTo>
                <a:lnTo>
                  <a:pt x="3204" y="336"/>
                </a:lnTo>
                <a:lnTo>
                  <a:pt x="3192" y="330"/>
                </a:lnTo>
                <a:lnTo>
                  <a:pt x="3186" y="324"/>
                </a:lnTo>
                <a:lnTo>
                  <a:pt x="3174" y="318"/>
                </a:lnTo>
                <a:lnTo>
                  <a:pt x="3126" y="318"/>
                </a:lnTo>
                <a:lnTo>
                  <a:pt x="3114" y="312"/>
                </a:lnTo>
                <a:lnTo>
                  <a:pt x="3108" y="306"/>
                </a:lnTo>
                <a:lnTo>
                  <a:pt x="3084" y="294"/>
                </a:lnTo>
                <a:lnTo>
                  <a:pt x="3078" y="288"/>
                </a:lnTo>
                <a:lnTo>
                  <a:pt x="3072" y="288"/>
                </a:lnTo>
                <a:lnTo>
                  <a:pt x="3066" y="264"/>
                </a:lnTo>
                <a:lnTo>
                  <a:pt x="3054" y="264"/>
                </a:lnTo>
                <a:lnTo>
                  <a:pt x="3048" y="252"/>
                </a:lnTo>
                <a:lnTo>
                  <a:pt x="3030" y="234"/>
                </a:lnTo>
                <a:lnTo>
                  <a:pt x="3024" y="222"/>
                </a:lnTo>
                <a:lnTo>
                  <a:pt x="2976" y="198"/>
                </a:lnTo>
                <a:lnTo>
                  <a:pt x="2964" y="198"/>
                </a:lnTo>
                <a:lnTo>
                  <a:pt x="2952" y="168"/>
                </a:lnTo>
                <a:lnTo>
                  <a:pt x="2904" y="144"/>
                </a:lnTo>
                <a:lnTo>
                  <a:pt x="2898" y="114"/>
                </a:lnTo>
                <a:lnTo>
                  <a:pt x="2892" y="114"/>
                </a:lnTo>
                <a:lnTo>
                  <a:pt x="2886" y="108"/>
                </a:lnTo>
                <a:lnTo>
                  <a:pt x="2874" y="108"/>
                </a:lnTo>
                <a:lnTo>
                  <a:pt x="2862" y="96"/>
                </a:lnTo>
                <a:lnTo>
                  <a:pt x="2850" y="90"/>
                </a:lnTo>
                <a:lnTo>
                  <a:pt x="2838" y="78"/>
                </a:lnTo>
                <a:lnTo>
                  <a:pt x="2832" y="78"/>
                </a:lnTo>
                <a:lnTo>
                  <a:pt x="2832" y="66"/>
                </a:lnTo>
                <a:lnTo>
                  <a:pt x="2820" y="60"/>
                </a:lnTo>
                <a:lnTo>
                  <a:pt x="2814" y="54"/>
                </a:lnTo>
                <a:lnTo>
                  <a:pt x="2802" y="48"/>
                </a:lnTo>
                <a:lnTo>
                  <a:pt x="2796" y="42"/>
                </a:lnTo>
                <a:lnTo>
                  <a:pt x="2724" y="42"/>
                </a:lnTo>
                <a:lnTo>
                  <a:pt x="2688" y="18"/>
                </a:lnTo>
                <a:lnTo>
                  <a:pt x="2652" y="0"/>
                </a:lnTo>
                <a:lnTo>
                  <a:pt x="2598" y="12"/>
                </a:lnTo>
                <a:lnTo>
                  <a:pt x="2556" y="6"/>
                </a:lnTo>
                <a:lnTo>
                  <a:pt x="2550" y="18"/>
                </a:lnTo>
                <a:lnTo>
                  <a:pt x="2514" y="24"/>
                </a:lnTo>
                <a:lnTo>
                  <a:pt x="2472" y="66"/>
                </a:lnTo>
                <a:lnTo>
                  <a:pt x="2466" y="66"/>
                </a:lnTo>
                <a:lnTo>
                  <a:pt x="2466" y="78"/>
                </a:lnTo>
                <a:lnTo>
                  <a:pt x="2472" y="78"/>
                </a:lnTo>
                <a:lnTo>
                  <a:pt x="2490" y="84"/>
                </a:lnTo>
                <a:lnTo>
                  <a:pt x="2502" y="84"/>
                </a:lnTo>
                <a:lnTo>
                  <a:pt x="2508" y="90"/>
                </a:lnTo>
                <a:lnTo>
                  <a:pt x="2520" y="90"/>
                </a:lnTo>
                <a:lnTo>
                  <a:pt x="2532" y="102"/>
                </a:lnTo>
                <a:lnTo>
                  <a:pt x="2544" y="108"/>
                </a:lnTo>
                <a:lnTo>
                  <a:pt x="2550" y="114"/>
                </a:lnTo>
                <a:lnTo>
                  <a:pt x="2550" y="126"/>
                </a:lnTo>
                <a:lnTo>
                  <a:pt x="2532" y="144"/>
                </a:lnTo>
                <a:lnTo>
                  <a:pt x="2532" y="216"/>
                </a:lnTo>
                <a:lnTo>
                  <a:pt x="2538" y="258"/>
                </a:lnTo>
                <a:lnTo>
                  <a:pt x="2544" y="264"/>
                </a:lnTo>
                <a:lnTo>
                  <a:pt x="2556" y="264"/>
                </a:lnTo>
                <a:lnTo>
                  <a:pt x="2556" y="276"/>
                </a:lnTo>
                <a:lnTo>
                  <a:pt x="2550" y="282"/>
                </a:lnTo>
                <a:lnTo>
                  <a:pt x="2538" y="288"/>
                </a:lnTo>
                <a:lnTo>
                  <a:pt x="2514" y="288"/>
                </a:lnTo>
                <a:lnTo>
                  <a:pt x="2514" y="300"/>
                </a:lnTo>
                <a:lnTo>
                  <a:pt x="2496" y="318"/>
                </a:lnTo>
                <a:lnTo>
                  <a:pt x="2484" y="318"/>
                </a:lnTo>
                <a:lnTo>
                  <a:pt x="2478" y="312"/>
                </a:lnTo>
                <a:lnTo>
                  <a:pt x="2442" y="312"/>
                </a:lnTo>
                <a:lnTo>
                  <a:pt x="2406" y="288"/>
                </a:lnTo>
                <a:lnTo>
                  <a:pt x="2406" y="372"/>
                </a:lnTo>
                <a:lnTo>
                  <a:pt x="2412" y="384"/>
                </a:lnTo>
                <a:lnTo>
                  <a:pt x="2418" y="408"/>
                </a:lnTo>
                <a:lnTo>
                  <a:pt x="2424" y="420"/>
                </a:lnTo>
                <a:lnTo>
                  <a:pt x="2418" y="420"/>
                </a:lnTo>
                <a:lnTo>
                  <a:pt x="2418" y="438"/>
                </a:lnTo>
                <a:lnTo>
                  <a:pt x="2424" y="450"/>
                </a:lnTo>
                <a:lnTo>
                  <a:pt x="2436" y="456"/>
                </a:lnTo>
                <a:lnTo>
                  <a:pt x="2442" y="462"/>
                </a:lnTo>
                <a:lnTo>
                  <a:pt x="2460" y="462"/>
                </a:lnTo>
                <a:lnTo>
                  <a:pt x="2460" y="456"/>
                </a:lnTo>
                <a:lnTo>
                  <a:pt x="2454" y="456"/>
                </a:lnTo>
                <a:lnTo>
                  <a:pt x="2460" y="450"/>
                </a:lnTo>
                <a:lnTo>
                  <a:pt x="2514" y="450"/>
                </a:lnTo>
                <a:lnTo>
                  <a:pt x="2526" y="462"/>
                </a:lnTo>
                <a:lnTo>
                  <a:pt x="2538" y="468"/>
                </a:lnTo>
                <a:lnTo>
                  <a:pt x="2544" y="468"/>
                </a:lnTo>
                <a:lnTo>
                  <a:pt x="2550" y="462"/>
                </a:lnTo>
                <a:lnTo>
                  <a:pt x="2550" y="438"/>
                </a:lnTo>
                <a:lnTo>
                  <a:pt x="2616" y="438"/>
                </a:lnTo>
                <a:lnTo>
                  <a:pt x="2616" y="450"/>
                </a:lnTo>
                <a:lnTo>
                  <a:pt x="2622" y="456"/>
                </a:lnTo>
                <a:lnTo>
                  <a:pt x="2634" y="462"/>
                </a:lnTo>
                <a:lnTo>
                  <a:pt x="2652" y="462"/>
                </a:lnTo>
                <a:lnTo>
                  <a:pt x="2658" y="468"/>
                </a:lnTo>
                <a:lnTo>
                  <a:pt x="2670" y="474"/>
                </a:lnTo>
                <a:lnTo>
                  <a:pt x="2682" y="486"/>
                </a:lnTo>
                <a:lnTo>
                  <a:pt x="2706" y="498"/>
                </a:lnTo>
                <a:lnTo>
                  <a:pt x="2718" y="498"/>
                </a:lnTo>
                <a:lnTo>
                  <a:pt x="2724" y="510"/>
                </a:lnTo>
                <a:lnTo>
                  <a:pt x="2748" y="534"/>
                </a:lnTo>
                <a:lnTo>
                  <a:pt x="2748" y="540"/>
                </a:lnTo>
                <a:lnTo>
                  <a:pt x="2742" y="546"/>
                </a:lnTo>
                <a:lnTo>
                  <a:pt x="2706" y="546"/>
                </a:lnTo>
                <a:lnTo>
                  <a:pt x="2700" y="540"/>
                </a:lnTo>
                <a:lnTo>
                  <a:pt x="2688" y="534"/>
                </a:lnTo>
                <a:lnTo>
                  <a:pt x="2658" y="534"/>
                </a:lnTo>
                <a:lnTo>
                  <a:pt x="2652" y="540"/>
                </a:lnTo>
                <a:lnTo>
                  <a:pt x="2646" y="540"/>
                </a:lnTo>
                <a:lnTo>
                  <a:pt x="2628" y="558"/>
                </a:lnTo>
                <a:lnTo>
                  <a:pt x="2598" y="552"/>
                </a:lnTo>
                <a:lnTo>
                  <a:pt x="2598" y="570"/>
                </a:lnTo>
                <a:lnTo>
                  <a:pt x="2586" y="570"/>
                </a:lnTo>
                <a:lnTo>
                  <a:pt x="2550" y="588"/>
                </a:lnTo>
                <a:lnTo>
                  <a:pt x="2544" y="594"/>
                </a:lnTo>
                <a:lnTo>
                  <a:pt x="2550" y="606"/>
                </a:lnTo>
                <a:lnTo>
                  <a:pt x="2562" y="618"/>
                </a:lnTo>
                <a:lnTo>
                  <a:pt x="2538" y="642"/>
                </a:lnTo>
                <a:lnTo>
                  <a:pt x="2466" y="642"/>
                </a:lnTo>
                <a:lnTo>
                  <a:pt x="2466" y="666"/>
                </a:lnTo>
                <a:lnTo>
                  <a:pt x="2460" y="672"/>
                </a:lnTo>
                <a:lnTo>
                  <a:pt x="2454" y="684"/>
                </a:lnTo>
                <a:lnTo>
                  <a:pt x="2442" y="690"/>
                </a:lnTo>
                <a:lnTo>
                  <a:pt x="2424" y="690"/>
                </a:lnTo>
                <a:lnTo>
                  <a:pt x="2412" y="696"/>
                </a:lnTo>
                <a:lnTo>
                  <a:pt x="2388" y="696"/>
                </a:lnTo>
                <a:lnTo>
                  <a:pt x="2376" y="690"/>
                </a:lnTo>
                <a:lnTo>
                  <a:pt x="2370" y="684"/>
                </a:lnTo>
                <a:lnTo>
                  <a:pt x="2358" y="678"/>
                </a:lnTo>
                <a:lnTo>
                  <a:pt x="2352" y="672"/>
                </a:lnTo>
                <a:lnTo>
                  <a:pt x="2346" y="672"/>
                </a:lnTo>
                <a:lnTo>
                  <a:pt x="2340" y="666"/>
                </a:lnTo>
                <a:lnTo>
                  <a:pt x="2316" y="666"/>
                </a:lnTo>
                <a:lnTo>
                  <a:pt x="2304" y="672"/>
                </a:lnTo>
                <a:lnTo>
                  <a:pt x="2304" y="684"/>
                </a:lnTo>
                <a:lnTo>
                  <a:pt x="2298" y="696"/>
                </a:lnTo>
                <a:lnTo>
                  <a:pt x="2298" y="708"/>
                </a:lnTo>
                <a:lnTo>
                  <a:pt x="2304" y="720"/>
                </a:lnTo>
                <a:lnTo>
                  <a:pt x="2322" y="738"/>
                </a:lnTo>
                <a:lnTo>
                  <a:pt x="2334" y="744"/>
                </a:lnTo>
                <a:lnTo>
                  <a:pt x="2352" y="762"/>
                </a:lnTo>
                <a:lnTo>
                  <a:pt x="2364" y="768"/>
                </a:lnTo>
                <a:lnTo>
                  <a:pt x="2364" y="774"/>
                </a:lnTo>
                <a:lnTo>
                  <a:pt x="2358" y="780"/>
                </a:lnTo>
                <a:lnTo>
                  <a:pt x="2352" y="792"/>
                </a:lnTo>
                <a:lnTo>
                  <a:pt x="2340" y="804"/>
                </a:lnTo>
                <a:lnTo>
                  <a:pt x="2316" y="804"/>
                </a:lnTo>
                <a:lnTo>
                  <a:pt x="2316" y="810"/>
                </a:lnTo>
                <a:lnTo>
                  <a:pt x="2310" y="822"/>
                </a:lnTo>
                <a:lnTo>
                  <a:pt x="2310" y="828"/>
                </a:lnTo>
                <a:lnTo>
                  <a:pt x="2298" y="852"/>
                </a:lnTo>
                <a:lnTo>
                  <a:pt x="2286" y="858"/>
                </a:lnTo>
                <a:lnTo>
                  <a:pt x="2262" y="858"/>
                </a:lnTo>
                <a:lnTo>
                  <a:pt x="2244" y="882"/>
                </a:lnTo>
                <a:lnTo>
                  <a:pt x="2088" y="882"/>
                </a:lnTo>
                <a:lnTo>
                  <a:pt x="2070" y="894"/>
                </a:lnTo>
                <a:lnTo>
                  <a:pt x="2010" y="930"/>
                </a:lnTo>
                <a:lnTo>
                  <a:pt x="1992" y="942"/>
                </a:lnTo>
                <a:lnTo>
                  <a:pt x="1986" y="948"/>
                </a:lnTo>
                <a:lnTo>
                  <a:pt x="1968" y="948"/>
                </a:lnTo>
                <a:lnTo>
                  <a:pt x="1962" y="942"/>
                </a:lnTo>
                <a:lnTo>
                  <a:pt x="1956" y="942"/>
                </a:lnTo>
                <a:lnTo>
                  <a:pt x="1950" y="930"/>
                </a:lnTo>
                <a:lnTo>
                  <a:pt x="1950" y="924"/>
                </a:lnTo>
                <a:lnTo>
                  <a:pt x="1938" y="924"/>
                </a:lnTo>
                <a:lnTo>
                  <a:pt x="1926" y="930"/>
                </a:lnTo>
                <a:lnTo>
                  <a:pt x="1914" y="930"/>
                </a:lnTo>
                <a:lnTo>
                  <a:pt x="1908" y="936"/>
                </a:lnTo>
                <a:lnTo>
                  <a:pt x="1896" y="936"/>
                </a:lnTo>
                <a:lnTo>
                  <a:pt x="1890" y="930"/>
                </a:lnTo>
                <a:lnTo>
                  <a:pt x="1866" y="918"/>
                </a:lnTo>
                <a:lnTo>
                  <a:pt x="1848" y="912"/>
                </a:lnTo>
                <a:lnTo>
                  <a:pt x="1800" y="912"/>
                </a:lnTo>
                <a:lnTo>
                  <a:pt x="1776" y="906"/>
                </a:lnTo>
                <a:lnTo>
                  <a:pt x="1764" y="900"/>
                </a:lnTo>
                <a:lnTo>
                  <a:pt x="1758" y="888"/>
                </a:lnTo>
                <a:lnTo>
                  <a:pt x="1740" y="870"/>
                </a:lnTo>
                <a:lnTo>
                  <a:pt x="1728" y="870"/>
                </a:lnTo>
                <a:lnTo>
                  <a:pt x="1710" y="864"/>
                </a:lnTo>
                <a:lnTo>
                  <a:pt x="1656" y="864"/>
                </a:lnTo>
                <a:lnTo>
                  <a:pt x="1650" y="858"/>
                </a:lnTo>
                <a:lnTo>
                  <a:pt x="1644" y="858"/>
                </a:lnTo>
                <a:lnTo>
                  <a:pt x="1632" y="852"/>
                </a:lnTo>
                <a:lnTo>
                  <a:pt x="1620" y="852"/>
                </a:lnTo>
                <a:lnTo>
                  <a:pt x="1614" y="858"/>
                </a:lnTo>
                <a:lnTo>
                  <a:pt x="1602" y="864"/>
                </a:lnTo>
                <a:lnTo>
                  <a:pt x="1596" y="870"/>
                </a:lnTo>
                <a:lnTo>
                  <a:pt x="1560" y="864"/>
                </a:lnTo>
                <a:lnTo>
                  <a:pt x="1512" y="864"/>
                </a:lnTo>
                <a:lnTo>
                  <a:pt x="1458" y="858"/>
                </a:lnTo>
                <a:lnTo>
                  <a:pt x="1398" y="864"/>
                </a:lnTo>
                <a:lnTo>
                  <a:pt x="1386" y="858"/>
                </a:lnTo>
                <a:lnTo>
                  <a:pt x="1380" y="846"/>
                </a:lnTo>
                <a:lnTo>
                  <a:pt x="1368" y="840"/>
                </a:lnTo>
                <a:lnTo>
                  <a:pt x="1338" y="810"/>
                </a:lnTo>
                <a:lnTo>
                  <a:pt x="1332" y="798"/>
                </a:lnTo>
                <a:lnTo>
                  <a:pt x="1290" y="756"/>
                </a:lnTo>
                <a:lnTo>
                  <a:pt x="1278" y="732"/>
                </a:lnTo>
                <a:lnTo>
                  <a:pt x="1242" y="732"/>
                </a:lnTo>
                <a:lnTo>
                  <a:pt x="1236" y="726"/>
                </a:lnTo>
                <a:lnTo>
                  <a:pt x="1224" y="726"/>
                </a:lnTo>
                <a:lnTo>
                  <a:pt x="1200" y="714"/>
                </a:lnTo>
                <a:lnTo>
                  <a:pt x="1194" y="714"/>
                </a:lnTo>
                <a:lnTo>
                  <a:pt x="1188" y="708"/>
                </a:lnTo>
                <a:lnTo>
                  <a:pt x="1182" y="708"/>
                </a:lnTo>
                <a:lnTo>
                  <a:pt x="1176" y="696"/>
                </a:lnTo>
                <a:lnTo>
                  <a:pt x="1164" y="690"/>
                </a:lnTo>
                <a:lnTo>
                  <a:pt x="1158" y="690"/>
                </a:lnTo>
                <a:lnTo>
                  <a:pt x="1146" y="684"/>
                </a:lnTo>
                <a:lnTo>
                  <a:pt x="1140" y="684"/>
                </a:lnTo>
                <a:lnTo>
                  <a:pt x="1134" y="678"/>
                </a:lnTo>
                <a:lnTo>
                  <a:pt x="1038" y="678"/>
                </a:lnTo>
                <a:lnTo>
                  <a:pt x="1014" y="672"/>
                </a:lnTo>
                <a:lnTo>
                  <a:pt x="996" y="666"/>
                </a:lnTo>
                <a:lnTo>
                  <a:pt x="990" y="666"/>
                </a:lnTo>
                <a:lnTo>
                  <a:pt x="978" y="660"/>
                </a:lnTo>
                <a:lnTo>
                  <a:pt x="966" y="660"/>
                </a:lnTo>
                <a:lnTo>
                  <a:pt x="954" y="654"/>
                </a:lnTo>
                <a:lnTo>
                  <a:pt x="948" y="648"/>
                </a:lnTo>
                <a:lnTo>
                  <a:pt x="942" y="636"/>
                </a:lnTo>
                <a:lnTo>
                  <a:pt x="936" y="618"/>
                </a:lnTo>
                <a:lnTo>
                  <a:pt x="936" y="606"/>
                </a:lnTo>
                <a:lnTo>
                  <a:pt x="948" y="594"/>
                </a:lnTo>
                <a:lnTo>
                  <a:pt x="948" y="588"/>
                </a:lnTo>
                <a:lnTo>
                  <a:pt x="942" y="582"/>
                </a:lnTo>
                <a:lnTo>
                  <a:pt x="936" y="570"/>
                </a:lnTo>
                <a:lnTo>
                  <a:pt x="930" y="564"/>
                </a:lnTo>
                <a:lnTo>
                  <a:pt x="930" y="552"/>
                </a:lnTo>
                <a:lnTo>
                  <a:pt x="924" y="540"/>
                </a:lnTo>
                <a:lnTo>
                  <a:pt x="912" y="528"/>
                </a:lnTo>
                <a:lnTo>
                  <a:pt x="888" y="510"/>
                </a:lnTo>
                <a:lnTo>
                  <a:pt x="876" y="492"/>
                </a:lnTo>
                <a:lnTo>
                  <a:pt x="870" y="480"/>
                </a:lnTo>
                <a:lnTo>
                  <a:pt x="852" y="462"/>
                </a:lnTo>
                <a:lnTo>
                  <a:pt x="834" y="456"/>
                </a:lnTo>
                <a:lnTo>
                  <a:pt x="822" y="450"/>
                </a:lnTo>
                <a:lnTo>
                  <a:pt x="810" y="450"/>
                </a:lnTo>
                <a:lnTo>
                  <a:pt x="804" y="444"/>
                </a:lnTo>
                <a:lnTo>
                  <a:pt x="786" y="432"/>
                </a:lnTo>
                <a:lnTo>
                  <a:pt x="750" y="444"/>
                </a:lnTo>
                <a:lnTo>
                  <a:pt x="726" y="420"/>
                </a:lnTo>
                <a:lnTo>
                  <a:pt x="720" y="408"/>
                </a:lnTo>
                <a:lnTo>
                  <a:pt x="708" y="408"/>
                </a:lnTo>
                <a:lnTo>
                  <a:pt x="696" y="402"/>
                </a:lnTo>
                <a:lnTo>
                  <a:pt x="684" y="402"/>
                </a:lnTo>
                <a:lnTo>
                  <a:pt x="672" y="396"/>
                </a:lnTo>
                <a:lnTo>
                  <a:pt x="672" y="378"/>
                </a:lnTo>
                <a:lnTo>
                  <a:pt x="648" y="378"/>
                </a:lnTo>
                <a:lnTo>
                  <a:pt x="654" y="372"/>
                </a:lnTo>
                <a:lnTo>
                  <a:pt x="654" y="360"/>
                </a:lnTo>
                <a:lnTo>
                  <a:pt x="648" y="354"/>
                </a:lnTo>
                <a:lnTo>
                  <a:pt x="612" y="354"/>
                </a:lnTo>
                <a:lnTo>
                  <a:pt x="600" y="348"/>
                </a:lnTo>
                <a:lnTo>
                  <a:pt x="582" y="348"/>
                </a:lnTo>
                <a:lnTo>
                  <a:pt x="576" y="354"/>
                </a:lnTo>
                <a:lnTo>
                  <a:pt x="576" y="360"/>
                </a:lnTo>
                <a:lnTo>
                  <a:pt x="594" y="378"/>
                </a:lnTo>
                <a:lnTo>
                  <a:pt x="594" y="390"/>
                </a:lnTo>
                <a:lnTo>
                  <a:pt x="588" y="396"/>
                </a:lnTo>
                <a:lnTo>
                  <a:pt x="546" y="396"/>
                </a:lnTo>
                <a:lnTo>
                  <a:pt x="534" y="408"/>
                </a:lnTo>
                <a:lnTo>
                  <a:pt x="534" y="426"/>
                </a:lnTo>
                <a:lnTo>
                  <a:pt x="546" y="450"/>
                </a:lnTo>
                <a:lnTo>
                  <a:pt x="558" y="462"/>
                </a:lnTo>
                <a:lnTo>
                  <a:pt x="570" y="486"/>
                </a:lnTo>
                <a:lnTo>
                  <a:pt x="570" y="504"/>
                </a:lnTo>
                <a:lnTo>
                  <a:pt x="564" y="510"/>
                </a:lnTo>
                <a:lnTo>
                  <a:pt x="546" y="510"/>
                </a:lnTo>
                <a:lnTo>
                  <a:pt x="528" y="528"/>
                </a:lnTo>
                <a:lnTo>
                  <a:pt x="516" y="516"/>
                </a:lnTo>
                <a:lnTo>
                  <a:pt x="468" y="516"/>
                </a:lnTo>
                <a:lnTo>
                  <a:pt x="444" y="504"/>
                </a:lnTo>
                <a:lnTo>
                  <a:pt x="432" y="504"/>
                </a:lnTo>
                <a:lnTo>
                  <a:pt x="420" y="498"/>
                </a:lnTo>
                <a:lnTo>
                  <a:pt x="408" y="498"/>
                </a:lnTo>
                <a:lnTo>
                  <a:pt x="408" y="636"/>
                </a:lnTo>
                <a:lnTo>
                  <a:pt x="414" y="636"/>
                </a:lnTo>
                <a:lnTo>
                  <a:pt x="420" y="642"/>
                </a:lnTo>
                <a:lnTo>
                  <a:pt x="426" y="642"/>
                </a:lnTo>
                <a:lnTo>
                  <a:pt x="432" y="648"/>
                </a:lnTo>
                <a:lnTo>
                  <a:pt x="432" y="660"/>
                </a:lnTo>
                <a:lnTo>
                  <a:pt x="426" y="666"/>
                </a:lnTo>
                <a:lnTo>
                  <a:pt x="420" y="666"/>
                </a:lnTo>
                <a:lnTo>
                  <a:pt x="408" y="654"/>
                </a:lnTo>
                <a:lnTo>
                  <a:pt x="390" y="666"/>
                </a:lnTo>
                <a:lnTo>
                  <a:pt x="384" y="660"/>
                </a:lnTo>
                <a:lnTo>
                  <a:pt x="378" y="648"/>
                </a:lnTo>
                <a:lnTo>
                  <a:pt x="372" y="642"/>
                </a:lnTo>
                <a:lnTo>
                  <a:pt x="360" y="642"/>
                </a:lnTo>
                <a:lnTo>
                  <a:pt x="324" y="660"/>
                </a:lnTo>
                <a:lnTo>
                  <a:pt x="312" y="660"/>
                </a:lnTo>
                <a:lnTo>
                  <a:pt x="300" y="666"/>
                </a:lnTo>
                <a:lnTo>
                  <a:pt x="288" y="666"/>
                </a:lnTo>
                <a:lnTo>
                  <a:pt x="276" y="672"/>
                </a:lnTo>
                <a:lnTo>
                  <a:pt x="270" y="678"/>
                </a:lnTo>
                <a:lnTo>
                  <a:pt x="270" y="684"/>
                </a:lnTo>
                <a:lnTo>
                  <a:pt x="276" y="690"/>
                </a:lnTo>
                <a:lnTo>
                  <a:pt x="288" y="696"/>
                </a:lnTo>
                <a:lnTo>
                  <a:pt x="306" y="696"/>
                </a:lnTo>
                <a:lnTo>
                  <a:pt x="306" y="726"/>
                </a:lnTo>
                <a:lnTo>
                  <a:pt x="318" y="750"/>
                </a:lnTo>
                <a:lnTo>
                  <a:pt x="360" y="792"/>
                </a:lnTo>
                <a:lnTo>
                  <a:pt x="366" y="804"/>
                </a:lnTo>
                <a:lnTo>
                  <a:pt x="378" y="810"/>
                </a:lnTo>
                <a:lnTo>
                  <a:pt x="378" y="822"/>
                </a:lnTo>
                <a:lnTo>
                  <a:pt x="360" y="822"/>
                </a:lnTo>
                <a:lnTo>
                  <a:pt x="354" y="828"/>
                </a:lnTo>
                <a:lnTo>
                  <a:pt x="354" y="834"/>
                </a:lnTo>
                <a:lnTo>
                  <a:pt x="372" y="852"/>
                </a:lnTo>
                <a:lnTo>
                  <a:pt x="348" y="852"/>
                </a:lnTo>
                <a:lnTo>
                  <a:pt x="348" y="864"/>
                </a:lnTo>
                <a:lnTo>
                  <a:pt x="354" y="870"/>
                </a:lnTo>
                <a:lnTo>
                  <a:pt x="354" y="882"/>
                </a:lnTo>
                <a:lnTo>
                  <a:pt x="372" y="900"/>
                </a:lnTo>
                <a:lnTo>
                  <a:pt x="372" y="912"/>
                </a:lnTo>
                <a:lnTo>
                  <a:pt x="366" y="918"/>
                </a:lnTo>
                <a:lnTo>
                  <a:pt x="342" y="918"/>
                </a:lnTo>
                <a:lnTo>
                  <a:pt x="294" y="936"/>
                </a:lnTo>
                <a:lnTo>
                  <a:pt x="282" y="948"/>
                </a:lnTo>
                <a:lnTo>
                  <a:pt x="270" y="954"/>
                </a:lnTo>
                <a:lnTo>
                  <a:pt x="264" y="960"/>
                </a:lnTo>
                <a:lnTo>
                  <a:pt x="264" y="978"/>
                </a:lnTo>
                <a:lnTo>
                  <a:pt x="258" y="990"/>
                </a:lnTo>
                <a:lnTo>
                  <a:pt x="252" y="996"/>
                </a:lnTo>
                <a:lnTo>
                  <a:pt x="234" y="996"/>
                </a:lnTo>
                <a:lnTo>
                  <a:pt x="216" y="990"/>
                </a:lnTo>
                <a:lnTo>
                  <a:pt x="186" y="990"/>
                </a:lnTo>
                <a:lnTo>
                  <a:pt x="168" y="1008"/>
                </a:lnTo>
                <a:lnTo>
                  <a:pt x="162" y="1020"/>
                </a:lnTo>
                <a:lnTo>
                  <a:pt x="162" y="1044"/>
                </a:lnTo>
                <a:lnTo>
                  <a:pt x="156" y="1050"/>
                </a:lnTo>
                <a:lnTo>
                  <a:pt x="126" y="1044"/>
                </a:lnTo>
                <a:lnTo>
                  <a:pt x="114" y="1050"/>
                </a:lnTo>
                <a:lnTo>
                  <a:pt x="108" y="1044"/>
                </a:lnTo>
                <a:lnTo>
                  <a:pt x="102" y="1032"/>
                </a:lnTo>
                <a:lnTo>
                  <a:pt x="96" y="1026"/>
                </a:lnTo>
                <a:lnTo>
                  <a:pt x="84" y="1026"/>
                </a:lnTo>
                <a:lnTo>
                  <a:pt x="72" y="1038"/>
                </a:lnTo>
                <a:lnTo>
                  <a:pt x="48" y="1038"/>
                </a:lnTo>
                <a:lnTo>
                  <a:pt x="48" y="1056"/>
                </a:lnTo>
                <a:lnTo>
                  <a:pt x="36" y="1062"/>
                </a:lnTo>
                <a:lnTo>
                  <a:pt x="30" y="1068"/>
                </a:lnTo>
                <a:lnTo>
                  <a:pt x="18" y="1068"/>
                </a:lnTo>
                <a:lnTo>
                  <a:pt x="6" y="1074"/>
                </a:lnTo>
                <a:lnTo>
                  <a:pt x="0" y="1080"/>
                </a:lnTo>
                <a:lnTo>
                  <a:pt x="0" y="1086"/>
                </a:lnTo>
                <a:lnTo>
                  <a:pt x="12" y="1092"/>
                </a:lnTo>
                <a:lnTo>
                  <a:pt x="18" y="1104"/>
                </a:lnTo>
                <a:lnTo>
                  <a:pt x="18" y="1116"/>
                </a:lnTo>
                <a:lnTo>
                  <a:pt x="0" y="1116"/>
                </a:lnTo>
                <a:lnTo>
                  <a:pt x="0" y="1140"/>
                </a:lnTo>
                <a:lnTo>
                  <a:pt x="18" y="1140"/>
                </a:lnTo>
                <a:lnTo>
                  <a:pt x="18" y="1152"/>
                </a:lnTo>
                <a:lnTo>
                  <a:pt x="12" y="1164"/>
                </a:lnTo>
                <a:lnTo>
                  <a:pt x="12" y="1176"/>
                </a:lnTo>
                <a:lnTo>
                  <a:pt x="24" y="1188"/>
                </a:lnTo>
                <a:lnTo>
                  <a:pt x="36" y="1188"/>
                </a:lnTo>
                <a:lnTo>
                  <a:pt x="42" y="1182"/>
                </a:lnTo>
                <a:lnTo>
                  <a:pt x="66" y="1182"/>
                </a:lnTo>
                <a:lnTo>
                  <a:pt x="78" y="1188"/>
                </a:lnTo>
                <a:lnTo>
                  <a:pt x="84" y="1188"/>
                </a:lnTo>
                <a:lnTo>
                  <a:pt x="96" y="1194"/>
                </a:lnTo>
                <a:lnTo>
                  <a:pt x="102" y="1200"/>
                </a:lnTo>
                <a:lnTo>
                  <a:pt x="102" y="1242"/>
                </a:lnTo>
                <a:lnTo>
                  <a:pt x="114" y="1266"/>
                </a:lnTo>
                <a:lnTo>
                  <a:pt x="120" y="1272"/>
                </a:lnTo>
                <a:lnTo>
                  <a:pt x="126" y="1272"/>
                </a:lnTo>
                <a:lnTo>
                  <a:pt x="138" y="1284"/>
                </a:lnTo>
                <a:lnTo>
                  <a:pt x="132" y="1290"/>
                </a:lnTo>
                <a:lnTo>
                  <a:pt x="102" y="1290"/>
                </a:lnTo>
                <a:lnTo>
                  <a:pt x="96" y="1296"/>
                </a:lnTo>
                <a:lnTo>
                  <a:pt x="96" y="1308"/>
                </a:lnTo>
                <a:lnTo>
                  <a:pt x="108" y="1314"/>
                </a:lnTo>
                <a:lnTo>
                  <a:pt x="114" y="1320"/>
                </a:lnTo>
                <a:lnTo>
                  <a:pt x="162" y="1320"/>
                </a:lnTo>
                <a:lnTo>
                  <a:pt x="168" y="1332"/>
                </a:lnTo>
                <a:lnTo>
                  <a:pt x="180" y="1332"/>
                </a:lnTo>
                <a:lnTo>
                  <a:pt x="192" y="1338"/>
                </a:lnTo>
                <a:lnTo>
                  <a:pt x="204" y="1350"/>
                </a:lnTo>
                <a:lnTo>
                  <a:pt x="216" y="1374"/>
                </a:lnTo>
                <a:lnTo>
                  <a:pt x="216" y="1398"/>
                </a:lnTo>
                <a:lnTo>
                  <a:pt x="252" y="1410"/>
                </a:lnTo>
                <a:lnTo>
                  <a:pt x="264" y="1404"/>
                </a:lnTo>
                <a:lnTo>
                  <a:pt x="264" y="1410"/>
                </a:lnTo>
                <a:lnTo>
                  <a:pt x="270" y="1416"/>
                </a:lnTo>
                <a:lnTo>
                  <a:pt x="276" y="1428"/>
                </a:lnTo>
                <a:lnTo>
                  <a:pt x="288" y="1434"/>
                </a:lnTo>
                <a:lnTo>
                  <a:pt x="366" y="1434"/>
                </a:lnTo>
                <a:lnTo>
                  <a:pt x="378" y="1428"/>
                </a:lnTo>
                <a:lnTo>
                  <a:pt x="384" y="1416"/>
                </a:lnTo>
                <a:lnTo>
                  <a:pt x="402" y="1410"/>
                </a:lnTo>
                <a:lnTo>
                  <a:pt x="426" y="1398"/>
                </a:lnTo>
                <a:lnTo>
                  <a:pt x="438" y="1398"/>
                </a:lnTo>
                <a:lnTo>
                  <a:pt x="456" y="1410"/>
                </a:lnTo>
                <a:lnTo>
                  <a:pt x="480" y="1434"/>
                </a:lnTo>
                <a:lnTo>
                  <a:pt x="522" y="1434"/>
                </a:lnTo>
                <a:lnTo>
                  <a:pt x="522" y="1494"/>
                </a:lnTo>
                <a:lnTo>
                  <a:pt x="516" y="1500"/>
                </a:lnTo>
                <a:lnTo>
                  <a:pt x="498" y="1500"/>
                </a:lnTo>
                <a:lnTo>
                  <a:pt x="498" y="1506"/>
                </a:lnTo>
                <a:lnTo>
                  <a:pt x="504" y="1512"/>
                </a:lnTo>
                <a:lnTo>
                  <a:pt x="504" y="1536"/>
                </a:lnTo>
                <a:lnTo>
                  <a:pt x="498" y="1548"/>
                </a:lnTo>
                <a:lnTo>
                  <a:pt x="486" y="1554"/>
                </a:lnTo>
                <a:lnTo>
                  <a:pt x="456" y="1554"/>
                </a:lnTo>
                <a:lnTo>
                  <a:pt x="474" y="1578"/>
                </a:lnTo>
                <a:lnTo>
                  <a:pt x="456" y="1584"/>
                </a:lnTo>
                <a:lnTo>
                  <a:pt x="456" y="1608"/>
                </a:lnTo>
                <a:lnTo>
                  <a:pt x="480" y="1620"/>
                </a:lnTo>
                <a:lnTo>
                  <a:pt x="492" y="1620"/>
                </a:lnTo>
                <a:lnTo>
                  <a:pt x="498" y="1626"/>
                </a:lnTo>
                <a:lnTo>
                  <a:pt x="504" y="1638"/>
                </a:lnTo>
                <a:lnTo>
                  <a:pt x="522" y="1656"/>
                </a:lnTo>
                <a:lnTo>
                  <a:pt x="522" y="1668"/>
                </a:lnTo>
                <a:lnTo>
                  <a:pt x="510" y="1674"/>
                </a:lnTo>
                <a:lnTo>
                  <a:pt x="504" y="1680"/>
                </a:lnTo>
                <a:lnTo>
                  <a:pt x="498" y="1680"/>
                </a:lnTo>
                <a:lnTo>
                  <a:pt x="486" y="1698"/>
                </a:lnTo>
                <a:lnTo>
                  <a:pt x="474" y="1686"/>
                </a:lnTo>
                <a:lnTo>
                  <a:pt x="474" y="1668"/>
                </a:lnTo>
                <a:lnTo>
                  <a:pt x="462" y="1668"/>
                </a:lnTo>
                <a:lnTo>
                  <a:pt x="456" y="1674"/>
                </a:lnTo>
                <a:lnTo>
                  <a:pt x="450" y="1674"/>
                </a:lnTo>
                <a:lnTo>
                  <a:pt x="450" y="1692"/>
                </a:lnTo>
                <a:lnTo>
                  <a:pt x="456" y="1698"/>
                </a:lnTo>
                <a:lnTo>
                  <a:pt x="462" y="1710"/>
                </a:lnTo>
                <a:lnTo>
                  <a:pt x="474" y="1722"/>
                </a:lnTo>
                <a:lnTo>
                  <a:pt x="480" y="1722"/>
                </a:lnTo>
                <a:lnTo>
                  <a:pt x="480" y="1734"/>
                </a:lnTo>
                <a:lnTo>
                  <a:pt x="474" y="1740"/>
                </a:lnTo>
                <a:lnTo>
                  <a:pt x="474" y="1758"/>
                </a:lnTo>
                <a:lnTo>
                  <a:pt x="480" y="1764"/>
                </a:lnTo>
                <a:lnTo>
                  <a:pt x="510" y="1764"/>
                </a:lnTo>
                <a:lnTo>
                  <a:pt x="516" y="1776"/>
                </a:lnTo>
                <a:lnTo>
                  <a:pt x="528" y="1788"/>
                </a:lnTo>
                <a:lnTo>
                  <a:pt x="540" y="1794"/>
                </a:lnTo>
                <a:lnTo>
                  <a:pt x="552" y="1794"/>
                </a:lnTo>
                <a:lnTo>
                  <a:pt x="558" y="1800"/>
                </a:lnTo>
                <a:lnTo>
                  <a:pt x="564" y="1800"/>
                </a:lnTo>
                <a:lnTo>
                  <a:pt x="582" y="1818"/>
                </a:lnTo>
                <a:lnTo>
                  <a:pt x="600" y="1812"/>
                </a:lnTo>
                <a:lnTo>
                  <a:pt x="600" y="1830"/>
                </a:lnTo>
                <a:lnTo>
                  <a:pt x="612" y="1836"/>
                </a:lnTo>
                <a:lnTo>
                  <a:pt x="624" y="1836"/>
                </a:lnTo>
                <a:lnTo>
                  <a:pt x="666" y="1872"/>
                </a:lnTo>
                <a:lnTo>
                  <a:pt x="690" y="1854"/>
                </a:lnTo>
                <a:lnTo>
                  <a:pt x="696" y="1848"/>
                </a:lnTo>
                <a:lnTo>
                  <a:pt x="708" y="1842"/>
                </a:lnTo>
                <a:lnTo>
                  <a:pt x="720" y="1842"/>
                </a:lnTo>
                <a:lnTo>
                  <a:pt x="732" y="1848"/>
                </a:lnTo>
                <a:lnTo>
                  <a:pt x="744" y="1860"/>
                </a:lnTo>
                <a:lnTo>
                  <a:pt x="750" y="1872"/>
                </a:lnTo>
                <a:lnTo>
                  <a:pt x="762" y="1878"/>
                </a:lnTo>
                <a:lnTo>
                  <a:pt x="780" y="1896"/>
                </a:lnTo>
                <a:lnTo>
                  <a:pt x="822" y="1902"/>
                </a:lnTo>
                <a:lnTo>
                  <a:pt x="828" y="1914"/>
                </a:lnTo>
                <a:lnTo>
                  <a:pt x="834" y="1920"/>
                </a:lnTo>
                <a:lnTo>
                  <a:pt x="840" y="1932"/>
                </a:lnTo>
                <a:lnTo>
                  <a:pt x="846" y="1938"/>
                </a:lnTo>
                <a:lnTo>
                  <a:pt x="846" y="1950"/>
                </a:lnTo>
                <a:lnTo>
                  <a:pt x="858" y="1950"/>
                </a:lnTo>
                <a:lnTo>
                  <a:pt x="858" y="1944"/>
                </a:lnTo>
                <a:lnTo>
                  <a:pt x="864" y="1938"/>
                </a:lnTo>
                <a:lnTo>
                  <a:pt x="870" y="1926"/>
                </a:lnTo>
                <a:lnTo>
                  <a:pt x="882" y="1926"/>
                </a:lnTo>
                <a:lnTo>
                  <a:pt x="888" y="1932"/>
                </a:lnTo>
                <a:lnTo>
                  <a:pt x="894" y="1944"/>
                </a:lnTo>
                <a:lnTo>
                  <a:pt x="894" y="1962"/>
                </a:lnTo>
                <a:lnTo>
                  <a:pt x="924" y="1992"/>
                </a:lnTo>
                <a:lnTo>
                  <a:pt x="936" y="1998"/>
                </a:lnTo>
                <a:lnTo>
                  <a:pt x="942" y="1992"/>
                </a:lnTo>
                <a:lnTo>
                  <a:pt x="954" y="1986"/>
                </a:lnTo>
                <a:lnTo>
                  <a:pt x="960" y="1986"/>
                </a:lnTo>
                <a:lnTo>
                  <a:pt x="966" y="1992"/>
                </a:lnTo>
                <a:lnTo>
                  <a:pt x="966" y="1998"/>
                </a:lnTo>
                <a:lnTo>
                  <a:pt x="960" y="2004"/>
                </a:lnTo>
                <a:lnTo>
                  <a:pt x="960" y="2010"/>
                </a:lnTo>
                <a:lnTo>
                  <a:pt x="966" y="2010"/>
                </a:lnTo>
                <a:lnTo>
                  <a:pt x="972" y="2016"/>
                </a:lnTo>
                <a:lnTo>
                  <a:pt x="990" y="2022"/>
                </a:lnTo>
                <a:lnTo>
                  <a:pt x="1002" y="2022"/>
                </a:lnTo>
                <a:lnTo>
                  <a:pt x="1008" y="2016"/>
                </a:lnTo>
                <a:lnTo>
                  <a:pt x="1014" y="2016"/>
                </a:lnTo>
                <a:lnTo>
                  <a:pt x="1014" y="2034"/>
                </a:lnTo>
                <a:lnTo>
                  <a:pt x="1020" y="2040"/>
                </a:lnTo>
                <a:lnTo>
                  <a:pt x="1032" y="2040"/>
                </a:lnTo>
                <a:lnTo>
                  <a:pt x="1044" y="2028"/>
                </a:lnTo>
                <a:lnTo>
                  <a:pt x="1044" y="2022"/>
                </a:lnTo>
                <a:lnTo>
                  <a:pt x="1044" y="2034"/>
                </a:lnTo>
                <a:lnTo>
                  <a:pt x="1050" y="2040"/>
                </a:lnTo>
                <a:lnTo>
                  <a:pt x="1068" y="2040"/>
                </a:lnTo>
                <a:lnTo>
                  <a:pt x="1074" y="2034"/>
                </a:lnTo>
                <a:lnTo>
                  <a:pt x="1074" y="2028"/>
                </a:lnTo>
                <a:lnTo>
                  <a:pt x="1086" y="2034"/>
                </a:lnTo>
                <a:lnTo>
                  <a:pt x="1092" y="2040"/>
                </a:lnTo>
                <a:lnTo>
                  <a:pt x="1110" y="2046"/>
                </a:lnTo>
                <a:lnTo>
                  <a:pt x="1134" y="2058"/>
                </a:lnTo>
                <a:lnTo>
                  <a:pt x="1158" y="2058"/>
                </a:lnTo>
                <a:lnTo>
                  <a:pt x="1176" y="2040"/>
                </a:lnTo>
                <a:lnTo>
                  <a:pt x="1194" y="2034"/>
                </a:lnTo>
                <a:lnTo>
                  <a:pt x="1206" y="2028"/>
                </a:lnTo>
                <a:lnTo>
                  <a:pt x="1212" y="2028"/>
                </a:lnTo>
                <a:lnTo>
                  <a:pt x="1224" y="2034"/>
                </a:lnTo>
                <a:lnTo>
                  <a:pt x="1230" y="2040"/>
                </a:lnTo>
                <a:lnTo>
                  <a:pt x="1230" y="2088"/>
                </a:lnTo>
                <a:lnTo>
                  <a:pt x="1236" y="2094"/>
                </a:lnTo>
                <a:lnTo>
                  <a:pt x="1242" y="2094"/>
                </a:lnTo>
                <a:lnTo>
                  <a:pt x="1242" y="2088"/>
                </a:lnTo>
                <a:lnTo>
                  <a:pt x="1248" y="2082"/>
                </a:lnTo>
                <a:lnTo>
                  <a:pt x="1254" y="2070"/>
                </a:lnTo>
                <a:lnTo>
                  <a:pt x="1266" y="2052"/>
                </a:lnTo>
                <a:lnTo>
                  <a:pt x="1272" y="2040"/>
                </a:lnTo>
                <a:lnTo>
                  <a:pt x="1284" y="2028"/>
                </a:lnTo>
                <a:lnTo>
                  <a:pt x="1290" y="2016"/>
                </a:lnTo>
                <a:lnTo>
                  <a:pt x="1302" y="2016"/>
                </a:lnTo>
                <a:lnTo>
                  <a:pt x="1314" y="2022"/>
                </a:lnTo>
                <a:lnTo>
                  <a:pt x="1338" y="2022"/>
                </a:lnTo>
                <a:lnTo>
                  <a:pt x="1338" y="2046"/>
                </a:lnTo>
                <a:lnTo>
                  <a:pt x="1344" y="2046"/>
                </a:lnTo>
                <a:lnTo>
                  <a:pt x="1350" y="2040"/>
                </a:lnTo>
                <a:lnTo>
                  <a:pt x="1362" y="2034"/>
                </a:lnTo>
                <a:lnTo>
                  <a:pt x="1374" y="2034"/>
                </a:lnTo>
                <a:lnTo>
                  <a:pt x="1386" y="2028"/>
                </a:lnTo>
                <a:lnTo>
                  <a:pt x="1398" y="2028"/>
                </a:lnTo>
                <a:lnTo>
                  <a:pt x="1410" y="2034"/>
                </a:lnTo>
                <a:lnTo>
                  <a:pt x="1422" y="2046"/>
                </a:lnTo>
                <a:lnTo>
                  <a:pt x="1428" y="2058"/>
                </a:lnTo>
                <a:lnTo>
                  <a:pt x="1428" y="2064"/>
                </a:lnTo>
                <a:lnTo>
                  <a:pt x="1482" y="2064"/>
                </a:lnTo>
                <a:lnTo>
                  <a:pt x="1494" y="2052"/>
                </a:lnTo>
                <a:lnTo>
                  <a:pt x="1494" y="2034"/>
                </a:lnTo>
                <a:lnTo>
                  <a:pt x="1488" y="2022"/>
                </a:lnTo>
                <a:lnTo>
                  <a:pt x="1518" y="2022"/>
                </a:lnTo>
                <a:lnTo>
                  <a:pt x="1524" y="2016"/>
                </a:lnTo>
                <a:lnTo>
                  <a:pt x="1524" y="1992"/>
                </a:lnTo>
                <a:lnTo>
                  <a:pt x="1518" y="1986"/>
                </a:lnTo>
                <a:lnTo>
                  <a:pt x="1518" y="1980"/>
                </a:lnTo>
                <a:lnTo>
                  <a:pt x="1554" y="1980"/>
                </a:lnTo>
                <a:lnTo>
                  <a:pt x="1578" y="1956"/>
                </a:lnTo>
                <a:lnTo>
                  <a:pt x="1590" y="1950"/>
                </a:lnTo>
                <a:lnTo>
                  <a:pt x="1602" y="1938"/>
                </a:lnTo>
                <a:lnTo>
                  <a:pt x="1620" y="1938"/>
                </a:lnTo>
                <a:lnTo>
                  <a:pt x="1632" y="1944"/>
                </a:lnTo>
                <a:lnTo>
                  <a:pt x="1650" y="1956"/>
                </a:lnTo>
                <a:lnTo>
                  <a:pt x="1668" y="1956"/>
                </a:lnTo>
                <a:lnTo>
                  <a:pt x="1668" y="1932"/>
                </a:lnTo>
                <a:lnTo>
                  <a:pt x="1680" y="1920"/>
                </a:lnTo>
                <a:lnTo>
                  <a:pt x="1716" y="1938"/>
                </a:lnTo>
                <a:lnTo>
                  <a:pt x="1722" y="1944"/>
                </a:lnTo>
                <a:lnTo>
                  <a:pt x="1710" y="1956"/>
                </a:lnTo>
                <a:lnTo>
                  <a:pt x="1704" y="1956"/>
                </a:lnTo>
                <a:lnTo>
                  <a:pt x="1710" y="1962"/>
                </a:lnTo>
                <a:lnTo>
                  <a:pt x="1740" y="1962"/>
                </a:lnTo>
                <a:lnTo>
                  <a:pt x="1758" y="1992"/>
                </a:lnTo>
                <a:lnTo>
                  <a:pt x="1752" y="1992"/>
                </a:lnTo>
                <a:lnTo>
                  <a:pt x="1740" y="2004"/>
                </a:lnTo>
                <a:lnTo>
                  <a:pt x="1740" y="2010"/>
                </a:lnTo>
                <a:lnTo>
                  <a:pt x="1806" y="2010"/>
                </a:lnTo>
                <a:lnTo>
                  <a:pt x="1812" y="2016"/>
                </a:lnTo>
                <a:lnTo>
                  <a:pt x="1818" y="2016"/>
                </a:lnTo>
                <a:lnTo>
                  <a:pt x="1824" y="1998"/>
                </a:lnTo>
                <a:lnTo>
                  <a:pt x="1830" y="1998"/>
                </a:lnTo>
                <a:lnTo>
                  <a:pt x="1836" y="2004"/>
                </a:lnTo>
                <a:lnTo>
                  <a:pt x="1842" y="2016"/>
                </a:lnTo>
                <a:lnTo>
                  <a:pt x="1854" y="2022"/>
                </a:lnTo>
                <a:lnTo>
                  <a:pt x="1872" y="2058"/>
                </a:lnTo>
                <a:lnTo>
                  <a:pt x="1878" y="2064"/>
                </a:lnTo>
                <a:lnTo>
                  <a:pt x="1878" y="2070"/>
                </a:lnTo>
                <a:lnTo>
                  <a:pt x="1914" y="2070"/>
                </a:lnTo>
                <a:lnTo>
                  <a:pt x="1920" y="2076"/>
                </a:lnTo>
                <a:lnTo>
                  <a:pt x="1920" y="2106"/>
                </a:lnTo>
                <a:lnTo>
                  <a:pt x="1932" y="2130"/>
                </a:lnTo>
                <a:lnTo>
                  <a:pt x="1944" y="2190"/>
                </a:lnTo>
                <a:lnTo>
                  <a:pt x="1932" y="2190"/>
                </a:lnTo>
                <a:lnTo>
                  <a:pt x="1926" y="2196"/>
                </a:lnTo>
                <a:lnTo>
                  <a:pt x="1914" y="2196"/>
                </a:lnTo>
                <a:lnTo>
                  <a:pt x="1932" y="2214"/>
                </a:lnTo>
                <a:lnTo>
                  <a:pt x="1932" y="2220"/>
                </a:lnTo>
                <a:lnTo>
                  <a:pt x="1926" y="2232"/>
                </a:lnTo>
                <a:lnTo>
                  <a:pt x="1920" y="2238"/>
                </a:lnTo>
                <a:lnTo>
                  <a:pt x="1908" y="2238"/>
                </a:lnTo>
                <a:lnTo>
                  <a:pt x="1902" y="2232"/>
                </a:lnTo>
                <a:lnTo>
                  <a:pt x="1902" y="2268"/>
                </a:lnTo>
                <a:lnTo>
                  <a:pt x="1896" y="2274"/>
                </a:lnTo>
                <a:lnTo>
                  <a:pt x="1884" y="2274"/>
                </a:lnTo>
                <a:lnTo>
                  <a:pt x="1890" y="2304"/>
                </a:lnTo>
                <a:lnTo>
                  <a:pt x="1878" y="2304"/>
                </a:lnTo>
                <a:lnTo>
                  <a:pt x="1878" y="2322"/>
                </a:lnTo>
                <a:lnTo>
                  <a:pt x="1896" y="2340"/>
                </a:lnTo>
                <a:lnTo>
                  <a:pt x="1902" y="2352"/>
                </a:lnTo>
                <a:lnTo>
                  <a:pt x="1890" y="2370"/>
                </a:lnTo>
                <a:lnTo>
                  <a:pt x="1902" y="2364"/>
                </a:lnTo>
                <a:lnTo>
                  <a:pt x="1908" y="2358"/>
                </a:lnTo>
                <a:lnTo>
                  <a:pt x="1920" y="2358"/>
                </a:lnTo>
                <a:lnTo>
                  <a:pt x="1926" y="2352"/>
                </a:lnTo>
                <a:lnTo>
                  <a:pt x="1986" y="2352"/>
                </a:lnTo>
                <a:lnTo>
                  <a:pt x="1956" y="2376"/>
                </a:lnTo>
                <a:lnTo>
                  <a:pt x="1980" y="2394"/>
                </a:lnTo>
                <a:lnTo>
                  <a:pt x="1992" y="2436"/>
                </a:lnTo>
                <a:lnTo>
                  <a:pt x="2022" y="2436"/>
                </a:lnTo>
                <a:lnTo>
                  <a:pt x="2034" y="2442"/>
                </a:lnTo>
                <a:lnTo>
                  <a:pt x="2040" y="2448"/>
                </a:lnTo>
                <a:lnTo>
                  <a:pt x="2040" y="2454"/>
                </a:lnTo>
                <a:lnTo>
                  <a:pt x="2034" y="2460"/>
                </a:lnTo>
                <a:lnTo>
                  <a:pt x="2022" y="2460"/>
                </a:lnTo>
                <a:lnTo>
                  <a:pt x="2016" y="2466"/>
                </a:lnTo>
                <a:lnTo>
                  <a:pt x="2028" y="2478"/>
                </a:lnTo>
                <a:lnTo>
                  <a:pt x="2028" y="2490"/>
                </a:lnTo>
                <a:lnTo>
                  <a:pt x="2022" y="2496"/>
                </a:lnTo>
                <a:lnTo>
                  <a:pt x="2022" y="2502"/>
                </a:lnTo>
                <a:lnTo>
                  <a:pt x="2016" y="2514"/>
                </a:lnTo>
                <a:lnTo>
                  <a:pt x="2070" y="2520"/>
                </a:lnTo>
                <a:lnTo>
                  <a:pt x="2082" y="2550"/>
                </a:lnTo>
                <a:lnTo>
                  <a:pt x="2094" y="2550"/>
                </a:lnTo>
                <a:lnTo>
                  <a:pt x="2094" y="2568"/>
                </a:lnTo>
                <a:lnTo>
                  <a:pt x="2136" y="2568"/>
                </a:lnTo>
                <a:lnTo>
                  <a:pt x="2136" y="2562"/>
                </a:lnTo>
                <a:lnTo>
                  <a:pt x="2154" y="2544"/>
                </a:lnTo>
                <a:lnTo>
                  <a:pt x="2166" y="2544"/>
                </a:lnTo>
                <a:lnTo>
                  <a:pt x="2172" y="2550"/>
                </a:lnTo>
                <a:lnTo>
                  <a:pt x="2172" y="2592"/>
                </a:lnTo>
                <a:lnTo>
                  <a:pt x="2214" y="2592"/>
                </a:lnTo>
                <a:lnTo>
                  <a:pt x="2214" y="2556"/>
                </a:lnTo>
                <a:lnTo>
                  <a:pt x="2190" y="2532"/>
                </a:lnTo>
                <a:lnTo>
                  <a:pt x="2190" y="2490"/>
                </a:lnTo>
                <a:lnTo>
                  <a:pt x="2196" y="2484"/>
                </a:lnTo>
                <a:lnTo>
                  <a:pt x="2232" y="2490"/>
                </a:lnTo>
                <a:lnTo>
                  <a:pt x="2232" y="2472"/>
                </a:lnTo>
                <a:lnTo>
                  <a:pt x="2238" y="2460"/>
                </a:lnTo>
                <a:lnTo>
                  <a:pt x="2250" y="2460"/>
                </a:lnTo>
                <a:lnTo>
                  <a:pt x="2274" y="2484"/>
                </a:lnTo>
                <a:lnTo>
                  <a:pt x="2286" y="2484"/>
                </a:lnTo>
                <a:lnTo>
                  <a:pt x="2292" y="2478"/>
                </a:lnTo>
                <a:lnTo>
                  <a:pt x="2298" y="2466"/>
                </a:lnTo>
                <a:lnTo>
                  <a:pt x="2304" y="2460"/>
                </a:lnTo>
                <a:lnTo>
                  <a:pt x="2322" y="2478"/>
                </a:lnTo>
                <a:lnTo>
                  <a:pt x="2322" y="2460"/>
                </a:lnTo>
                <a:lnTo>
                  <a:pt x="2328" y="2460"/>
                </a:lnTo>
                <a:lnTo>
                  <a:pt x="2340" y="2478"/>
                </a:lnTo>
                <a:lnTo>
                  <a:pt x="2346" y="2484"/>
                </a:lnTo>
                <a:lnTo>
                  <a:pt x="2364" y="2484"/>
                </a:lnTo>
                <a:lnTo>
                  <a:pt x="2364" y="2472"/>
                </a:lnTo>
                <a:lnTo>
                  <a:pt x="2352" y="2460"/>
                </a:lnTo>
                <a:lnTo>
                  <a:pt x="2370" y="2460"/>
                </a:lnTo>
                <a:lnTo>
                  <a:pt x="2376" y="2466"/>
                </a:lnTo>
                <a:lnTo>
                  <a:pt x="2382" y="2460"/>
                </a:lnTo>
                <a:lnTo>
                  <a:pt x="2400" y="2460"/>
                </a:lnTo>
                <a:lnTo>
                  <a:pt x="2400" y="2454"/>
                </a:lnTo>
                <a:lnTo>
                  <a:pt x="2406" y="2442"/>
                </a:lnTo>
                <a:lnTo>
                  <a:pt x="2406" y="2430"/>
                </a:lnTo>
                <a:lnTo>
                  <a:pt x="2412" y="2424"/>
                </a:lnTo>
                <a:lnTo>
                  <a:pt x="2424" y="2418"/>
                </a:lnTo>
                <a:lnTo>
                  <a:pt x="2430" y="2412"/>
                </a:lnTo>
                <a:lnTo>
                  <a:pt x="2436" y="2412"/>
                </a:lnTo>
                <a:lnTo>
                  <a:pt x="2466" y="2448"/>
                </a:lnTo>
                <a:lnTo>
                  <a:pt x="2496" y="2442"/>
                </a:lnTo>
                <a:lnTo>
                  <a:pt x="2508" y="2454"/>
                </a:lnTo>
                <a:lnTo>
                  <a:pt x="2538" y="2454"/>
                </a:lnTo>
                <a:lnTo>
                  <a:pt x="2544" y="2460"/>
                </a:lnTo>
                <a:lnTo>
                  <a:pt x="2544" y="2466"/>
                </a:lnTo>
                <a:lnTo>
                  <a:pt x="2526" y="2484"/>
                </a:lnTo>
                <a:lnTo>
                  <a:pt x="2532" y="2502"/>
                </a:lnTo>
                <a:lnTo>
                  <a:pt x="2544" y="2508"/>
                </a:lnTo>
                <a:lnTo>
                  <a:pt x="2544" y="2526"/>
                </a:lnTo>
                <a:lnTo>
                  <a:pt x="2562" y="2526"/>
                </a:lnTo>
                <a:lnTo>
                  <a:pt x="2568" y="2532"/>
                </a:lnTo>
                <a:lnTo>
                  <a:pt x="2574" y="2544"/>
                </a:lnTo>
                <a:lnTo>
                  <a:pt x="2586" y="2550"/>
                </a:lnTo>
                <a:lnTo>
                  <a:pt x="2616" y="2550"/>
                </a:lnTo>
                <a:lnTo>
                  <a:pt x="2622" y="2556"/>
                </a:lnTo>
                <a:lnTo>
                  <a:pt x="2628" y="2556"/>
                </a:lnTo>
                <a:lnTo>
                  <a:pt x="2676" y="2526"/>
                </a:lnTo>
                <a:lnTo>
                  <a:pt x="2694" y="2538"/>
                </a:lnTo>
                <a:lnTo>
                  <a:pt x="2718" y="2538"/>
                </a:lnTo>
                <a:lnTo>
                  <a:pt x="2736" y="2544"/>
                </a:lnTo>
                <a:lnTo>
                  <a:pt x="2748" y="2544"/>
                </a:lnTo>
                <a:lnTo>
                  <a:pt x="2760" y="2550"/>
                </a:lnTo>
                <a:lnTo>
                  <a:pt x="2766" y="2556"/>
                </a:lnTo>
                <a:lnTo>
                  <a:pt x="2772" y="2568"/>
                </a:lnTo>
                <a:lnTo>
                  <a:pt x="2766" y="2580"/>
                </a:lnTo>
                <a:lnTo>
                  <a:pt x="2766" y="2604"/>
                </a:lnTo>
                <a:lnTo>
                  <a:pt x="2760" y="2616"/>
                </a:lnTo>
                <a:lnTo>
                  <a:pt x="2766" y="2628"/>
                </a:lnTo>
                <a:lnTo>
                  <a:pt x="2772" y="2634"/>
                </a:lnTo>
                <a:lnTo>
                  <a:pt x="2784" y="2640"/>
                </a:lnTo>
                <a:lnTo>
                  <a:pt x="2790" y="2652"/>
                </a:lnTo>
                <a:lnTo>
                  <a:pt x="2802" y="2658"/>
                </a:lnTo>
                <a:lnTo>
                  <a:pt x="2808" y="2664"/>
                </a:lnTo>
                <a:lnTo>
                  <a:pt x="2826" y="2664"/>
                </a:lnTo>
                <a:lnTo>
                  <a:pt x="2832" y="2640"/>
                </a:lnTo>
                <a:lnTo>
                  <a:pt x="2832" y="2634"/>
                </a:lnTo>
                <a:lnTo>
                  <a:pt x="2826" y="2628"/>
                </a:lnTo>
                <a:lnTo>
                  <a:pt x="2826" y="2586"/>
                </a:lnTo>
                <a:lnTo>
                  <a:pt x="2832" y="2568"/>
                </a:lnTo>
                <a:lnTo>
                  <a:pt x="2844" y="2556"/>
                </a:lnTo>
                <a:lnTo>
                  <a:pt x="2856" y="2550"/>
                </a:lnTo>
                <a:lnTo>
                  <a:pt x="2886" y="2550"/>
                </a:lnTo>
                <a:lnTo>
                  <a:pt x="2898" y="2544"/>
                </a:lnTo>
                <a:lnTo>
                  <a:pt x="2910" y="2544"/>
                </a:lnTo>
                <a:lnTo>
                  <a:pt x="2922" y="2538"/>
                </a:lnTo>
                <a:lnTo>
                  <a:pt x="2940" y="2538"/>
                </a:lnTo>
                <a:lnTo>
                  <a:pt x="2964" y="2532"/>
                </a:lnTo>
                <a:lnTo>
                  <a:pt x="2982" y="2526"/>
                </a:lnTo>
                <a:lnTo>
                  <a:pt x="3000" y="2508"/>
                </a:lnTo>
                <a:lnTo>
                  <a:pt x="3000" y="2466"/>
                </a:lnTo>
                <a:lnTo>
                  <a:pt x="3006" y="2454"/>
                </a:lnTo>
                <a:lnTo>
                  <a:pt x="3012" y="2448"/>
                </a:lnTo>
                <a:lnTo>
                  <a:pt x="3024" y="2460"/>
                </a:lnTo>
                <a:lnTo>
                  <a:pt x="3036" y="2484"/>
                </a:lnTo>
                <a:lnTo>
                  <a:pt x="3042" y="2490"/>
                </a:lnTo>
                <a:lnTo>
                  <a:pt x="3048" y="2490"/>
                </a:lnTo>
                <a:lnTo>
                  <a:pt x="3054" y="2484"/>
                </a:lnTo>
                <a:lnTo>
                  <a:pt x="3066" y="2478"/>
                </a:lnTo>
                <a:lnTo>
                  <a:pt x="3072" y="2466"/>
                </a:lnTo>
                <a:lnTo>
                  <a:pt x="3090" y="2448"/>
                </a:lnTo>
                <a:lnTo>
                  <a:pt x="3096" y="2436"/>
                </a:lnTo>
                <a:lnTo>
                  <a:pt x="3114" y="2454"/>
                </a:lnTo>
                <a:lnTo>
                  <a:pt x="3144" y="2442"/>
                </a:lnTo>
                <a:lnTo>
                  <a:pt x="3150" y="2442"/>
                </a:lnTo>
                <a:lnTo>
                  <a:pt x="3156" y="2448"/>
                </a:lnTo>
                <a:lnTo>
                  <a:pt x="3186" y="2448"/>
                </a:lnTo>
                <a:lnTo>
                  <a:pt x="3234" y="2424"/>
                </a:lnTo>
                <a:lnTo>
                  <a:pt x="3288" y="2370"/>
                </a:lnTo>
                <a:lnTo>
                  <a:pt x="3294" y="2358"/>
                </a:lnTo>
                <a:lnTo>
                  <a:pt x="3300" y="2352"/>
                </a:lnTo>
                <a:lnTo>
                  <a:pt x="3294" y="2340"/>
                </a:lnTo>
                <a:lnTo>
                  <a:pt x="3294" y="2334"/>
                </a:lnTo>
                <a:lnTo>
                  <a:pt x="3288" y="2322"/>
                </a:lnTo>
                <a:lnTo>
                  <a:pt x="3282" y="2316"/>
                </a:lnTo>
                <a:lnTo>
                  <a:pt x="3300" y="2316"/>
                </a:lnTo>
                <a:lnTo>
                  <a:pt x="3312" y="2286"/>
                </a:lnTo>
                <a:lnTo>
                  <a:pt x="3336" y="2286"/>
                </a:lnTo>
                <a:lnTo>
                  <a:pt x="3348" y="2250"/>
                </a:lnTo>
                <a:lnTo>
                  <a:pt x="3360" y="2250"/>
                </a:lnTo>
                <a:lnTo>
                  <a:pt x="3360" y="2208"/>
                </a:lnTo>
                <a:lnTo>
                  <a:pt x="3372" y="2208"/>
                </a:lnTo>
                <a:lnTo>
                  <a:pt x="3384" y="2196"/>
                </a:lnTo>
                <a:lnTo>
                  <a:pt x="3384" y="2172"/>
                </a:lnTo>
                <a:lnTo>
                  <a:pt x="3378" y="2160"/>
                </a:lnTo>
                <a:lnTo>
                  <a:pt x="3372" y="2154"/>
                </a:lnTo>
                <a:lnTo>
                  <a:pt x="3372" y="2142"/>
                </a:lnTo>
                <a:lnTo>
                  <a:pt x="3378" y="2136"/>
                </a:lnTo>
                <a:lnTo>
                  <a:pt x="3384" y="2136"/>
                </a:lnTo>
                <a:lnTo>
                  <a:pt x="3390" y="2130"/>
                </a:lnTo>
                <a:lnTo>
                  <a:pt x="3402" y="2124"/>
                </a:lnTo>
                <a:lnTo>
                  <a:pt x="3408" y="2118"/>
                </a:lnTo>
                <a:lnTo>
                  <a:pt x="3408" y="2094"/>
                </a:lnTo>
                <a:lnTo>
                  <a:pt x="3390" y="2076"/>
                </a:lnTo>
                <a:lnTo>
                  <a:pt x="3390" y="2064"/>
                </a:lnTo>
                <a:lnTo>
                  <a:pt x="3402" y="2058"/>
                </a:lnTo>
                <a:lnTo>
                  <a:pt x="3408" y="2052"/>
                </a:lnTo>
                <a:lnTo>
                  <a:pt x="3408" y="2016"/>
                </a:lnTo>
                <a:lnTo>
                  <a:pt x="3414" y="2016"/>
                </a:lnTo>
                <a:lnTo>
                  <a:pt x="3420" y="2010"/>
                </a:lnTo>
                <a:lnTo>
                  <a:pt x="3456" y="1992"/>
                </a:lnTo>
                <a:lnTo>
                  <a:pt x="3462" y="1980"/>
                </a:lnTo>
                <a:lnTo>
                  <a:pt x="3462" y="1962"/>
                </a:lnTo>
                <a:lnTo>
                  <a:pt x="3456" y="1956"/>
                </a:lnTo>
                <a:lnTo>
                  <a:pt x="3444" y="1956"/>
                </a:lnTo>
                <a:lnTo>
                  <a:pt x="3450" y="1956"/>
                </a:lnTo>
                <a:lnTo>
                  <a:pt x="3456" y="1950"/>
                </a:lnTo>
                <a:lnTo>
                  <a:pt x="3468" y="1950"/>
                </a:lnTo>
                <a:lnTo>
                  <a:pt x="3480" y="1944"/>
                </a:lnTo>
                <a:lnTo>
                  <a:pt x="3492" y="1932"/>
                </a:lnTo>
                <a:lnTo>
                  <a:pt x="3474" y="1914"/>
                </a:lnTo>
                <a:lnTo>
                  <a:pt x="3468" y="1914"/>
                </a:lnTo>
                <a:lnTo>
                  <a:pt x="3486" y="1896"/>
                </a:lnTo>
                <a:lnTo>
                  <a:pt x="3498" y="1872"/>
                </a:lnTo>
                <a:lnTo>
                  <a:pt x="3504" y="1866"/>
                </a:lnTo>
                <a:lnTo>
                  <a:pt x="3504" y="1854"/>
                </a:lnTo>
                <a:lnTo>
                  <a:pt x="3498" y="1848"/>
                </a:lnTo>
                <a:lnTo>
                  <a:pt x="3474" y="1842"/>
                </a:lnTo>
                <a:lnTo>
                  <a:pt x="3438" y="1848"/>
                </a:lnTo>
                <a:lnTo>
                  <a:pt x="3396" y="1854"/>
                </a:lnTo>
                <a:lnTo>
                  <a:pt x="3366" y="1860"/>
                </a:lnTo>
                <a:lnTo>
                  <a:pt x="3354" y="1866"/>
                </a:lnTo>
                <a:lnTo>
                  <a:pt x="3336" y="1848"/>
                </a:lnTo>
                <a:lnTo>
                  <a:pt x="3378" y="1848"/>
                </a:lnTo>
                <a:lnTo>
                  <a:pt x="3378" y="1836"/>
                </a:lnTo>
                <a:lnTo>
                  <a:pt x="3384" y="1824"/>
                </a:lnTo>
                <a:lnTo>
                  <a:pt x="3390" y="1818"/>
                </a:lnTo>
                <a:lnTo>
                  <a:pt x="3402" y="1812"/>
                </a:lnTo>
                <a:lnTo>
                  <a:pt x="3432" y="1812"/>
                </a:lnTo>
                <a:lnTo>
                  <a:pt x="3426" y="1800"/>
                </a:lnTo>
                <a:lnTo>
                  <a:pt x="3420" y="1794"/>
                </a:lnTo>
                <a:lnTo>
                  <a:pt x="3414" y="1782"/>
                </a:lnTo>
                <a:lnTo>
                  <a:pt x="3414" y="1776"/>
                </a:lnTo>
                <a:lnTo>
                  <a:pt x="3408" y="1770"/>
                </a:lnTo>
                <a:lnTo>
                  <a:pt x="3390" y="1770"/>
                </a:lnTo>
                <a:lnTo>
                  <a:pt x="3378" y="1764"/>
                </a:lnTo>
                <a:lnTo>
                  <a:pt x="3366" y="1764"/>
                </a:lnTo>
                <a:lnTo>
                  <a:pt x="3354" y="1746"/>
                </a:lnTo>
                <a:lnTo>
                  <a:pt x="3342" y="1746"/>
                </a:lnTo>
                <a:lnTo>
                  <a:pt x="3336" y="1734"/>
                </a:lnTo>
                <a:lnTo>
                  <a:pt x="3324" y="1728"/>
                </a:lnTo>
                <a:lnTo>
                  <a:pt x="3294" y="1728"/>
                </a:lnTo>
                <a:lnTo>
                  <a:pt x="3288" y="1734"/>
                </a:lnTo>
                <a:lnTo>
                  <a:pt x="3282" y="1734"/>
                </a:lnTo>
                <a:lnTo>
                  <a:pt x="3246" y="1686"/>
                </a:lnTo>
                <a:lnTo>
                  <a:pt x="3252" y="1698"/>
                </a:lnTo>
                <a:lnTo>
                  <a:pt x="3264" y="1704"/>
                </a:lnTo>
                <a:lnTo>
                  <a:pt x="3270" y="1710"/>
                </a:lnTo>
                <a:lnTo>
                  <a:pt x="3282" y="1716"/>
                </a:lnTo>
                <a:lnTo>
                  <a:pt x="3294" y="1716"/>
                </a:lnTo>
                <a:lnTo>
                  <a:pt x="3300" y="1710"/>
                </a:lnTo>
                <a:lnTo>
                  <a:pt x="3306" y="1710"/>
                </a:lnTo>
                <a:lnTo>
                  <a:pt x="3336" y="1716"/>
                </a:lnTo>
                <a:lnTo>
                  <a:pt x="3348" y="1734"/>
                </a:lnTo>
                <a:lnTo>
                  <a:pt x="3366" y="1728"/>
                </a:lnTo>
                <a:lnTo>
                  <a:pt x="3408" y="1740"/>
                </a:lnTo>
                <a:lnTo>
                  <a:pt x="3390" y="1716"/>
                </a:lnTo>
                <a:lnTo>
                  <a:pt x="3372" y="1710"/>
                </a:lnTo>
                <a:lnTo>
                  <a:pt x="3372" y="1692"/>
                </a:lnTo>
                <a:lnTo>
                  <a:pt x="3360" y="1680"/>
                </a:lnTo>
                <a:lnTo>
                  <a:pt x="3348" y="1674"/>
                </a:lnTo>
                <a:lnTo>
                  <a:pt x="3330" y="1674"/>
                </a:lnTo>
                <a:lnTo>
                  <a:pt x="3318" y="1662"/>
                </a:lnTo>
                <a:lnTo>
                  <a:pt x="3318" y="1650"/>
                </a:lnTo>
                <a:lnTo>
                  <a:pt x="3312" y="1644"/>
                </a:lnTo>
                <a:lnTo>
                  <a:pt x="3312" y="1632"/>
                </a:lnTo>
                <a:lnTo>
                  <a:pt x="3234" y="1530"/>
                </a:lnTo>
                <a:lnTo>
                  <a:pt x="3198" y="1524"/>
                </a:lnTo>
                <a:lnTo>
                  <a:pt x="3162" y="1494"/>
                </a:lnTo>
                <a:lnTo>
                  <a:pt x="3144" y="1500"/>
                </a:lnTo>
                <a:lnTo>
                  <a:pt x="3138" y="1488"/>
                </a:lnTo>
                <a:lnTo>
                  <a:pt x="3132" y="1482"/>
                </a:lnTo>
                <a:lnTo>
                  <a:pt x="3132" y="1470"/>
                </a:lnTo>
                <a:lnTo>
                  <a:pt x="3126" y="1464"/>
                </a:lnTo>
                <a:lnTo>
                  <a:pt x="3138" y="1452"/>
                </a:lnTo>
                <a:lnTo>
                  <a:pt x="3150" y="1446"/>
                </a:lnTo>
                <a:lnTo>
                  <a:pt x="3156" y="1434"/>
                </a:lnTo>
                <a:lnTo>
                  <a:pt x="3162" y="1428"/>
                </a:lnTo>
                <a:lnTo>
                  <a:pt x="3168" y="1416"/>
                </a:lnTo>
                <a:lnTo>
                  <a:pt x="3168" y="1410"/>
                </a:lnTo>
                <a:lnTo>
                  <a:pt x="3162" y="1398"/>
                </a:lnTo>
                <a:lnTo>
                  <a:pt x="3162" y="1392"/>
                </a:lnTo>
                <a:lnTo>
                  <a:pt x="3156" y="1380"/>
                </a:lnTo>
                <a:lnTo>
                  <a:pt x="3168" y="1386"/>
                </a:lnTo>
                <a:lnTo>
                  <a:pt x="3174" y="1392"/>
                </a:lnTo>
                <a:lnTo>
                  <a:pt x="3186" y="1398"/>
                </a:lnTo>
                <a:lnTo>
                  <a:pt x="3198" y="1386"/>
                </a:lnTo>
                <a:lnTo>
                  <a:pt x="3198" y="1368"/>
                </a:lnTo>
                <a:lnTo>
                  <a:pt x="3192" y="1356"/>
                </a:lnTo>
                <a:lnTo>
                  <a:pt x="3192" y="1344"/>
                </a:lnTo>
                <a:lnTo>
                  <a:pt x="3216" y="1344"/>
                </a:lnTo>
                <a:lnTo>
                  <a:pt x="3252" y="1320"/>
                </a:lnTo>
                <a:lnTo>
                  <a:pt x="3264" y="1320"/>
                </a:lnTo>
                <a:lnTo>
                  <a:pt x="3270" y="1326"/>
                </a:lnTo>
                <a:lnTo>
                  <a:pt x="3294" y="1326"/>
                </a:lnTo>
                <a:lnTo>
                  <a:pt x="3294" y="1320"/>
                </a:lnTo>
                <a:lnTo>
                  <a:pt x="3288" y="1314"/>
                </a:lnTo>
                <a:lnTo>
                  <a:pt x="3288" y="1308"/>
                </a:lnTo>
                <a:lnTo>
                  <a:pt x="3282" y="1302"/>
                </a:lnTo>
                <a:lnTo>
                  <a:pt x="3288" y="1278"/>
                </a:lnTo>
                <a:lnTo>
                  <a:pt x="3258" y="1278"/>
                </a:lnTo>
                <a:lnTo>
                  <a:pt x="3246" y="1266"/>
                </a:lnTo>
                <a:lnTo>
                  <a:pt x="3240" y="1278"/>
                </a:lnTo>
                <a:lnTo>
                  <a:pt x="3204" y="1278"/>
                </a:lnTo>
                <a:lnTo>
                  <a:pt x="3198" y="1272"/>
                </a:lnTo>
                <a:lnTo>
                  <a:pt x="3192" y="1260"/>
                </a:lnTo>
                <a:lnTo>
                  <a:pt x="3180" y="1254"/>
                </a:lnTo>
                <a:lnTo>
                  <a:pt x="3174" y="1248"/>
                </a:lnTo>
                <a:lnTo>
                  <a:pt x="3150" y="1248"/>
                </a:lnTo>
                <a:lnTo>
                  <a:pt x="3144" y="1260"/>
                </a:lnTo>
                <a:lnTo>
                  <a:pt x="3132" y="1266"/>
                </a:lnTo>
                <a:lnTo>
                  <a:pt x="3114" y="1284"/>
                </a:lnTo>
                <a:lnTo>
                  <a:pt x="3114" y="1296"/>
                </a:lnTo>
                <a:lnTo>
                  <a:pt x="3108" y="1302"/>
                </a:lnTo>
                <a:lnTo>
                  <a:pt x="3108" y="1308"/>
                </a:lnTo>
                <a:lnTo>
                  <a:pt x="3078" y="1308"/>
                </a:lnTo>
                <a:lnTo>
                  <a:pt x="3054" y="1296"/>
                </a:lnTo>
                <a:lnTo>
                  <a:pt x="3048" y="1290"/>
                </a:lnTo>
                <a:lnTo>
                  <a:pt x="3042" y="1278"/>
                </a:lnTo>
                <a:lnTo>
                  <a:pt x="3030" y="1242"/>
                </a:lnTo>
                <a:lnTo>
                  <a:pt x="3024" y="1230"/>
                </a:lnTo>
                <a:lnTo>
                  <a:pt x="3018" y="1224"/>
                </a:lnTo>
                <a:lnTo>
                  <a:pt x="3006" y="1224"/>
                </a:lnTo>
                <a:lnTo>
                  <a:pt x="3000" y="1230"/>
                </a:lnTo>
                <a:lnTo>
                  <a:pt x="3000" y="1242"/>
                </a:lnTo>
                <a:lnTo>
                  <a:pt x="2988" y="1224"/>
                </a:lnTo>
                <a:lnTo>
                  <a:pt x="2952" y="1224"/>
                </a:lnTo>
                <a:lnTo>
                  <a:pt x="2940" y="1218"/>
                </a:lnTo>
                <a:lnTo>
                  <a:pt x="2934" y="1212"/>
                </a:lnTo>
                <a:lnTo>
                  <a:pt x="2928" y="1200"/>
                </a:lnTo>
                <a:lnTo>
                  <a:pt x="2916" y="1194"/>
                </a:lnTo>
                <a:lnTo>
                  <a:pt x="2910" y="1182"/>
                </a:lnTo>
                <a:lnTo>
                  <a:pt x="2910" y="1140"/>
                </a:lnTo>
                <a:lnTo>
                  <a:pt x="2928" y="1140"/>
                </a:lnTo>
                <a:lnTo>
                  <a:pt x="2940" y="1152"/>
                </a:lnTo>
                <a:lnTo>
                  <a:pt x="2946" y="1152"/>
                </a:lnTo>
                <a:lnTo>
                  <a:pt x="2952" y="1146"/>
                </a:lnTo>
                <a:lnTo>
                  <a:pt x="2952" y="1140"/>
                </a:lnTo>
                <a:lnTo>
                  <a:pt x="2958" y="1134"/>
                </a:lnTo>
                <a:lnTo>
                  <a:pt x="2964" y="1134"/>
                </a:lnTo>
                <a:lnTo>
                  <a:pt x="2970" y="1140"/>
                </a:lnTo>
                <a:lnTo>
                  <a:pt x="2982" y="1140"/>
                </a:lnTo>
                <a:lnTo>
                  <a:pt x="2994" y="1134"/>
                </a:lnTo>
                <a:lnTo>
                  <a:pt x="3000" y="1128"/>
                </a:lnTo>
                <a:lnTo>
                  <a:pt x="3000" y="1116"/>
                </a:lnTo>
                <a:lnTo>
                  <a:pt x="2994" y="1110"/>
                </a:lnTo>
                <a:lnTo>
                  <a:pt x="2994" y="1086"/>
                </a:lnTo>
                <a:lnTo>
                  <a:pt x="3000" y="1074"/>
                </a:lnTo>
                <a:lnTo>
                  <a:pt x="3000" y="1068"/>
                </a:lnTo>
                <a:lnTo>
                  <a:pt x="3036" y="1068"/>
                </a:lnTo>
                <a:lnTo>
                  <a:pt x="3042" y="1062"/>
                </a:lnTo>
                <a:lnTo>
                  <a:pt x="3048" y="1050"/>
                </a:lnTo>
                <a:lnTo>
                  <a:pt x="3048" y="1038"/>
                </a:lnTo>
                <a:lnTo>
                  <a:pt x="3054" y="1032"/>
                </a:lnTo>
                <a:lnTo>
                  <a:pt x="3054" y="1026"/>
                </a:lnTo>
                <a:lnTo>
                  <a:pt x="3072" y="1014"/>
                </a:lnTo>
                <a:lnTo>
                  <a:pt x="3060" y="1002"/>
                </a:lnTo>
                <a:lnTo>
                  <a:pt x="3096" y="1014"/>
                </a:lnTo>
                <a:lnTo>
                  <a:pt x="3114" y="996"/>
                </a:lnTo>
                <a:lnTo>
                  <a:pt x="3126" y="1002"/>
                </a:lnTo>
                <a:lnTo>
                  <a:pt x="3132" y="1014"/>
                </a:lnTo>
                <a:lnTo>
                  <a:pt x="3144" y="1020"/>
                </a:lnTo>
                <a:lnTo>
                  <a:pt x="3156" y="1044"/>
                </a:lnTo>
                <a:lnTo>
                  <a:pt x="3156" y="1050"/>
                </a:lnTo>
                <a:lnTo>
                  <a:pt x="3144" y="1074"/>
                </a:lnTo>
                <a:lnTo>
                  <a:pt x="3126" y="1092"/>
                </a:lnTo>
                <a:lnTo>
                  <a:pt x="3126" y="1104"/>
                </a:lnTo>
                <a:lnTo>
                  <a:pt x="3132" y="1116"/>
                </a:lnTo>
                <a:lnTo>
                  <a:pt x="3144" y="1128"/>
                </a:lnTo>
                <a:lnTo>
                  <a:pt x="3150" y="1128"/>
                </a:lnTo>
                <a:lnTo>
                  <a:pt x="3162" y="1122"/>
                </a:lnTo>
                <a:lnTo>
                  <a:pt x="3168" y="1122"/>
                </a:lnTo>
                <a:lnTo>
                  <a:pt x="3162" y="1152"/>
                </a:lnTo>
                <a:lnTo>
                  <a:pt x="3144" y="1170"/>
                </a:lnTo>
                <a:lnTo>
                  <a:pt x="3144" y="1176"/>
                </a:lnTo>
                <a:lnTo>
                  <a:pt x="3150" y="1176"/>
                </a:lnTo>
                <a:lnTo>
                  <a:pt x="3162" y="1170"/>
                </a:lnTo>
                <a:lnTo>
                  <a:pt x="3168" y="1164"/>
                </a:lnTo>
                <a:lnTo>
                  <a:pt x="3180" y="1158"/>
                </a:lnTo>
                <a:lnTo>
                  <a:pt x="3186" y="1158"/>
                </a:lnTo>
                <a:lnTo>
                  <a:pt x="3198" y="1146"/>
                </a:lnTo>
                <a:lnTo>
                  <a:pt x="3198" y="1122"/>
                </a:lnTo>
                <a:lnTo>
                  <a:pt x="3204" y="1122"/>
                </a:lnTo>
                <a:lnTo>
                  <a:pt x="3210" y="1116"/>
                </a:lnTo>
                <a:lnTo>
                  <a:pt x="3258" y="1092"/>
                </a:lnTo>
                <a:lnTo>
                  <a:pt x="3264" y="1086"/>
                </a:lnTo>
                <a:lnTo>
                  <a:pt x="3306" y="1086"/>
                </a:lnTo>
                <a:lnTo>
                  <a:pt x="3312" y="1074"/>
                </a:lnTo>
                <a:lnTo>
                  <a:pt x="3312" y="1062"/>
                </a:lnTo>
                <a:lnTo>
                  <a:pt x="3318" y="1056"/>
                </a:lnTo>
                <a:lnTo>
                  <a:pt x="3324" y="1044"/>
                </a:lnTo>
                <a:lnTo>
                  <a:pt x="3360" y="1026"/>
                </a:lnTo>
                <a:lnTo>
                  <a:pt x="3372" y="1014"/>
                </a:lnTo>
                <a:lnTo>
                  <a:pt x="3390" y="978"/>
                </a:lnTo>
                <a:lnTo>
                  <a:pt x="3390" y="948"/>
                </a:lnTo>
                <a:lnTo>
                  <a:pt x="3396" y="942"/>
                </a:lnTo>
                <a:lnTo>
                  <a:pt x="3396" y="936"/>
                </a:lnTo>
                <a:lnTo>
                  <a:pt x="3408" y="936"/>
                </a:lnTo>
                <a:lnTo>
                  <a:pt x="3420" y="942"/>
                </a:lnTo>
                <a:lnTo>
                  <a:pt x="3432" y="954"/>
                </a:lnTo>
                <a:lnTo>
                  <a:pt x="3444" y="954"/>
                </a:lnTo>
                <a:lnTo>
                  <a:pt x="3456" y="960"/>
                </a:lnTo>
                <a:lnTo>
                  <a:pt x="3504" y="960"/>
                </a:lnTo>
                <a:lnTo>
                  <a:pt x="3504" y="948"/>
                </a:lnTo>
                <a:lnTo>
                  <a:pt x="3498" y="948"/>
                </a:lnTo>
                <a:lnTo>
                  <a:pt x="3474" y="924"/>
                </a:lnTo>
                <a:lnTo>
                  <a:pt x="3474" y="912"/>
                </a:lnTo>
                <a:lnTo>
                  <a:pt x="3480" y="906"/>
                </a:lnTo>
                <a:lnTo>
                  <a:pt x="3486" y="912"/>
                </a:lnTo>
                <a:lnTo>
                  <a:pt x="3510" y="912"/>
                </a:lnTo>
                <a:lnTo>
                  <a:pt x="3522" y="918"/>
                </a:lnTo>
                <a:lnTo>
                  <a:pt x="3534" y="912"/>
                </a:lnTo>
                <a:lnTo>
                  <a:pt x="3540" y="900"/>
                </a:lnTo>
                <a:lnTo>
                  <a:pt x="3540" y="894"/>
                </a:lnTo>
                <a:lnTo>
                  <a:pt x="3534" y="882"/>
                </a:lnTo>
                <a:lnTo>
                  <a:pt x="3558" y="882"/>
                </a:lnTo>
                <a:lnTo>
                  <a:pt x="3558" y="864"/>
                </a:lnTo>
                <a:lnTo>
                  <a:pt x="3552" y="852"/>
                </a:lnTo>
                <a:lnTo>
                  <a:pt x="3546" y="846"/>
                </a:lnTo>
                <a:lnTo>
                  <a:pt x="3546" y="840"/>
                </a:lnTo>
                <a:lnTo>
                  <a:pt x="3576" y="840"/>
                </a:lnTo>
                <a:lnTo>
                  <a:pt x="3594" y="864"/>
                </a:lnTo>
                <a:lnTo>
                  <a:pt x="3600" y="840"/>
                </a:lnTo>
                <a:lnTo>
                  <a:pt x="3630" y="846"/>
                </a:lnTo>
                <a:lnTo>
                  <a:pt x="3624" y="810"/>
                </a:lnTo>
                <a:lnTo>
                  <a:pt x="3618" y="798"/>
                </a:lnTo>
                <a:lnTo>
                  <a:pt x="3606" y="786"/>
                </a:lnTo>
                <a:lnTo>
                  <a:pt x="3606" y="774"/>
                </a:lnTo>
                <a:lnTo>
                  <a:pt x="3600" y="756"/>
                </a:lnTo>
                <a:lnTo>
                  <a:pt x="3588" y="744"/>
                </a:lnTo>
                <a:lnTo>
                  <a:pt x="3576" y="726"/>
                </a:lnTo>
                <a:lnTo>
                  <a:pt x="3564" y="720"/>
                </a:lnTo>
                <a:lnTo>
                  <a:pt x="3552" y="708"/>
                </a:lnTo>
                <a:lnTo>
                  <a:pt x="3546" y="708"/>
                </a:lnTo>
                <a:lnTo>
                  <a:pt x="3540" y="696"/>
                </a:lnTo>
                <a:lnTo>
                  <a:pt x="3540" y="684"/>
                </a:lnTo>
                <a:lnTo>
                  <a:pt x="3564" y="684"/>
                </a:lnTo>
                <a:lnTo>
                  <a:pt x="3564" y="672"/>
                </a:lnTo>
                <a:lnTo>
                  <a:pt x="3558" y="666"/>
                </a:lnTo>
                <a:lnTo>
                  <a:pt x="3564" y="660"/>
                </a:lnTo>
                <a:lnTo>
                  <a:pt x="3588" y="660"/>
                </a:lnTo>
                <a:lnTo>
                  <a:pt x="3600" y="666"/>
                </a:lnTo>
                <a:lnTo>
                  <a:pt x="3618" y="672"/>
                </a:lnTo>
                <a:lnTo>
                  <a:pt x="3630" y="672"/>
                </a:lnTo>
                <a:lnTo>
                  <a:pt x="3642" y="678"/>
                </a:lnTo>
                <a:lnTo>
                  <a:pt x="3648" y="678"/>
                </a:lnTo>
                <a:lnTo>
                  <a:pt x="3654" y="672"/>
                </a:lnTo>
                <a:lnTo>
                  <a:pt x="3654" y="660"/>
                </a:lnTo>
                <a:lnTo>
                  <a:pt x="3648" y="648"/>
                </a:lnTo>
                <a:lnTo>
                  <a:pt x="3648" y="630"/>
                </a:lnTo>
                <a:lnTo>
                  <a:pt x="3654" y="630"/>
                </a:lnTo>
                <a:lnTo>
                  <a:pt x="3660" y="6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0" name="Chile"/>
          <p:cNvSpPr>
            <a:spLocks noEditPoints="1"/>
          </p:cNvSpPr>
          <p:nvPr/>
        </p:nvSpPr>
        <p:spPr bwMode="gray">
          <a:xfrm>
            <a:off x="2032858" y="4831430"/>
            <a:ext cx="465138" cy="1219200"/>
          </a:xfrm>
          <a:custGeom>
            <a:avLst/>
            <a:gdLst>
              <a:gd name="T0" fmla="*/ 2147483647 w 1158"/>
              <a:gd name="T1" fmla="*/ 2147483647 h 3030"/>
              <a:gd name="T2" fmla="*/ 2147483647 w 1158"/>
              <a:gd name="T3" fmla="*/ 2147483647 h 3030"/>
              <a:gd name="T4" fmla="*/ 2147483647 w 1158"/>
              <a:gd name="T5" fmla="*/ 2147483647 h 3030"/>
              <a:gd name="T6" fmla="*/ 2147483647 w 1158"/>
              <a:gd name="T7" fmla="*/ 2147483647 h 3030"/>
              <a:gd name="T8" fmla="*/ 2147483647 w 1158"/>
              <a:gd name="T9" fmla="*/ 2147483647 h 3030"/>
              <a:gd name="T10" fmla="*/ 2147483647 w 1158"/>
              <a:gd name="T11" fmla="*/ 2147483647 h 3030"/>
              <a:gd name="T12" fmla="*/ 2147483647 w 1158"/>
              <a:gd name="T13" fmla="*/ 2147483647 h 3030"/>
              <a:gd name="T14" fmla="*/ 2147483647 w 1158"/>
              <a:gd name="T15" fmla="*/ 2147483647 h 3030"/>
              <a:gd name="T16" fmla="*/ 2147483647 w 1158"/>
              <a:gd name="T17" fmla="*/ 2147483647 h 3030"/>
              <a:gd name="T18" fmla="*/ 2147483647 w 1158"/>
              <a:gd name="T19" fmla="*/ 2147483647 h 3030"/>
              <a:gd name="T20" fmla="*/ 2147483647 w 1158"/>
              <a:gd name="T21" fmla="*/ 2147483647 h 3030"/>
              <a:gd name="T22" fmla="*/ 2147483647 w 1158"/>
              <a:gd name="T23" fmla="*/ 2147483647 h 3030"/>
              <a:gd name="T24" fmla="*/ 2147483647 w 1158"/>
              <a:gd name="T25" fmla="*/ 2147483647 h 3030"/>
              <a:gd name="T26" fmla="*/ 2147483647 w 1158"/>
              <a:gd name="T27" fmla="*/ 2147483647 h 3030"/>
              <a:gd name="T28" fmla="*/ 2147483647 w 1158"/>
              <a:gd name="T29" fmla="*/ 2147483647 h 3030"/>
              <a:gd name="T30" fmla="*/ 2147483647 w 1158"/>
              <a:gd name="T31" fmla="*/ 2147483647 h 3030"/>
              <a:gd name="T32" fmla="*/ 2147483647 w 1158"/>
              <a:gd name="T33" fmla="*/ 2147483647 h 3030"/>
              <a:gd name="T34" fmla="*/ 2147483647 w 1158"/>
              <a:gd name="T35" fmla="*/ 2147483647 h 3030"/>
              <a:gd name="T36" fmla="*/ 2147483647 w 1158"/>
              <a:gd name="T37" fmla="*/ 2147483647 h 3030"/>
              <a:gd name="T38" fmla="*/ 2147483647 w 1158"/>
              <a:gd name="T39" fmla="*/ 2147483647 h 3030"/>
              <a:gd name="T40" fmla="*/ 2147483647 w 1158"/>
              <a:gd name="T41" fmla="*/ 2147483647 h 3030"/>
              <a:gd name="T42" fmla="*/ 2147483647 w 1158"/>
              <a:gd name="T43" fmla="*/ 2147483647 h 3030"/>
              <a:gd name="T44" fmla="*/ 2147483647 w 1158"/>
              <a:gd name="T45" fmla="*/ 2147483647 h 3030"/>
              <a:gd name="T46" fmla="*/ 2147483647 w 1158"/>
              <a:gd name="T47" fmla="*/ 2147483647 h 3030"/>
              <a:gd name="T48" fmla="*/ 2147483647 w 1158"/>
              <a:gd name="T49" fmla="*/ 2147483647 h 3030"/>
              <a:gd name="T50" fmla="*/ 2147483647 w 1158"/>
              <a:gd name="T51" fmla="*/ 2147483647 h 3030"/>
              <a:gd name="T52" fmla="*/ 2147483647 w 1158"/>
              <a:gd name="T53" fmla="*/ 2147483647 h 3030"/>
              <a:gd name="T54" fmla="*/ 2147483647 w 1158"/>
              <a:gd name="T55" fmla="*/ 2147483647 h 3030"/>
              <a:gd name="T56" fmla="*/ 2147483647 w 1158"/>
              <a:gd name="T57" fmla="*/ 2147483647 h 3030"/>
              <a:gd name="T58" fmla="*/ 2147483647 w 1158"/>
              <a:gd name="T59" fmla="*/ 2147483647 h 3030"/>
              <a:gd name="T60" fmla="*/ 2147483647 w 1158"/>
              <a:gd name="T61" fmla="*/ 2147483647 h 3030"/>
              <a:gd name="T62" fmla="*/ 2147483647 w 1158"/>
              <a:gd name="T63" fmla="*/ 2147483647 h 3030"/>
              <a:gd name="T64" fmla="*/ 2147483647 w 1158"/>
              <a:gd name="T65" fmla="*/ 2147483647 h 3030"/>
              <a:gd name="T66" fmla="*/ 2147483647 w 1158"/>
              <a:gd name="T67" fmla="*/ 2147483647 h 3030"/>
              <a:gd name="T68" fmla="*/ 2147483647 w 1158"/>
              <a:gd name="T69" fmla="*/ 2147483647 h 3030"/>
              <a:gd name="T70" fmla="*/ 2147483647 w 1158"/>
              <a:gd name="T71" fmla="*/ 2147483647 h 3030"/>
              <a:gd name="T72" fmla="*/ 2147483647 w 1158"/>
              <a:gd name="T73" fmla="*/ 2147483647 h 3030"/>
              <a:gd name="T74" fmla="*/ 2147483647 w 1158"/>
              <a:gd name="T75" fmla="*/ 2147483647 h 3030"/>
              <a:gd name="T76" fmla="*/ 2147483647 w 1158"/>
              <a:gd name="T77" fmla="*/ 2147483647 h 3030"/>
              <a:gd name="T78" fmla="*/ 0 w 1158"/>
              <a:gd name="T79" fmla="*/ 2147483647 h 3030"/>
              <a:gd name="T80" fmla="*/ 2147483647 w 1158"/>
              <a:gd name="T81" fmla="*/ 2147483647 h 3030"/>
              <a:gd name="T82" fmla="*/ 2147483647 w 1158"/>
              <a:gd name="T83" fmla="*/ 2147483647 h 3030"/>
              <a:gd name="T84" fmla="*/ 2147483647 w 1158"/>
              <a:gd name="T85" fmla="*/ 2147483647 h 3030"/>
              <a:gd name="T86" fmla="*/ 2147483647 w 1158"/>
              <a:gd name="T87" fmla="*/ 2147483647 h 3030"/>
              <a:gd name="T88" fmla="*/ 2147483647 w 1158"/>
              <a:gd name="T89" fmla="*/ 2147483647 h 3030"/>
              <a:gd name="T90" fmla="*/ 2147483647 w 1158"/>
              <a:gd name="T91" fmla="*/ 2147483647 h 3030"/>
              <a:gd name="T92" fmla="*/ 2147483647 w 1158"/>
              <a:gd name="T93" fmla="*/ 2147483647 h 3030"/>
              <a:gd name="T94" fmla="*/ 2147483647 w 1158"/>
              <a:gd name="T95" fmla="*/ 2147483647 h 3030"/>
              <a:gd name="T96" fmla="*/ 2147483647 w 1158"/>
              <a:gd name="T97" fmla="*/ 2147483647 h 3030"/>
              <a:gd name="T98" fmla="*/ 2147483647 w 1158"/>
              <a:gd name="T99" fmla="*/ 2147483647 h 3030"/>
              <a:gd name="T100" fmla="*/ 2147483647 w 1158"/>
              <a:gd name="T101" fmla="*/ 2147483647 h 3030"/>
              <a:gd name="T102" fmla="*/ 2147483647 w 1158"/>
              <a:gd name="T103" fmla="*/ 2147483647 h 3030"/>
              <a:gd name="T104" fmla="*/ 2147483647 w 1158"/>
              <a:gd name="T105" fmla="*/ 2147483647 h 3030"/>
              <a:gd name="T106" fmla="*/ 2147483647 w 1158"/>
              <a:gd name="T107" fmla="*/ 2147483647 h 3030"/>
              <a:gd name="T108" fmla="*/ 2147483647 w 1158"/>
              <a:gd name="T109" fmla="*/ 2147483647 h 3030"/>
              <a:gd name="T110" fmla="*/ 2147483647 w 1158"/>
              <a:gd name="T111" fmla="*/ 2147483647 h 3030"/>
              <a:gd name="T112" fmla="*/ 2147483647 w 1158"/>
              <a:gd name="T113" fmla="*/ 2147483647 h 3030"/>
              <a:gd name="T114" fmla="*/ 2147483647 w 1158"/>
              <a:gd name="T115" fmla="*/ 2147483647 h 3030"/>
              <a:gd name="T116" fmla="*/ 2147483647 w 1158"/>
              <a:gd name="T117" fmla="*/ 2147483647 h 3030"/>
              <a:gd name="T118" fmla="*/ 2147483647 w 1158"/>
              <a:gd name="T119" fmla="*/ 2147483647 h 3030"/>
              <a:gd name="T120" fmla="*/ 2147483647 w 1158"/>
              <a:gd name="T121" fmla="*/ 2147483647 h 3030"/>
              <a:gd name="T122" fmla="*/ 2147483647 w 1158"/>
              <a:gd name="T123" fmla="*/ 2147483647 h 303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58"/>
              <a:gd name="T187" fmla="*/ 0 h 3030"/>
              <a:gd name="T188" fmla="*/ 1158 w 1158"/>
              <a:gd name="T189" fmla="*/ 3030 h 303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58" h="3030">
                <a:moveTo>
                  <a:pt x="1014" y="2910"/>
                </a:moveTo>
                <a:lnTo>
                  <a:pt x="984" y="2898"/>
                </a:lnTo>
                <a:lnTo>
                  <a:pt x="966" y="2880"/>
                </a:lnTo>
                <a:lnTo>
                  <a:pt x="948" y="2874"/>
                </a:lnTo>
                <a:lnTo>
                  <a:pt x="942" y="2862"/>
                </a:lnTo>
                <a:lnTo>
                  <a:pt x="936" y="2856"/>
                </a:lnTo>
                <a:lnTo>
                  <a:pt x="936" y="2850"/>
                </a:lnTo>
                <a:lnTo>
                  <a:pt x="906" y="2850"/>
                </a:lnTo>
                <a:lnTo>
                  <a:pt x="912" y="2832"/>
                </a:lnTo>
                <a:lnTo>
                  <a:pt x="870" y="2796"/>
                </a:lnTo>
                <a:lnTo>
                  <a:pt x="840" y="2802"/>
                </a:lnTo>
                <a:lnTo>
                  <a:pt x="828" y="2796"/>
                </a:lnTo>
                <a:lnTo>
                  <a:pt x="816" y="2808"/>
                </a:lnTo>
                <a:lnTo>
                  <a:pt x="792" y="2814"/>
                </a:lnTo>
                <a:lnTo>
                  <a:pt x="798" y="2832"/>
                </a:lnTo>
                <a:lnTo>
                  <a:pt x="780" y="2832"/>
                </a:lnTo>
                <a:lnTo>
                  <a:pt x="780" y="2862"/>
                </a:lnTo>
                <a:lnTo>
                  <a:pt x="786" y="2868"/>
                </a:lnTo>
                <a:lnTo>
                  <a:pt x="798" y="2868"/>
                </a:lnTo>
                <a:lnTo>
                  <a:pt x="810" y="2862"/>
                </a:lnTo>
                <a:lnTo>
                  <a:pt x="816" y="2856"/>
                </a:lnTo>
                <a:lnTo>
                  <a:pt x="828" y="2850"/>
                </a:lnTo>
                <a:lnTo>
                  <a:pt x="834" y="2844"/>
                </a:lnTo>
                <a:lnTo>
                  <a:pt x="858" y="2856"/>
                </a:lnTo>
                <a:lnTo>
                  <a:pt x="858" y="2874"/>
                </a:lnTo>
                <a:lnTo>
                  <a:pt x="846" y="2880"/>
                </a:lnTo>
                <a:lnTo>
                  <a:pt x="828" y="2898"/>
                </a:lnTo>
                <a:lnTo>
                  <a:pt x="822" y="2898"/>
                </a:lnTo>
                <a:lnTo>
                  <a:pt x="828" y="2904"/>
                </a:lnTo>
                <a:lnTo>
                  <a:pt x="882" y="2922"/>
                </a:lnTo>
                <a:lnTo>
                  <a:pt x="912" y="2928"/>
                </a:lnTo>
                <a:lnTo>
                  <a:pt x="924" y="2934"/>
                </a:lnTo>
                <a:lnTo>
                  <a:pt x="906" y="2958"/>
                </a:lnTo>
                <a:lnTo>
                  <a:pt x="906" y="2952"/>
                </a:lnTo>
                <a:lnTo>
                  <a:pt x="894" y="2940"/>
                </a:lnTo>
                <a:lnTo>
                  <a:pt x="876" y="2940"/>
                </a:lnTo>
                <a:lnTo>
                  <a:pt x="870" y="2946"/>
                </a:lnTo>
                <a:lnTo>
                  <a:pt x="870" y="2952"/>
                </a:lnTo>
                <a:lnTo>
                  <a:pt x="852" y="2928"/>
                </a:lnTo>
                <a:lnTo>
                  <a:pt x="834" y="2934"/>
                </a:lnTo>
                <a:lnTo>
                  <a:pt x="846" y="2946"/>
                </a:lnTo>
                <a:lnTo>
                  <a:pt x="816" y="2940"/>
                </a:lnTo>
                <a:lnTo>
                  <a:pt x="822" y="2946"/>
                </a:lnTo>
                <a:lnTo>
                  <a:pt x="828" y="2958"/>
                </a:lnTo>
                <a:lnTo>
                  <a:pt x="834" y="2964"/>
                </a:lnTo>
                <a:lnTo>
                  <a:pt x="894" y="2964"/>
                </a:lnTo>
                <a:lnTo>
                  <a:pt x="906" y="2970"/>
                </a:lnTo>
                <a:lnTo>
                  <a:pt x="1050" y="2970"/>
                </a:lnTo>
                <a:lnTo>
                  <a:pt x="1074" y="2982"/>
                </a:lnTo>
                <a:lnTo>
                  <a:pt x="1080" y="2988"/>
                </a:lnTo>
                <a:lnTo>
                  <a:pt x="1086" y="2988"/>
                </a:lnTo>
                <a:lnTo>
                  <a:pt x="1122" y="2970"/>
                </a:lnTo>
                <a:lnTo>
                  <a:pt x="1140" y="2976"/>
                </a:lnTo>
                <a:lnTo>
                  <a:pt x="1152" y="2976"/>
                </a:lnTo>
                <a:lnTo>
                  <a:pt x="1158" y="2952"/>
                </a:lnTo>
                <a:lnTo>
                  <a:pt x="1140" y="2952"/>
                </a:lnTo>
                <a:lnTo>
                  <a:pt x="1086" y="2940"/>
                </a:lnTo>
                <a:lnTo>
                  <a:pt x="1014" y="2910"/>
                </a:lnTo>
                <a:close/>
                <a:moveTo>
                  <a:pt x="990" y="2988"/>
                </a:moveTo>
                <a:lnTo>
                  <a:pt x="1014" y="3000"/>
                </a:lnTo>
                <a:lnTo>
                  <a:pt x="1068" y="3006"/>
                </a:lnTo>
                <a:lnTo>
                  <a:pt x="1038" y="2982"/>
                </a:lnTo>
                <a:lnTo>
                  <a:pt x="990" y="2988"/>
                </a:lnTo>
                <a:close/>
                <a:moveTo>
                  <a:pt x="960" y="2994"/>
                </a:moveTo>
                <a:lnTo>
                  <a:pt x="966" y="2982"/>
                </a:lnTo>
                <a:lnTo>
                  <a:pt x="888" y="2982"/>
                </a:lnTo>
                <a:lnTo>
                  <a:pt x="906" y="3012"/>
                </a:lnTo>
                <a:lnTo>
                  <a:pt x="936" y="3018"/>
                </a:lnTo>
                <a:lnTo>
                  <a:pt x="930" y="3006"/>
                </a:lnTo>
                <a:lnTo>
                  <a:pt x="936" y="3000"/>
                </a:lnTo>
                <a:lnTo>
                  <a:pt x="948" y="3012"/>
                </a:lnTo>
                <a:lnTo>
                  <a:pt x="996" y="3012"/>
                </a:lnTo>
                <a:lnTo>
                  <a:pt x="1008" y="3030"/>
                </a:lnTo>
                <a:lnTo>
                  <a:pt x="1026" y="3030"/>
                </a:lnTo>
                <a:lnTo>
                  <a:pt x="996" y="3000"/>
                </a:lnTo>
                <a:lnTo>
                  <a:pt x="960" y="2994"/>
                </a:lnTo>
                <a:close/>
                <a:moveTo>
                  <a:pt x="804" y="2946"/>
                </a:moveTo>
                <a:lnTo>
                  <a:pt x="744" y="2940"/>
                </a:lnTo>
                <a:lnTo>
                  <a:pt x="750" y="2958"/>
                </a:lnTo>
                <a:lnTo>
                  <a:pt x="792" y="2958"/>
                </a:lnTo>
                <a:lnTo>
                  <a:pt x="804" y="2976"/>
                </a:lnTo>
                <a:lnTo>
                  <a:pt x="864" y="3000"/>
                </a:lnTo>
                <a:lnTo>
                  <a:pt x="828" y="2970"/>
                </a:lnTo>
                <a:lnTo>
                  <a:pt x="804" y="2946"/>
                </a:lnTo>
                <a:close/>
                <a:moveTo>
                  <a:pt x="804" y="2880"/>
                </a:moveTo>
                <a:lnTo>
                  <a:pt x="786" y="2898"/>
                </a:lnTo>
                <a:lnTo>
                  <a:pt x="792" y="2928"/>
                </a:lnTo>
                <a:lnTo>
                  <a:pt x="816" y="2922"/>
                </a:lnTo>
                <a:lnTo>
                  <a:pt x="804" y="2880"/>
                </a:lnTo>
                <a:close/>
                <a:moveTo>
                  <a:pt x="774" y="2928"/>
                </a:moveTo>
                <a:lnTo>
                  <a:pt x="768" y="2910"/>
                </a:lnTo>
                <a:lnTo>
                  <a:pt x="720" y="2898"/>
                </a:lnTo>
                <a:lnTo>
                  <a:pt x="708" y="2916"/>
                </a:lnTo>
                <a:lnTo>
                  <a:pt x="708" y="2934"/>
                </a:lnTo>
                <a:lnTo>
                  <a:pt x="744" y="2922"/>
                </a:lnTo>
                <a:lnTo>
                  <a:pt x="774" y="2928"/>
                </a:lnTo>
                <a:close/>
                <a:moveTo>
                  <a:pt x="612" y="2772"/>
                </a:moveTo>
                <a:lnTo>
                  <a:pt x="606" y="2766"/>
                </a:lnTo>
                <a:lnTo>
                  <a:pt x="594" y="2766"/>
                </a:lnTo>
                <a:lnTo>
                  <a:pt x="588" y="2760"/>
                </a:lnTo>
                <a:lnTo>
                  <a:pt x="570" y="2760"/>
                </a:lnTo>
                <a:lnTo>
                  <a:pt x="570" y="2766"/>
                </a:lnTo>
                <a:lnTo>
                  <a:pt x="564" y="2778"/>
                </a:lnTo>
                <a:lnTo>
                  <a:pt x="564" y="2808"/>
                </a:lnTo>
                <a:lnTo>
                  <a:pt x="570" y="2808"/>
                </a:lnTo>
                <a:lnTo>
                  <a:pt x="576" y="2802"/>
                </a:lnTo>
                <a:lnTo>
                  <a:pt x="588" y="2802"/>
                </a:lnTo>
                <a:lnTo>
                  <a:pt x="594" y="2796"/>
                </a:lnTo>
                <a:lnTo>
                  <a:pt x="600" y="2820"/>
                </a:lnTo>
                <a:lnTo>
                  <a:pt x="630" y="2808"/>
                </a:lnTo>
                <a:lnTo>
                  <a:pt x="612" y="2790"/>
                </a:lnTo>
                <a:lnTo>
                  <a:pt x="618" y="2772"/>
                </a:lnTo>
                <a:lnTo>
                  <a:pt x="612" y="2772"/>
                </a:lnTo>
                <a:close/>
                <a:moveTo>
                  <a:pt x="552" y="2826"/>
                </a:moveTo>
                <a:lnTo>
                  <a:pt x="516" y="2808"/>
                </a:lnTo>
                <a:lnTo>
                  <a:pt x="546" y="2832"/>
                </a:lnTo>
                <a:lnTo>
                  <a:pt x="588" y="2844"/>
                </a:lnTo>
                <a:lnTo>
                  <a:pt x="606" y="2850"/>
                </a:lnTo>
                <a:lnTo>
                  <a:pt x="588" y="2832"/>
                </a:lnTo>
                <a:lnTo>
                  <a:pt x="552" y="2826"/>
                </a:lnTo>
                <a:close/>
                <a:moveTo>
                  <a:pt x="552" y="2748"/>
                </a:moveTo>
                <a:lnTo>
                  <a:pt x="534" y="2730"/>
                </a:lnTo>
                <a:lnTo>
                  <a:pt x="528" y="2766"/>
                </a:lnTo>
                <a:lnTo>
                  <a:pt x="504" y="2772"/>
                </a:lnTo>
                <a:lnTo>
                  <a:pt x="546" y="2784"/>
                </a:lnTo>
                <a:lnTo>
                  <a:pt x="552" y="2748"/>
                </a:lnTo>
                <a:close/>
                <a:moveTo>
                  <a:pt x="444" y="2736"/>
                </a:moveTo>
                <a:lnTo>
                  <a:pt x="480" y="2772"/>
                </a:lnTo>
                <a:lnTo>
                  <a:pt x="492" y="2760"/>
                </a:lnTo>
                <a:lnTo>
                  <a:pt x="462" y="2724"/>
                </a:lnTo>
                <a:lnTo>
                  <a:pt x="444" y="2736"/>
                </a:lnTo>
                <a:close/>
                <a:moveTo>
                  <a:pt x="516" y="2724"/>
                </a:moveTo>
                <a:lnTo>
                  <a:pt x="504" y="2718"/>
                </a:lnTo>
                <a:lnTo>
                  <a:pt x="492" y="2730"/>
                </a:lnTo>
                <a:lnTo>
                  <a:pt x="504" y="2748"/>
                </a:lnTo>
                <a:lnTo>
                  <a:pt x="516" y="2724"/>
                </a:lnTo>
                <a:close/>
                <a:moveTo>
                  <a:pt x="456" y="2706"/>
                </a:moveTo>
                <a:lnTo>
                  <a:pt x="462" y="2676"/>
                </a:lnTo>
                <a:lnTo>
                  <a:pt x="456" y="2640"/>
                </a:lnTo>
                <a:lnTo>
                  <a:pt x="438" y="2634"/>
                </a:lnTo>
                <a:lnTo>
                  <a:pt x="438" y="2652"/>
                </a:lnTo>
                <a:lnTo>
                  <a:pt x="408" y="2646"/>
                </a:lnTo>
                <a:lnTo>
                  <a:pt x="432" y="2682"/>
                </a:lnTo>
                <a:lnTo>
                  <a:pt x="426" y="2724"/>
                </a:lnTo>
                <a:lnTo>
                  <a:pt x="456" y="2706"/>
                </a:lnTo>
                <a:close/>
                <a:moveTo>
                  <a:pt x="366" y="2622"/>
                </a:moveTo>
                <a:lnTo>
                  <a:pt x="384" y="2628"/>
                </a:lnTo>
                <a:lnTo>
                  <a:pt x="390" y="2658"/>
                </a:lnTo>
                <a:lnTo>
                  <a:pt x="396" y="2628"/>
                </a:lnTo>
                <a:lnTo>
                  <a:pt x="402" y="2604"/>
                </a:lnTo>
                <a:lnTo>
                  <a:pt x="372" y="2598"/>
                </a:lnTo>
                <a:lnTo>
                  <a:pt x="366" y="2622"/>
                </a:lnTo>
                <a:close/>
                <a:moveTo>
                  <a:pt x="372" y="2586"/>
                </a:moveTo>
                <a:lnTo>
                  <a:pt x="378" y="2586"/>
                </a:lnTo>
                <a:lnTo>
                  <a:pt x="378" y="2580"/>
                </a:lnTo>
                <a:lnTo>
                  <a:pt x="384" y="2574"/>
                </a:lnTo>
                <a:lnTo>
                  <a:pt x="414" y="2598"/>
                </a:lnTo>
                <a:lnTo>
                  <a:pt x="414" y="2574"/>
                </a:lnTo>
                <a:lnTo>
                  <a:pt x="384" y="2544"/>
                </a:lnTo>
                <a:lnTo>
                  <a:pt x="378" y="2532"/>
                </a:lnTo>
                <a:lnTo>
                  <a:pt x="372" y="2526"/>
                </a:lnTo>
                <a:lnTo>
                  <a:pt x="360" y="2502"/>
                </a:lnTo>
                <a:lnTo>
                  <a:pt x="360" y="2490"/>
                </a:lnTo>
                <a:lnTo>
                  <a:pt x="342" y="2454"/>
                </a:lnTo>
                <a:lnTo>
                  <a:pt x="330" y="2448"/>
                </a:lnTo>
                <a:lnTo>
                  <a:pt x="324" y="2442"/>
                </a:lnTo>
                <a:lnTo>
                  <a:pt x="318" y="2442"/>
                </a:lnTo>
                <a:lnTo>
                  <a:pt x="312" y="2448"/>
                </a:lnTo>
                <a:lnTo>
                  <a:pt x="312" y="2454"/>
                </a:lnTo>
                <a:lnTo>
                  <a:pt x="294" y="2448"/>
                </a:lnTo>
                <a:lnTo>
                  <a:pt x="288" y="2454"/>
                </a:lnTo>
                <a:lnTo>
                  <a:pt x="288" y="2466"/>
                </a:lnTo>
                <a:lnTo>
                  <a:pt x="282" y="2472"/>
                </a:lnTo>
                <a:lnTo>
                  <a:pt x="282" y="2490"/>
                </a:lnTo>
                <a:lnTo>
                  <a:pt x="330" y="2490"/>
                </a:lnTo>
                <a:lnTo>
                  <a:pt x="312" y="2532"/>
                </a:lnTo>
                <a:lnTo>
                  <a:pt x="324" y="2532"/>
                </a:lnTo>
                <a:lnTo>
                  <a:pt x="348" y="2508"/>
                </a:lnTo>
                <a:lnTo>
                  <a:pt x="342" y="2532"/>
                </a:lnTo>
                <a:lnTo>
                  <a:pt x="342" y="2538"/>
                </a:lnTo>
                <a:lnTo>
                  <a:pt x="348" y="2544"/>
                </a:lnTo>
                <a:lnTo>
                  <a:pt x="366" y="2580"/>
                </a:lnTo>
                <a:lnTo>
                  <a:pt x="366" y="2586"/>
                </a:lnTo>
                <a:lnTo>
                  <a:pt x="372" y="2586"/>
                </a:lnTo>
                <a:close/>
                <a:moveTo>
                  <a:pt x="246" y="2082"/>
                </a:moveTo>
                <a:lnTo>
                  <a:pt x="246" y="2034"/>
                </a:lnTo>
                <a:lnTo>
                  <a:pt x="216" y="2004"/>
                </a:lnTo>
                <a:lnTo>
                  <a:pt x="234" y="1992"/>
                </a:lnTo>
                <a:lnTo>
                  <a:pt x="210" y="1968"/>
                </a:lnTo>
                <a:lnTo>
                  <a:pt x="174" y="1956"/>
                </a:lnTo>
                <a:lnTo>
                  <a:pt x="174" y="1986"/>
                </a:lnTo>
                <a:lnTo>
                  <a:pt x="180" y="1998"/>
                </a:lnTo>
                <a:lnTo>
                  <a:pt x="180" y="2004"/>
                </a:lnTo>
                <a:lnTo>
                  <a:pt x="192" y="2016"/>
                </a:lnTo>
                <a:lnTo>
                  <a:pt x="198" y="2028"/>
                </a:lnTo>
                <a:lnTo>
                  <a:pt x="204" y="2034"/>
                </a:lnTo>
                <a:lnTo>
                  <a:pt x="204" y="2046"/>
                </a:lnTo>
                <a:lnTo>
                  <a:pt x="198" y="2064"/>
                </a:lnTo>
                <a:lnTo>
                  <a:pt x="246" y="2082"/>
                </a:lnTo>
                <a:close/>
                <a:moveTo>
                  <a:pt x="246" y="2178"/>
                </a:moveTo>
                <a:lnTo>
                  <a:pt x="258" y="2190"/>
                </a:lnTo>
                <a:lnTo>
                  <a:pt x="282" y="2190"/>
                </a:lnTo>
                <a:lnTo>
                  <a:pt x="294" y="2172"/>
                </a:lnTo>
                <a:lnTo>
                  <a:pt x="264" y="2178"/>
                </a:lnTo>
                <a:lnTo>
                  <a:pt x="246" y="2178"/>
                </a:lnTo>
                <a:close/>
                <a:moveTo>
                  <a:pt x="282" y="2220"/>
                </a:moveTo>
                <a:lnTo>
                  <a:pt x="282" y="2238"/>
                </a:lnTo>
                <a:lnTo>
                  <a:pt x="306" y="2256"/>
                </a:lnTo>
                <a:lnTo>
                  <a:pt x="306" y="2232"/>
                </a:lnTo>
                <a:lnTo>
                  <a:pt x="294" y="2208"/>
                </a:lnTo>
                <a:lnTo>
                  <a:pt x="258" y="2208"/>
                </a:lnTo>
                <a:lnTo>
                  <a:pt x="282" y="2220"/>
                </a:lnTo>
                <a:close/>
                <a:moveTo>
                  <a:pt x="318" y="2190"/>
                </a:moveTo>
                <a:lnTo>
                  <a:pt x="324" y="2184"/>
                </a:lnTo>
                <a:lnTo>
                  <a:pt x="336" y="2178"/>
                </a:lnTo>
                <a:lnTo>
                  <a:pt x="348" y="2166"/>
                </a:lnTo>
                <a:lnTo>
                  <a:pt x="336" y="2154"/>
                </a:lnTo>
                <a:lnTo>
                  <a:pt x="324" y="2154"/>
                </a:lnTo>
                <a:lnTo>
                  <a:pt x="312" y="2160"/>
                </a:lnTo>
                <a:lnTo>
                  <a:pt x="306" y="2166"/>
                </a:lnTo>
                <a:lnTo>
                  <a:pt x="306" y="2184"/>
                </a:lnTo>
                <a:lnTo>
                  <a:pt x="312" y="2190"/>
                </a:lnTo>
                <a:lnTo>
                  <a:pt x="318" y="2190"/>
                </a:lnTo>
                <a:close/>
                <a:moveTo>
                  <a:pt x="252" y="2112"/>
                </a:moveTo>
                <a:lnTo>
                  <a:pt x="240" y="2118"/>
                </a:lnTo>
                <a:lnTo>
                  <a:pt x="240" y="2136"/>
                </a:lnTo>
                <a:lnTo>
                  <a:pt x="252" y="2136"/>
                </a:lnTo>
                <a:lnTo>
                  <a:pt x="264" y="2124"/>
                </a:lnTo>
                <a:lnTo>
                  <a:pt x="264" y="2106"/>
                </a:lnTo>
                <a:lnTo>
                  <a:pt x="258" y="2106"/>
                </a:lnTo>
                <a:lnTo>
                  <a:pt x="252" y="2112"/>
                </a:lnTo>
                <a:close/>
                <a:moveTo>
                  <a:pt x="234" y="2154"/>
                </a:moveTo>
                <a:lnTo>
                  <a:pt x="216" y="2154"/>
                </a:lnTo>
                <a:lnTo>
                  <a:pt x="228" y="2178"/>
                </a:lnTo>
                <a:lnTo>
                  <a:pt x="234" y="2154"/>
                </a:lnTo>
                <a:close/>
                <a:moveTo>
                  <a:pt x="714" y="2874"/>
                </a:moveTo>
                <a:lnTo>
                  <a:pt x="726" y="2874"/>
                </a:lnTo>
                <a:lnTo>
                  <a:pt x="726" y="2886"/>
                </a:lnTo>
                <a:lnTo>
                  <a:pt x="768" y="2886"/>
                </a:lnTo>
                <a:lnTo>
                  <a:pt x="774" y="2880"/>
                </a:lnTo>
                <a:lnTo>
                  <a:pt x="774" y="2874"/>
                </a:lnTo>
                <a:lnTo>
                  <a:pt x="744" y="2844"/>
                </a:lnTo>
                <a:lnTo>
                  <a:pt x="744" y="2808"/>
                </a:lnTo>
                <a:lnTo>
                  <a:pt x="786" y="2802"/>
                </a:lnTo>
                <a:lnTo>
                  <a:pt x="780" y="2790"/>
                </a:lnTo>
                <a:lnTo>
                  <a:pt x="804" y="2790"/>
                </a:lnTo>
                <a:lnTo>
                  <a:pt x="816" y="2772"/>
                </a:lnTo>
                <a:lnTo>
                  <a:pt x="792" y="2754"/>
                </a:lnTo>
                <a:lnTo>
                  <a:pt x="696" y="2754"/>
                </a:lnTo>
                <a:lnTo>
                  <a:pt x="684" y="2760"/>
                </a:lnTo>
                <a:lnTo>
                  <a:pt x="672" y="2760"/>
                </a:lnTo>
                <a:lnTo>
                  <a:pt x="654" y="2742"/>
                </a:lnTo>
                <a:lnTo>
                  <a:pt x="618" y="2724"/>
                </a:lnTo>
                <a:lnTo>
                  <a:pt x="606" y="2706"/>
                </a:lnTo>
                <a:lnTo>
                  <a:pt x="588" y="2682"/>
                </a:lnTo>
                <a:lnTo>
                  <a:pt x="588" y="2658"/>
                </a:lnTo>
                <a:lnTo>
                  <a:pt x="576" y="2646"/>
                </a:lnTo>
                <a:lnTo>
                  <a:pt x="564" y="2640"/>
                </a:lnTo>
                <a:lnTo>
                  <a:pt x="546" y="2640"/>
                </a:lnTo>
                <a:lnTo>
                  <a:pt x="534" y="2652"/>
                </a:lnTo>
                <a:lnTo>
                  <a:pt x="528" y="2652"/>
                </a:lnTo>
                <a:lnTo>
                  <a:pt x="516" y="2646"/>
                </a:lnTo>
                <a:lnTo>
                  <a:pt x="510" y="2640"/>
                </a:lnTo>
                <a:lnTo>
                  <a:pt x="510" y="2628"/>
                </a:lnTo>
                <a:lnTo>
                  <a:pt x="504" y="2622"/>
                </a:lnTo>
                <a:lnTo>
                  <a:pt x="504" y="2616"/>
                </a:lnTo>
                <a:lnTo>
                  <a:pt x="474" y="2610"/>
                </a:lnTo>
                <a:lnTo>
                  <a:pt x="474" y="2574"/>
                </a:lnTo>
                <a:lnTo>
                  <a:pt x="468" y="2568"/>
                </a:lnTo>
                <a:lnTo>
                  <a:pt x="462" y="2556"/>
                </a:lnTo>
                <a:lnTo>
                  <a:pt x="462" y="2544"/>
                </a:lnTo>
                <a:lnTo>
                  <a:pt x="474" y="2538"/>
                </a:lnTo>
                <a:lnTo>
                  <a:pt x="474" y="2514"/>
                </a:lnTo>
                <a:lnTo>
                  <a:pt x="480" y="2514"/>
                </a:lnTo>
                <a:lnTo>
                  <a:pt x="486" y="2508"/>
                </a:lnTo>
                <a:lnTo>
                  <a:pt x="492" y="2508"/>
                </a:lnTo>
                <a:lnTo>
                  <a:pt x="498" y="2502"/>
                </a:lnTo>
                <a:lnTo>
                  <a:pt x="498" y="2496"/>
                </a:lnTo>
                <a:lnTo>
                  <a:pt x="474" y="2472"/>
                </a:lnTo>
                <a:lnTo>
                  <a:pt x="480" y="2466"/>
                </a:lnTo>
                <a:lnTo>
                  <a:pt x="492" y="2460"/>
                </a:lnTo>
                <a:lnTo>
                  <a:pt x="498" y="2460"/>
                </a:lnTo>
                <a:lnTo>
                  <a:pt x="498" y="2454"/>
                </a:lnTo>
                <a:lnTo>
                  <a:pt x="474" y="2430"/>
                </a:lnTo>
                <a:lnTo>
                  <a:pt x="468" y="2430"/>
                </a:lnTo>
                <a:lnTo>
                  <a:pt x="474" y="2388"/>
                </a:lnTo>
                <a:lnTo>
                  <a:pt x="486" y="2382"/>
                </a:lnTo>
                <a:lnTo>
                  <a:pt x="474" y="2358"/>
                </a:lnTo>
                <a:lnTo>
                  <a:pt x="480" y="2322"/>
                </a:lnTo>
                <a:lnTo>
                  <a:pt x="456" y="2298"/>
                </a:lnTo>
                <a:lnTo>
                  <a:pt x="462" y="2274"/>
                </a:lnTo>
                <a:lnTo>
                  <a:pt x="438" y="2256"/>
                </a:lnTo>
                <a:lnTo>
                  <a:pt x="450" y="2244"/>
                </a:lnTo>
                <a:lnTo>
                  <a:pt x="456" y="2232"/>
                </a:lnTo>
                <a:lnTo>
                  <a:pt x="462" y="2226"/>
                </a:lnTo>
                <a:lnTo>
                  <a:pt x="438" y="2202"/>
                </a:lnTo>
                <a:lnTo>
                  <a:pt x="426" y="2202"/>
                </a:lnTo>
                <a:lnTo>
                  <a:pt x="420" y="2196"/>
                </a:lnTo>
                <a:lnTo>
                  <a:pt x="408" y="2190"/>
                </a:lnTo>
                <a:lnTo>
                  <a:pt x="402" y="2190"/>
                </a:lnTo>
                <a:lnTo>
                  <a:pt x="396" y="2184"/>
                </a:lnTo>
                <a:lnTo>
                  <a:pt x="414" y="2184"/>
                </a:lnTo>
                <a:lnTo>
                  <a:pt x="426" y="2178"/>
                </a:lnTo>
                <a:lnTo>
                  <a:pt x="438" y="2178"/>
                </a:lnTo>
                <a:lnTo>
                  <a:pt x="444" y="2172"/>
                </a:lnTo>
                <a:lnTo>
                  <a:pt x="444" y="2166"/>
                </a:lnTo>
                <a:lnTo>
                  <a:pt x="432" y="2160"/>
                </a:lnTo>
                <a:lnTo>
                  <a:pt x="402" y="2160"/>
                </a:lnTo>
                <a:lnTo>
                  <a:pt x="390" y="2148"/>
                </a:lnTo>
                <a:lnTo>
                  <a:pt x="390" y="2118"/>
                </a:lnTo>
                <a:lnTo>
                  <a:pt x="384" y="2106"/>
                </a:lnTo>
                <a:lnTo>
                  <a:pt x="384" y="2100"/>
                </a:lnTo>
                <a:lnTo>
                  <a:pt x="378" y="2094"/>
                </a:lnTo>
                <a:lnTo>
                  <a:pt x="366" y="2088"/>
                </a:lnTo>
                <a:lnTo>
                  <a:pt x="360" y="2088"/>
                </a:lnTo>
                <a:lnTo>
                  <a:pt x="366" y="2058"/>
                </a:lnTo>
                <a:lnTo>
                  <a:pt x="342" y="2046"/>
                </a:lnTo>
                <a:lnTo>
                  <a:pt x="336" y="2040"/>
                </a:lnTo>
                <a:lnTo>
                  <a:pt x="336" y="2028"/>
                </a:lnTo>
                <a:lnTo>
                  <a:pt x="330" y="2016"/>
                </a:lnTo>
                <a:lnTo>
                  <a:pt x="330" y="1998"/>
                </a:lnTo>
                <a:lnTo>
                  <a:pt x="324" y="1986"/>
                </a:lnTo>
                <a:lnTo>
                  <a:pt x="324" y="1974"/>
                </a:lnTo>
                <a:lnTo>
                  <a:pt x="330" y="1968"/>
                </a:lnTo>
                <a:lnTo>
                  <a:pt x="342" y="1962"/>
                </a:lnTo>
                <a:lnTo>
                  <a:pt x="348" y="1962"/>
                </a:lnTo>
                <a:lnTo>
                  <a:pt x="336" y="1950"/>
                </a:lnTo>
                <a:lnTo>
                  <a:pt x="324" y="1944"/>
                </a:lnTo>
                <a:lnTo>
                  <a:pt x="306" y="1926"/>
                </a:lnTo>
                <a:lnTo>
                  <a:pt x="300" y="1914"/>
                </a:lnTo>
                <a:lnTo>
                  <a:pt x="300" y="1890"/>
                </a:lnTo>
                <a:lnTo>
                  <a:pt x="294" y="1878"/>
                </a:lnTo>
                <a:lnTo>
                  <a:pt x="288" y="1872"/>
                </a:lnTo>
                <a:lnTo>
                  <a:pt x="288" y="1842"/>
                </a:lnTo>
                <a:lnTo>
                  <a:pt x="294" y="1836"/>
                </a:lnTo>
                <a:lnTo>
                  <a:pt x="294" y="1824"/>
                </a:lnTo>
                <a:lnTo>
                  <a:pt x="276" y="1812"/>
                </a:lnTo>
                <a:lnTo>
                  <a:pt x="276" y="1806"/>
                </a:lnTo>
                <a:lnTo>
                  <a:pt x="282" y="1794"/>
                </a:lnTo>
                <a:lnTo>
                  <a:pt x="282" y="1788"/>
                </a:lnTo>
                <a:lnTo>
                  <a:pt x="264" y="1770"/>
                </a:lnTo>
                <a:lnTo>
                  <a:pt x="282" y="1758"/>
                </a:lnTo>
                <a:lnTo>
                  <a:pt x="270" y="1716"/>
                </a:lnTo>
                <a:lnTo>
                  <a:pt x="276" y="1716"/>
                </a:lnTo>
                <a:lnTo>
                  <a:pt x="282" y="1710"/>
                </a:lnTo>
                <a:lnTo>
                  <a:pt x="294" y="1704"/>
                </a:lnTo>
                <a:lnTo>
                  <a:pt x="300" y="1692"/>
                </a:lnTo>
                <a:lnTo>
                  <a:pt x="300" y="1686"/>
                </a:lnTo>
                <a:lnTo>
                  <a:pt x="282" y="1668"/>
                </a:lnTo>
                <a:lnTo>
                  <a:pt x="276" y="1668"/>
                </a:lnTo>
                <a:lnTo>
                  <a:pt x="276" y="1650"/>
                </a:lnTo>
                <a:lnTo>
                  <a:pt x="246" y="1626"/>
                </a:lnTo>
                <a:lnTo>
                  <a:pt x="246" y="1578"/>
                </a:lnTo>
                <a:lnTo>
                  <a:pt x="240" y="1566"/>
                </a:lnTo>
                <a:lnTo>
                  <a:pt x="234" y="1548"/>
                </a:lnTo>
                <a:lnTo>
                  <a:pt x="234" y="1536"/>
                </a:lnTo>
                <a:lnTo>
                  <a:pt x="228" y="1530"/>
                </a:lnTo>
                <a:lnTo>
                  <a:pt x="228" y="1524"/>
                </a:lnTo>
                <a:lnTo>
                  <a:pt x="252" y="1518"/>
                </a:lnTo>
                <a:lnTo>
                  <a:pt x="258" y="1500"/>
                </a:lnTo>
                <a:lnTo>
                  <a:pt x="258" y="1494"/>
                </a:lnTo>
                <a:lnTo>
                  <a:pt x="264" y="1482"/>
                </a:lnTo>
                <a:lnTo>
                  <a:pt x="264" y="1470"/>
                </a:lnTo>
                <a:lnTo>
                  <a:pt x="258" y="1464"/>
                </a:lnTo>
                <a:lnTo>
                  <a:pt x="252" y="1452"/>
                </a:lnTo>
                <a:lnTo>
                  <a:pt x="246" y="1446"/>
                </a:lnTo>
                <a:lnTo>
                  <a:pt x="240" y="1434"/>
                </a:lnTo>
                <a:lnTo>
                  <a:pt x="234" y="1428"/>
                </a:lnTo>
                <a:lnTo>
                  <a:pt x="246" y="1428"/>
                </a:lnTo>
                <a:lnTo>
                  <a:pt x="246" y="1398"/>
                </a:lnTo>
                <a:lnTo>
                  <a:pt x="252" y="1380"/>
                </a:lnTo>
                <a:lnTo>
                  <a:pt x="252" y="1356"/>
                </a:lnTo>
                <a:lnTo>
                  <a:pt x="270" y="1338"/>
                </a:lnTo>
                <a:lnTo>
                  <a:pt x="270" y="1332"/>
                </a:lnTo>
                <a:lnTo>
                  <a:pt x="264" y="1320"/>
                </a:lnTo>
                <a:lnTo>
                  <a:pt x="258" y="1314"/>
                </a:lnTo>
                <a:lnTo>
                  <a:pt x="252" y="1302"/>
                </a:lnTo>
                <a:lnTo>
                  <a:pt x="246" y="1260"/>
                </a:lnTo>
                <a:lnTo>
                  <a:pt x="222" y="1260"/>
                </a:lnTo>
                <a:lnTo>
                  <a:pt x="210" y="1248"/>
                </a:lnTo>
                <a:lnTo>
                  <a:pt x="210" y="1236"/>
                </a:lnTo>
                <a:lnTo>
                  <a:pt x="216" y="1230"/>
                </a:lnTo>
                <a:lnTo>
                  <a:pt x="210" y="1218"/>
                </a:lnTo>
                <a:lnTo>
                  <a:pt x="198" y="1188"/>
                </a:lnTo>
                <a:lnTo>
                  <a:pt x="180" y="1170"/>
                </a:lnTo>
                <a:lnTo>
                  <a:pt x="180" y="1164"/>
                </a:lnTo>
                <a:lnTo>
                  <a:pt x="186" y="1158"/>
                </a:lnTo>
                <a:lnTo>
                  <a:pt x="186" y="1146"/>
                </a:lnTo>
                <a:lnTo>
                  <a:pt x="168" y="1128"/>
                </a:lnTo>
                <a:lnTo>
                  <a:pt x="156" y="1122"/>
                </a:lnTo>
                <a:lnTo>
                  <a:pt x="156" y="1116"/>
                </a:lnTo>
                <a:lnTo>
                  <a:pt x="150" y="1110"/>
                </a:lnTo>
                <a:lnTo>
                  <a:pt x="150" y="1086"/>
                </a:lnTo>
                <a:lnTo>
                  <a:pt x="156" y="1086"/>
                </a:lnTo>
                <a:lnTo>
                  <a:pt x="168" y="1080"/>
                </a:lnTo>
                <a:lnTo>
                  <a:pt x="162" y="1026"/>
                </a:lnTo>
                <a:lnTo>
                  <a:pt x="186" y="1026"/>
                </a:lnTo>
                <a:lnTo>
                  <a:pt x="186" y="1020"/>
                </a:lnTo>
                <a:lnTo>
                  <a:pt x="180" y="1008"/>
                </a:lnTo>
                <a:lnTo>
                  <a:pt x="168" y="972"/>
                </a:lnTo>
                <a:lnTo>
                  <a:pt x="156" y="948"/>
                </a:lnTo>
                <a:lnTo>
                  <a:pt x="156" y="936"/>
                </a:lnTo>
                <a:lnTo>
                  <a:pt x="168" y="924"/>
                </a:lnTo>
                <a:lnTo>
                  <a:pt x="168" y="858"/>
                </a:lnTo>
                <a:lnTo>
                  <a:pt x="174" y="852"/>
                </a:lnTo>
                <a:lnTo>
                  <a:pt x="180" y="840"/>
                </a:lnTo>
                <a:lnTo>
                  <a:pt x="192" y="828"/>
                </a:lnTo>
                <a:lnTo>
                  <a:pt x="192" y="816"/>
                </a:lnTo>
                <a:lnTo>
                  <a:pt x="198" y="804"/>
                </a:lnTo>
                <a:lnTo>
                  <a:pt x="198" y="792"/>
                </a:lnTo>
                <a:lnTo>
                  <a:pt x="204" y="774"/>
                </a:lnTo>
                <a:lnTo>
                  <a:pt x="204" y="762"/>
                </a:lnTo>
                <a:lnTo>
                  <a:pt x="222" y="762"/>
                </a:lnTo>
                <a:lnTo>
                  <a:pt x="228" y="756"/>
                </a:lnTo>
                <a:lnTo>
                  <a:pt x="240" y="750"/>
                </a:lnTo>
                <a:lnTo>
                  <a:pt x="240" y="738"/>
                </a:lnTo>
                <a:lnTo>
                  <a:pt x="234" y="726"/>
                </a:lnTo>
                <a:lnTo>
                  <a:pt x="210" y="714"/>
                </a:lnTo>
                <a:lnTo>
                  <a:pt x="204" y="708"/>
                </a:lnTo>
                <a:lnTo>
                  <a:pt x="198" y="708"/>
                </a:lnTo>
                <a:lnTo>
                  <a:pt x="204" y="708"/>
                </a:lnTo>
                <a:lnTo>
                  <a:pt x="216" y="696"/>
                </a:lnTo>
                <a:lnTo>
                  <a:pt x="222" y="684"/>
                </a:lnTo>
                <a:lnTo>
                  <a:pt x="228" y="678"/>
                </a:lnTo>
                <a:lnTo>
                  <a:pt x="222" y="666"/>
                </a:lnTo>
                <a:lnTo>
                  <a:pt x="210" y="654"/>
                </a:lnTo>
                <a:lnTo>
                  <a:pt x="198" y="648"/>
                </a:lnTo>
                <a:lnTo>
                  <a:pt x="192" y="642"/>
                </a:lnTo>
                <a:lnTo>
                  <a:pt x="192" y="624"/>
                </a:lnTo>
                <a:lnTo>
                  <a:pt x="216" y="600"/>
                </a:lnTo>
                <a:lnTo>
                  <a:pt x="216" y="594"/>
                </a:lnTo>
                <a:lnTo>
                  <a:pt x="204" y="594"/>
                </a:lnTo>
                <a:lnTo>
                  <a:pt x="192" y="588"/>
                </a:lnTo>
                <a:lnTo>
                  <a:pt x="186" y="582"/>
                </a:lnTo>
                <a:lnTo>
                  <a:pt x="186" y="576"/>
                </a:lnTo>
                <a:lnTo>
                  <a:pt x="192" y="570"/>
                </a:lnTo>
                <a:lnTo>
                  <a:pt x="198" y="558"/>
                </a:lnTo>
                <a:lnTo>
                  <a:pt x="210" y="552"/>
                </a:lnTo>
                <a:lnTo>
                  <a:pt x="222" y="540"/>
                </a:lnTo>
                <a:lnTo>
                  <a:pt x="240" y="534"/>
                </a:lnTo>
                <a:lnTo>
                  <a:pt x="252" y="528"/>
                </a:lnTo>
                <a:lnTo>
                  <a:pt x="258" y="522"/>
                </a:lnTo>
                <a:lnTo>
                  <a:pt x="264" y="522"/>
                </a:lnTo>
                <a:lnTo>
                  <a:pt x="276" y="438"/>
                </a:lnTo>
                <a:lnTo>
                  <a:pt x="264" y="420"/>
                </a:lnTo>
                <a:lnTo>
                  <a:pt x="222" y="420"/>
                </a:lnTo>
                <a:lnTo>
                  <a:pt x="216" y="408"/>
                </a:lnTo>
                <a:lnTo>
                  <a:pt x="216" y="384"/>
                </a:lnTo>
                <a:lnTo>
                  <a:pt x="192" y="360"/>
                </a:lnTo>
                <a:lnTo>
                  <a:pt x="192" y="294"/>
                </a:lnTo>
                <a:lnTo>
                  <a:pt x="186" y="288"/>
                </a:lnTo>
                <a:lnTo>
                  <a:pt x="174" y="282"/>
                </a:lnTo>
                <a:lnTo>
                  <a:pt x="168" y="276"/>
                </a:lnTo>
                <a:lnTo>
                  <a:pt x="156" y="270"/>
                </a:lnTo>
                <a:lnTo>
                  <a:pt x="150" y="264"/>
                </a:lnTo>
                <a:lnTo>
                  <a:pt x="144" y="264"/>
                </a:lnTo>
                <a:lnTo>
                  <a:pt x="144" y="240"/>
                </a:lnTo>
                <a:lnTo>
                  <a:pt x="138" y="234"/>
                </a:lnTo>
                <a:lnTo>
                  <a:pt x="132" y="222"/>
                </a:lnTo>
                <a:lnTo>
                  <a:pt x="132" y="210"/>
                </a:lnTo>
                <a:lnTo>
                  <a:pt x="138" y="204"/>
                </a:lnTo>
                <a:lnTo>
                  <a:pt x="144" y="192"/>
                </a:lnTo>
                <a:lnTo>
                  <a:pt x="150" y="186"/>
                </a:lnTo>
                <a:lnTo>
                  <a:pt x="132" y="168"/>
                </a:lnTo>
                <a:lnTo>
                  <a:pt x="144" y="156"/>
                </a:lnTo>
                <a:lnTo>
                  <a:pt x="150" y="144"/>
                </a:lnTo>
                <a:lnTo>
                  <a:pt x="150" y="138"/>
                </a:lnTo>
                <a:lnTo>
                  <a:pt x="144" y="126"/>
                </a:lnTo>
                <a:lnTo>
                  <a:pt x="120" y="114"/>
                </a:lnTo>
                <a:lnTo>
                  <a:pt x="114" y="114"/>
                </a:lnTo>
                <a:lnTo>
                  <a:pt x="102" y="108"/>
                </a:lnTo>
                <a:lnTo>
                  <a:pt x="90" y="30"/>
                </a:lnTo>
                <a:lnTo>
                  <a:pt x="66" y="30"/>
                </a:lnTo>
                <a:lnTo>
                  <a:pt x="48" y="0"/>
                </a:lnTo>
                <a:lnTo>
                  <a:pt x="36" y="6"/>
                </a:lnTo>
                <a:lnTo>
                  <a:pt x="42" y="18"/>
                </a:lnTo>
                <a:lnTo>
                  <a:pt x="42" y="36"/>
                </a:lnTo>
                <a:lnTo>
                  <a:pt x="36" y="42"/>
                </a:lnTo>
                <a:lnTo>
                  <a:pt x="0" y="66"/>
                </a:lnTo>
                <a:lnTo>
                  <a:pt x="0" y="108"/>
                </a:lnTo>
                <a:lnTo>
                  <a:pt x="24" y="156"/>
                </a:lnTo>
                <a:lnTo>
                  <a:pt x="30" y="174"/>
                </a:lnTo>
                <a:lnTo>
                  <a:pt x="36" y="228"/>
                </a:lnTo>
                <a:lnTo>
                  <a:pt x="36" y="282"/>
                </a:lnTo>
                <a:lnTo>
                  <a:pt x="48" y="318"/>
                </a:lnTo>
                <a:lnTo>
                  <a:pt x="48" y="360"/>
                </a:lnTo>
                <a:lnTo>
                  <a:pt x="54" y="384"/>
                </a:lnTo>
                <a:lnTo>
                  <a:pt x="54" y="432"/>
                </a:lnTo>
                <a:lnTo>
                  <a:pt x="30" y="444"/>
                </a:lnTo>
                <a:lnTo>
                  <a:pt x="36" y="474"/>
                </a:lnTo>
                <a:lnTo>
                  <a:pt x="54" y="486"/>
                </a:lnTo>
                <a:lnTo>
                  <a:pt x="48" y="582"/>
                </a:lnTo>
                <a:lnTo>
                  <a:pt x="72" y="624"/>
                </a:lnTo>
                <a:lnTo>
                  <a:pt x="54" y="642"/>
                </a:lnTo>
                <a:lnTo>
                  <a:pt x="60" y="702"/>
                </a:lnTo>
                <a:lnTo>
                  <a:pt x="66" y="708"/>
                </a:lnTo>
                <a:lnTo>
                  <a:pt x="78" y="732"/>
                </a:lnTo>
                <a:lnTo>
                  <a:pt x="78" y="744"/>
                </a:lnTo>
                <a:lnTo>
                  <a:pt x="72" y="756"/>
                </a:lnTo>
                <a:lnTo>
                  <a:pt x="66" y="762"/>
                </a:lnTo>
                <a:lnTo>
                  <a:pt x="60" y="762"/>
                </a:lnTo>
                <a:lnTo>
                  <a:pt x="60" y="792"/>
                </a:lnTo>
                <a:lnTo>
                  <a:pt x="72" y="810"/>
                </a:lnTo>
                <a:lnTo>
                  <a:pt x="60" y="822"/>
                </a:lnTo>
                <a:lnTo>
                  <a:pt x="48" y="846"/>
                </a:lnTo>
                <a:lnTo>
                  <a:pt x="48" y="852"/>
                </a:lnTo>
                <a:lnTo>
                  <a:pt x="60" y="852"/>
                </a:lnTo>
                <a:lnTo>
                  <a:pt x="60" y="864"/>
                </a:lnTo>
                <a:lnTo>
                  <a:pt x="66" y="870"/>
                </a:lnTo>
                <a:lnTo>
                  <a:pt x="66" y="888"/>
                </a:lnTo>
                <a:lnTo>
                  <a:pt x="54" y="900"/>
                </a:lnTo>
                <a:lnTo>
                  <a:pt x="54" y="906"/>
                </a:lnTo>
                <a:lnTo>
                  <a:pt x="48" y="912"/>
                </a:lnTo>
                <a:lnTo>
                  <a:pt x="48" y="936"/>
                </a:lnTo>
                <a:lnTo>
                  <a:pt x="54" y="948"/>
                </a:lnTo>
                <a:lnTo>
                  <a:pt x="60" y="954"/>
                </a:lnTo>
                <a:lnTo>
                  <a:pt x="66" y="954"/>
                </a:lnTo>
                <a:lnTo>
                  <a:pt x="78" y="966"/>
                </a:lnTo>
                <a:lnTo>
                  <a:pt x="78" y="1020"/>
                </a:lnTo>
                <a:lnTo>
                  <a:pt x="60" y="1020"/>
                </a:lnTo>
                <a:lnTo>
                  <a:pt x="60" y="1044"/>
                </a:lnTo>
                <a:lnTo>
                  <a:pt x="66" y="1056"/>
                </a:lnTo>
                <a:lnTo>
                  <a:pt x="90" y="1128"/>
                </a:lnTo>
                <a:lnTo>
                  <a:pt x="96" y="1140"/>
                </a:lnTo>
                <a:lnTo>
                  <a:pt x="102" y="1146"/>
                </a:lnTo>
                <a:lnTo>
                  <a:pt x="102" y="1164"/>
                </a:lnTo>
                <a:lnTo>
                  <a:pt x="108" y="1170"/>
                </a:lnTo>
                <a:lnTo>
                  <a:pt x="114" y="1182"/>
                </a:lnTo>
                <a:lnTo>
                  <a:pt x="120" y="1188"/>
                </a:lnTo>
                <a:lnTo>
                  <a:pt x="120" y="1236"/>
                </a:lnTo>
                <a:lnTo>
                  <a:pt x="114" y="1266"/>
                </a:lnTo>
                <a:lnTo>
                  <a:pt x="138" y="1290"/>
                </a:lnTo>
                <a:lnTo>
                  <a:pt x="138" y="1296"/>
                </a:lnTo>
                <a:lnTo>
                  <a:pt x="132" y="1302"/>
                </a:lnTo>
                <a:lnTo>
                  <a:pt x="126" y="1314"/>
                </a:lnTo>
                <a:lnTo>
                  <a:pt x="126" y="1326"/>
                </a:lnTo>
                <a:lnTo>
                  <a:pt x="120" y="1338"/>
                </a:lnTo>
                <a:lnTo>
                  <a:pt x="120" y="1416"/>
                </a:lnTo>
                <a:lnTo>
                  <a:pt x="102" y="1452"/>
                </a:lnTo>
                <a:lnTo>
                  <a:pt x="114" y="1464"/>
                </a:lnTo>
                <a:lnTo>
                  <a:pt x="114" y="1470"/>
                </a:lnTo>
                <a:lnTo>
                  <a:pt x="108" y="1476"/>
                </a:lnTo>
                <a:lnTo>
                  <a:pt x="108" y="1536"/>
                </a:lnTo>
                <a:lnTo>
                  <a:pt x="102" y="1554"/>
                </a:lnTo>
                <a:lnTo>
                  <a:pt x="102" y="1578"/>
                </a:lnTo>
                <a:lnTo>
                  <a:pt x="84" y="1584"/>
                </a:lnTo>
                <a:lnTo>
                  <a:pt x="84" y="1608"/>
                </a:lnTo>
                <a:lnTo>
                  <a:pt x="108" y="1650"/>
                </a:lnTo>
                <a:lnTo>
                  <a:pt x="108" y="1692"/>
                </a:lnTo>
                <a:lnTo>
                  <a:pt x="114" y="1704"/>
                </a:lnTo>
                <a:lnTo>
                  <a:pt x="144" y="1734"/>
                </a:lnTo>
                <a:lnTo>
                  <a:pt x="156" y="1758"/>
                </a:lnTo>
                <a:lnTo>
                  <a:pt x="156" y="1800"/>
                </a:lnTo>
                <a:lnTo>
                  <a:pt x="150" y="1812"/>
                </a:lnTo>
                <a:lnTo>
                  <a:pt x="150" y="1824"/>
                </a:lnTo>
                <a:lnTo>
                  <a:pt x="162" y="1836"/>
                </a:lnTo>
                <a:lnTo>
                  <a:pt x="162" y="1896"/>
                </a:lnTo>
                <a:lnTo>
                  <a:pt x="168" y="1908"/>
                </a:lnTo>
                <a:lnTo>
                  <a:pt x="174" y="1914"/>
                </a:lnTo>
                <a:lnTo>
                  <a:pt x="186" y="1920"/>
                </a:lnTo>
                <a:lnTo>
                  <a:pt x="192" y="1926"/>
                </a:lnTo>
                <a:lnTo>
                  <a:pt x="198" y="1926"/>
                </a:lnTo>
                <a:lnTo>
                  <a:pt x="192" y="1944"/>
                </a:lnTo>
                <a:lnTo>
                  <a:pt x="234" y="1944"/>
                </a:lnTo>
                <a:lnTo>
                  <a:pt x="234" y="1914"/>
                </a:lnTo>
                <a:lnTo>
                  <a:pt x="246" y="1926"/>
                </a:lnTo>
                <a:lnTo>
                  <a:pt x="258" y="1932"/>
                </a:lnTo>
                <a:lnTo>
                  <a:pt x="270" y="1932"/>
                </a:lnTo>
                <a:lnTo>
                  <a:pt x="276" y="1926"/>
                </a:lnTo>
                <a:lnTo>
                  <a:pt x="276" y="1914"/>
                </a:lnTo>
                <a:lnTo>
                  <a:pt x="288" y="1932"/>
                </a:lnTo>
                <a:lnTo>
                  <a:pt x="282" y="1938"/>
                </a:lnTo>
                <a:lnTo>
                  <a:pt x="270" y="1944"/>
                </a:lnTo>
                <a:lnTo>
                  <a:pt x="264" y="1956"/>
                </a:lnTo>
                <a:lnTo>
                  <a:pt x="258" y="1962"/>
                </a:lnTo>
                <a:lnTo>
                  <a:pt x="258" y="1968"/>
                </a:lnTo>
                <a:lnTo>
                  <a:pt x="288" y="1968"/>
                </a:lnTo>
                <a:lnTo>
                  <a:pt x="294" y="1974"/>
                </a:lnTo>
                <a:lnTo>
                  <a:pt x="294" y="1992"/>
                </a:lnTo>
                <a:lnTo>
                  <a:pt x="270" y="1986"/>
                </a:lnTo>
                <a:lnTo>
                  <a:pt x="288" y="2010"/>
                </a:lnTo>
                <a:lnTo>
                  <a:pt x="276" y="2022"/>
                </a:lnTo>
                <a:lnTo>
                  <a:pt x="294" y="2046"/>
                </a:lnTo>
                <a:lnTo>
                  <a:pt x="276" y="2064"/>
                </a:lnTo>
                <a:lnTo>
                  <a:pt x="270" y="2076"/>
                </a:lnTo>
                <a:lnTo>
                  <a:pt x="270" y="2082"/>
                </a:lnTo>
                <a:lnTo>
                  <a:pt x="276" y="2088"/>
                </a:lnTo>
                <a:lnTo>
                  <a:pt x="282" y="2088"/>
                </a:lnTo>
                <a:lnTo>
                  <a:pt x="306" y="2100"/>
                </a:lnTo>
                <a:lnTo>
                  <a:pt x="318" y="2100"/>
                </a:lnTo>
                <a:lnTo>
                  <a:pt x="300" y="2118"/>
                </a:lnTo>
                <a:lnTo>
                  <a:pt x="300" y="2130"/>
                </a:lnTo>
                <a:lnTo>
                  <a:pt x="312" y="2136"/>
                </a:lnTo>
                <a:lnTo>
                  <a:pt x="318" y="2142"/>
                </a:lnTo>
                <a:lnTo>
                  <a:pt x="330" y="2148"/>
                </a:lnTo>
                <a:lnTo>
                  <a:pt x="354" y="2148"/>
                </a:lnTo>
                <a:lnTo>
                  <a:pt x="360" y="2184"/>
                </a:lnTo>
                <a:lnTo>
                  <a:pt x="354" y="2184"/>
                </a:lnTo>
                <a:lnTo>
                  <a:pt x="324" y="2214"/>
                </a:lnTo>
                <a:lnTo>
                  <a:pt x="324" y="2220"/>
                </a:lnTo>
                <a:lnTo>
                  <a:pt x="330" y="2226"/>
                </a:lnTo>
                <a:lnTo>
                  <a:pt x="354" y="2226"/>
                </a:lnTo>
                <a:lnTo>
                  <a:pt x="366" y="2232"/>
                </a:lnTo>
                <a:lnTo>
                  <a:pt x="378" y="2244"/>
                </a:lnTo>
                <a:lnTo>
                  <a:pt x="348" y="2244"/>
                </a:lnTo>
                <a:lnTo>
                  <a:pt x="342" y="2238"/>
                </a:lnTo>
                <a:lnTo>
                  <a:pt x="330" y="2238"/>
                </a:lnTo>
                <a:lnTo>
                  <a:pt x="324" y="2244"/>
                </a:lnTo>
                <a:lnTo>
                  <a:pt x="324" y="2250"/>
                </a:lnTo>
                <a:lnTo>
                  <a:pt x="354" y="2256"/>
                </a:lnTo>
                <a:lnTo>
                  <a:pt x="330" y="2268"/>
                </a:lnTo>
                <a:lnTo>
                  <a:pt x="336" y="2292"/>
                </a:lnTo>
                <a:lnTo>
                  <a:pt x="348" y="2292"/>
                </a:lnTo>
                <a:lnTo>
                  <a:pt x="348" y="2316"/>
                </a:lnTo>
                <a:lnTo>
                  <a:pt x="336" y="2328"/>
                </a:lnTo>
                <a:lnTo>
                  <a:pt x="336" y="2322"/>
                </a:lnTo>
                <a:lnTo>
                  <a:pt x="330" y="2316"/>
                </a:lnTo>
                <a:lnTo>
                  <a:pt x="324" y="2304"/>
                </a:lnTo>
                <a:lnTo>
                  <a:pt x="324" y="2298"/>
                </a:lnTo>
                <a:lnTo>
                  <a:pt x="288" y="2298"/>
                </a:lnTo>
                <a:lnTo>
                  <a:pt x="306" y="2292"/>
                </a:lnTo>
                <a:lnTo>
                  <a:pt x="282" y="2268"/>
                </a:lnTo>
                <a:lnTo>
                  <a:pt x="276" y="2268"/>
                </a:lnTo>
                <a:lnTo>
                  <a:pt x="276" y="2280"/>
                </a:lnTo>
                <a:lnTo>
                  <a:pt x="270" y="2268"/>
                </a:lnTo>
                <a:lnTo>
                  <a:pt x="228" y="2280"/>
                </a:lnTo>
                <a:lnTo>
                  <a:pt x="264" y="2286"/>
                </a:lnTo>
                <a:lnTo>
                  <a:pt x="258" y="2292"/>
                </a:lnTo>
                <a:lnTo>
                  <a:pt x="252" y="2304"/>
                </a:lnTo>
                <a:lnTo>
                  <a:pt x="246" y="2310"/>
                </a:lnTo>
                <a:lnTo>
                  <a:pt x="234" y="2316"/>
                </a:lnTo>
                <a:lnTo>
                  <a:pt x="228" y="2328"/>
                </a:lnTo>
                <a:lnTo>
                  <a:pt x="222" y="2334"/>
                </a:lnTo>
                <a:lnTo>
                  <a:pt x="222" y="2340"/>
                </a:lnTo>
                <a:lnTo>
                  <a:pt x="228" y="2346"/>
                </a:lnTo>
                <a:lnTo>
                  <a:pt x="240" y="2352"/>
                </a:lnTo>
                <a:lnTo>
                  <a:pt x="252" y="2352"/>
                </a:lnTo>
                <a:lnTo>
                  <a:pt x="252" y="2346"/>
                </a:lnTo>
                <a:lnTo>
                  <a:pt x="240" y="2334"/>
                </a:lnTo>
                <a:lnTo>
                  <a:pt x="264" y="2328"/>
                </a:lnTo>
                <a:lnTo>
                  <a:pt x="282" y="2346"/>
                </a:lnTo>
                <a:lnTo>
                  <a:pt x="324" y="2346"/>
                </a:lnTo>
                <a:lnTo>
                  <a:pt x="336" y="2352"/>
                </a:lnTo>
                <a:lnTo>
                  <a:pt x="342" y="2364"/>
                </a:lnTo>
                <a:lnTo>
                  <a:pt x="354" y="2370"/>
                </a:lnTo>
                <a:lnTo>
                  <a:pt x="354" y="2376"/>
                </a:lnTo>
                <a:lnTo>
                  <a:pt x="336" y="2394"/>
                </a:lnTo>
                <a:lnTo>
                  <a:pt x="342" y="2406"/>
                </a:lnTo>
                <a:lnTo>
                  <a:pt x="360" y="2406"/>
                </a:lnTo>
                <a:lnTo>
                  <a:pt x="360" y="2418"/>
                </a:lnTo>
                <a:lnTo>
                  <a:pt x="378" y="2424"/>
                </a:lnTo>
                <a:lnTo>
                  <a:pt x="384" y="2406"/>
                </a:lnTo>
                <a:lnTo>
                  <a:pt x="402" y="2424"/>
                </a:lnTo>
                <a:lnTo>
                  <a:pt x="408" y="2424"/>
                </a:lnTo>
                <a:lnTo>
                  <a:pt x="420" y="2430"/>
                </a:lnTo>
                <a:lnTo>
                  <a:pt x="426" y="2436"/>
                </a:lnTo>
                <a:lnTo>
                  <a:pt x="426" y="2448"/>
                </a:lnTo>
                <a:lnTo>
                  <a:pt x="414" y="2460"/>
                </a:lnTo>
                <a:lnTo>
                  <a:pt x="408" y="2454"/>
                </a:lnTo>
                <a:lnTo>
                  <a:pt x="396" y="2454"/>
                </a:lnTo>
                <a:lnTo>
                  <a:pt x="384" y="2448"/>
                </a:lnTo>
                <a:lnTo>
                  <a:pt x="378" y="2442"/>
                </a:lnTo>
                <a:lnTo>
                  <a:pt x="366" y="2442"/>
                </a:lnTo>
                <a:lnTo>
                  <a:pt x="366" y="2454"/>
                </a:lnTo>
                <a:lnTo>
                  <a:pt x="372" y="2460"/>
                </a:lnTo>
                <a:lnTo>
                  <a:pt x="378" y="2460"/>
                </a:lnTo>
                <a:lnTo>
                  <a:pt x="390" y="2472"/>
                </a:lnTo>
                <a:lnTo>
                  <a:pt x="402" y="2496"/>
                </a:lnTo>
                <a:lnTo>
                  <a:pt x="402" y="2508"/>
                </a:lnTo>
                <a:lnTo>
                  <a:pt x="384" y="2508"/>
                </a:lnTo>
                <a:lnTo>
                  <a:pt x="396" y="2526"/>
                </a:lnTo>
                <a:lnTo>
                  <a:pt x="414" y="2562"/>
                </a:lnTo>
                <a:lnTo>
                  <a:pt x="426" y="2520"/>
                </a:lnTo>
                <a:lnTo>
                  <a:pt x="426" y="2550"/>
                </a:lnTo>
                <a:lnTo>
                  <a:pt x="444" y="2574"/>
                </a:lnTo>
                <a:lnTo>
                  <a:pt x="420" y="2574"/>
                </a:lnTo>
                <a:lnTo>
                  <a:pt x="426" y="2592"/>
                </a:lnTo>
                <a:lnTo>
                  <a:pt x="450" y="2592"/>
                </a:lnTo>
                <a:lnTo>
                  <a:pt x="432" y="2604"/>
                </a:lnTo>
                <a:lnTo>
                  <a:pt x="462" y="2616"/>
                </a:lnTo>
                <a:lnTo>
                  <a:pt x="444" y="2628"/>
                </a:lnTo>
                <a:lnTo>
                  <a:pt x="474" y="2640"/>
                </a:lnTo>
                <a:lnTo>
                  <a:pt x="462" y="2652"/>
                </a:lnTo>
                <a:lnTo>
                  <a:pt x="480" y="2658"/>
                </a:lnTo>
                <a:lnTo>
                  <a:pt x="480" y="2652"/>
                </a:lnTo>
                <a:lnTo>
                  <a:pt x="486" y="2640"/>
                </a:lnTo>
                <a:lnTo>
                  <a:pt x="486" y="2634"/>
                </a:lnTo>
                <a:lnTo>
                  <a:pt x="492" y="2634"/>
                </a:lnTo>
                <a:lnTo>
                  <a:pt x="498" y="2640"/>
                </a:lnTo>
                <a:lnTo>
                  <a:pt x="504" y="2652"/>
                </a:lnTo>
                <a:lnTo>
                  <a:pt x="498" y="2658"/>
                </a:lnTo>
                <a:lnTo>
                  <a:pt x="498" y="2664"/>
                </a:lnTo>
                <a:lnTo>
                  <a:pt x="492" y="2664"/>
                </a:lnTo>
                <a:lnTo>
                  <a:pt x="480" y="2676"/>
                </a:lnTo>
                <a:lnTo>
                  <a:pt x="480" y="2682"/>
                </a:lnTo>
                <a:lnTo>
                  <a:pt x="486" y="2688"/>
                </a:lnTo>
                <a:lnTo>
                  <a:pt x="516" y="2688"/>
                </a:lnTo>
                <a:lnTo>
                  <a:pt x="516" y="2700"/>
                </a:lnTo>
                <a:lnTo>
                  <a:pt x="540" y="2724"/>
                </a:lnTo>
                <a:lnTo>
                  <a:pt x="552" y="2730"/>
                </a:lnTo>
                <a:lnTo>
                  <a:pt x="558" y="2736"/>
                </a:lnTo>
                <a:lnTo>
                  <a:pt x="558" y="2700"/>
                </a:lnTo>
                <a:lnTo>
                  <a:pt x="564" y="2700"/>
                </a:lnTo>
                <a:lnTo>
                  <a:pt x="570" y="2706"/>
                </a:lnTo>
                <a:lnTo>
                  <a:pt x="582" y="2712"/>
                </a:lnTo>
                <a:lnTo>
                  <a:pt x="600" y="2718"/>
                </a:lnTo>
                <a:lnTo>
                  <a:pt x="624" y="2742"/>
                </a:lnTo>
                <a:lnTo>
                  <a:pt x="618" y="2748"/>
                </a:lnTo>
                <a:lnTo>
                  <a:pt x="618" y="2754"/>
                </a:lnTo>
                <a:lnTo>
                  <a:pt x="612" y="2760"/>
                </a:lnTo>
                <a:lnTo>
                  <a:pt x="630" y="2766"/>
                </a:lnTo>
                <a:lnTo>
                  <a:pt x="630" y="2790"/>
                </a:lnTo>
                <a:lnTo>
                  <a:pt x="684" y="2790"/>
                </a:lnTo>
                <a:lnTo>
                  <a:pt x="696" y="2802"/>
                </a:lnTo>
                <a:lnTo>
                  <a:pt x="666" y="2802"/>
                </a:lnTo>
                <a:lnTo>
                  <a:pt x="654" y="2814"/>
                </a:lnTo>
                <a:lnTo>
                  <a:pt x="630" y="2814"/>
                </a:lnTo>
                <a:lnTo>
                  <a:pt x="618" y="2832"/>
                </a:lnTo>
                <a:lnTo>
                  <a:pt x="648" y="2832"/>
                </a:lnTo>
                <a:lnTo>
                  <a:pt x="636" y="2850"/>
                </a:lnTo>
                <a:lnTo>
                  <a:pt x="666" y="2844"/>
                </a:lnTo>
                <a:lnTo>
                  <a:pt x="666" y="2826"/>
                </a:lnTo>
                <a:lnTo>
                  <a:pt x="690" y="2838"/>
                </a:lnTo>
                <a:lnTo>
                  <a:pt x="696" y="2826"/>
                </a:lnTo>
                <a:lnTo>
                  <a:pt x="702" y="2820"/>
                </a:lnTo>
                <a:lnTo>
                  <a:pt x="714" y="2814"/>
                </a:lnTo>
                <a:lnTo>
                  <a:pt x="720" y="2808"/>
                </a:lnTo>
                <a:lnTo>
                  <a:pt x="732" y="2808"/>
                </a:lnTo>
                <a:lnTo>
                  <a:pt x="732" y="2820"/>
                </a:lnTo>
                <a:lnTo>
                  <a:pt x="726" y="2832"/>
                </a:lnTo>
                <a:lnTo>
                  <a:pt x="702" y="2856"/>
                </a:lnTo>
                <a:lnTo>
                  <a:pt x="696" y="2850"/>
                </a:lnTo>
                <a:lnTo>
                  <a:pt x="678" y="2850"/>
                </a:lnTo>
                <a:lnTo>
                  <a:pt x="678" y="2868"/>
                </a:lnTo>
                <a:lnTo>
                  <a:pt x="642" y="2868"/>
                </a:lnTo>
                <a:lnTo>
                  <a:pt x="630" y="2880"/>
                </a:lnTo>
                <a:lnTo>
                  <a:pt x="642" y="2886"/>
                </a:lnTo>
                <a:lnTo>
                  <a:pt x="648" y="2916"/>
                </a:lnTo>
                <a:lnTo>
                  <a:pt x="678" y="2898"/>
                </a:lnTo>
                <a:lnTo>
                  <a:pt x="684" y="2910"/>
                </a:lnTo>
                <a:lnTo>
                  <a:pt x="684" y="2916"/>
                </a:lnTo>
                <a:lnTo>
                  <a:pt x="690" y="2916"/>
                </a:lnTo>
                <a:lnTo>
                  <a:pt x="696" y="2910"/>
                </a:lnTo>
                <a:lnTo>
                  <a:pt x="702" y="2898"/>
                </a:lnTo>
                <a:lnTo>
                  <a:pt x="702" y="2892"/>
                </a:lnTo>
                <a:lnTo>
                  <a:pt x="708" y="2880"/>
                </a:lnTo>
                <a:lnTo>
                  <a:pt x="714" y="287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1" name="Chad"/>
          <p:cNvSpPr>
            <a:spLocks/>
          </p:cNvSpPr>
          <p:nvPr/>
        </p:nvSpPr>
        <p:spPr bwMode="gray">
          <a:xfrm>
            <a:off x="4399821" y="3497930"/>
            <a:ext cx="298450" cy="519113"/>
          </a:xfrm>
          <a:custGeom>
            <a:avLst/>
            <a:gdLst>
              <a:gd name="T0" fmla="*/ 2147483647 w 744"/>
              <a:gd name="T1" fmla="*/ 2147483647 h 1290"/>
              <a:gd name="T2" fmla="*/ 2147483647 w 744"/>
              <a:gd name="T3" fmla="*/ 0 h 1290"/>
              <a:gd name="T4" fmla="*/ 2147483647 w 744"/>
              <a:gd name="T5" fmla="*/ 2147483647 h 1290"/>
              <a:gd name="T6" fmla="*/ 2147483647 w 744"/>
              <a:gd name="T7" fmla="*/ 2147483647 h 1290"/>
              <a:gd name="T8" fmla="*/ 2147483647 w 744"/>
              <a:gd name="T9" fmla="*/ 2147483647 h 1290"/>
              <a:gd name="T10" fmla="*/ 2147483647 w 744"/>
              <a:gd name="T11" fmla="*/ 2147483647 h 1290"/>
              <a:gd name="T12" fmla="*/ 2147483647 w 744"/>
              <a:gd name="T13" fmla="*/ 2147483647 h 1290"/>
              <a:gd name="T14" fmla="*/ 2147483647 w 744"/>
              <a:gd name="T15" fmla="*/ 2147483647 h 1290"/>
              <a:gd name="T16" fmla="*/ 2147483647 w 744"/>
              <a:gd name="T17" fmla="*/ 2147483647 h 1290"/>
              <a:gd name="T18" fmla="*/ 0 w 744"/>
              <a:gd name="T19" fmla="*/ 2147483647 h 1290"/>
              <a:gd name="T20" fmla="*/ 2147483647 w 744"/>
              <a:gd name="T21" fmla="*/ 2147483647 h 1290"/>
              <a:gd name="T22" fmla="*/ 2147483647 w 744"/>
              <a:gd name="T23" fmla="*/ 2147483647 h 1290"/>
              <a:gd name="T24" fmla="*/ 2147483647 w 744"/>
              <a:gd name="T25" fmla="*/ 2147483647 h 1290"/>
              <a:gd name="T26" fmla="*/ 2147483647 w 744"/>
              <a:gd name="T27" fmla="*/ 2147483647 h 1290"/>
              <a:gd name="T28" fmla="*/ 2147483647 w 744"/>
              <a:gd name="T29" fmla="*/ 2147483647 h 1290"/>
              <a:gd name="T30" fmla="*/ 2147483647 w 744"/>
              <a:gd name="T31" fmla="*/ 2147483647 h 1290"/>
              <a:gd name="T32" fmla="*/ 2147483647 w 744"/>
              <a:gd name="T33" fmla="*/ 2147483647 h 1290"/>
              <a:gd name="T34" fmla="*/ 2147483647 w 744"/>
              <a:gd name="T35" fmla="*/ 2147483647 h 1290"/>
              <a:gd name="T36" fmla="*/ 2147483647 w 744"/>
              <a:gd name="T37" fmla="*/ 2147483647 h 1290"/>
              <a:gd name="T38" fmla="*/ 2147483647 w 744"/>
              <a:gd name="T39" fmla="*/ 2147483647 h 1290"/>
              <a:gd name="T40" fmla="*/ 2147483647 w 744"/>
              <a:gd name="T41" fmla="*/ 2147483647 h 1290"/>
              <a:gd name="T42" fmla="*/ 2147483647 w 744"/>
              <a:gd name="T43" fmla="*/ 2147483647 h 1290"/>
              <a:gd name="T44" fmla="*/ 2147483647 w 744"/>
              <a:gd name="T45" fmla="*/ 2147483647 h 1290"/>
              <a:gd name="T46" fmla="*/ 2147483647 w 744"/>
              <a:gd name="T47" fmla="*/ 2147483647 h 1290"/>
              <a:gd name="T48" fmla="*/ 2147483647 w 744"/>
              <a:gd name="T49" fmla="*/ 2147483647 h 1290"/>
              <a:gd name="T50" fmla="*/ 2147483647 w 744"/>
              <a:gd name="T51" fmla="*/ 2147483647 h 1290"/>
              <a:gd name="T52" fmla="*/ 2147483647 w 744"/>
              <a:gd name="T53" fmla="*/ 2147483647 h 1290"/>
              <a:gd name="T54" fmla="*/ 2147483647 w 744"/>
              <a:gd name="T55" fmla="*/ 2147483647 h 1290"/>
              <a:gd name="T56" fmla="*/ 2147483647 w 744"/>
              <a:gd name="T57" fmla="*/ 2147483647 h 1290"/>
              <a:gd name="T58" fmla="*/ 2147483647 w 744"/>
              <a:gd name="T59" fmla="*/ 2147483647 h 1290"/>
              <a:gd name="T60" fmla="*/ 2147483647 w 744"/>
              <a:gd name="T61" fmla="*/ 2147483647 h 1290"/>
              <a:gd name="T62" fmla="*/ 2147483647 w 744"/>
              <a:gd name="T63" fmla="*/ 2147483647 h 1290"/>
              <a:gd name="T64" fmla="*/ 2147483647 w 744"/>
              <a:gd name="T65" fmla="*/ 2147483647 h 1290"/>
              <a:gd name="T66" fmla="*/ 2147483647 w 744"/>
              <a:gd name="T67" fmla="*/ 2147483647 h 1290"/>
              <a:gd name="T68" fmla="*/ 2147483647 w 744"/>
              <a:gd name="T69" fmla="*/ 2147483647 h 1290"/>
              <a:gd name="T70" fmla="*/ 2147483647 w 744"/>
              <a:gd name="T71" fmla="*/ 2147483647 h 1290"/>
              <a:gd name="T72" fmla="*/ 2147483647 w 744"/>
              <a:gd name="T73" fmla="*/ 2147483647 h 1290"/>
              <a:gd name="T74" fmla="*/ 2147483647 w 744"/>
              <a:gd name="T75" fmla="*/ 2147483647 h 1290"/>
              <a:gd name="T76" fmla="*/ 2147483647 w 744"/>
              <a:gd name="T77" fmla="*/ 2147483647 h 1290"/>
              <a:gd name="T78" fmla="*/ 2147483647 w 744"/>
              <a:gd name="T79" fmla="*/ 2147483647 h 1290"/>
              <a:gd name="T80" fmla="*/ 2147483647 w 744"/>
              <a:gd name="T81" fmla="*/ 2147483647 h 1290"/>
              <a:gd name="T82" fmla="*/ 2147483647 w 744"/>
              <a:gd name="T83" fmla="*/ 2147483647 h 1290"/>
              <a:gd name="T84" fmla="*/ 2147483647 w 744"/>
              <a:gd name="T85" fmla="*/ 2147483647 h 1290"/>
              <a:gd name="T86" fmla="*/ 2147483647 w 744"/>
              <a:gd name="T87" fmla="*/ 2147483647 h 1290"/>
              <a:gd name="T88" fmla="*/ 2147483647 w 744"/>
              <a:gd name="T89" fmla="*/ 2147483647 h 1290"/>
              <a:gd name="T90" fmla="*/ 2147483647 w 744"/>
              <a:gd name="T91" fmla="*/ 2147483647 h 1290"/>
              <a:gd name="T92" fmla="*/ 2147483647 w 744"/>
              <a:gd name="T93" fmla="*/ 2147483647 h 129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744"/>
              <a:gd name="T142" fmla="*/ 0 h 1290"/>
              <a:gd name="T143" fmla="*/ 744 w 744"/>
              <a:gd name="T144" fmla="*/ 1290 h 129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744" h="1290">
                <a:moveTo>
                  <a:pt x="678" y="624"/>
                </a:moveTo>
                <a:lnTo>
                  <a:pt x="720" y="624"/>
                </a:lnTo>
                <a:lnTo>
                  <a:pt x="732" y="630"/>
                </a:lnTo>
                <a:lnTo>
                  <a:pt x="744" y="630"/>
                </a:lnTo>
                <a:lnTo>
                  <a:pt x="738" y="324"/>
                </a:lnTo>
                <a:lnTo>
                  <a:pt x="180" y="0"/>
                </a:lnTo>
                <a:lnTo>
                  <a:pt x="156" y="12"/>
                </a:lnTo>
                <a:lnTo>
                  <a:pt x="144" y="24"/>
                </a:lnTo>
                <a:lnTo>
                  <a:pt x="126" y="30"/>
                </a:lnTo>
                <a:lnTo>
                  <a:pt x="108" y="42"/>
                </a:lnTo>
                <a:lnTo>
                  <a:pt x="126" y="108"/>
                </a:lnTo>
                <a:lnTo>
                  <a:pt x="114" y="156"/>
                </a:lnTo>
                <a:lnTo>
                  <a:pt x="144" y="192"/>
                </a:lnTo>
                <a:lnTo>
                  <a:pt x="150" y="216"/>
                </a:lnTo>
                <a:lnTo>
                  <a:pt x="180" y="252"/>
                </a:lnTo>
                <a:lnTo>
                  <a:pt x="162" y="288"/>
                </a:lnTo>
                <a:lnTo>
                  <a:pt x="144" y="534"/>
                </a:lnTo>
                <a:lnTo>
                  <a:pt x="138" y="540"/>
                </a:lnTo>
                <a:lnTo>
                  <a:pt x="120" y="564"/>
                </a:lnTo>
                <a:lnTo>
                  <a:pt x="96" y="588"/>
                </a:lnTo>
                <a:lnTo>
                  <a:pt x="72" y="618"/>
                </a:lnTo>
                <a:lnTo>
                  <a:pt x="54" y="636"/>
                </a:lnTo>
                <a:lnTo>
                  <a:pt x="48" y="648"/>
                </a:lnTo>
                <a:lnTo>
                  <a:pt x="36" y="666"/>
                </a:lnTo>
                <a:lnTo>
                  <a:pt x="30" y="678"/>
                </a:lnTo>
                <a:lnTo>
                  <a:pt x="24" y="696"/>
                </a:lnTo>
                <a:lnTo>
                  <a:pt x="24" y="708"/>
                </a:lnTo>
                <a:lnTo>
                  <a:pt x="18" y="714"/>
                </a:lnTo>
                <a:lnTo>
                  <a:pt x="18" y="720"/>
                </a:lnTo>
                <a:lnTo>
                  <a:pt x="0" y="726"/>
                </a:lnTo>
                <a:lnTo>
                  <a:pt x="6" y="786"/>
                </a:lnTo>
                <a:lnTo>
                  <a:pt x="18" y="786"/>
                </a:lnTo>
                <a:lnTo>
                  <a:pt x="48" y="834"/>
                </a:lnTo>
                <a:lnTo>
                  <a:pt x="48" y="846"/>
                </a:lnTo>
                <a:lnTo>
                  <a:pt x="48" y="840"/>
                </a:lnTo>
                <a:lnTo>
                  <a:pt x="72" y="834"/>
                </a:lnTo>
                <a:lnTo>
                  <a:pt x="72" y="852"/>
                </a:lnTo>
                <a:lnTo>
                  <a:pt x="78" y="864"/>
                </a:lnTo>
                <a:lnTo>
                  <a:pt x="84" y="870"/>
                </a:lnTo>
                <a:lnTo>
                  <a:pt x="96" y="870"/>
                </a:lnTo>
                <a:lnTo>
                  <a:pt x="102" y="876"/>
                </a:lnTo>
                <a:lnTo>
                  <a:pt x="108" y="876"/>
                </a:lnTo>
                <a:lnTo>
                  <a:pt x="102" y="912"/>
                </a:lnTo>
                <a:lnTo>
                  <a:pt x="114" y="918"/>
                </a:lnTo>
                <a:lnTo>
                  <a:pt x="120" y="930"/>
                </a:lnTo>
                <a:lnTo>
                  <a:pt x="120" y="966"/>
                </a:lnTo>
                <a:lnTo>
                  <a:pt x="114" y="966"/>
                </a:lnTo>
                <a:lnTo>
                  <a:pt x="114" y="1002"/>
                </a:lnTo>
                <a:lnTo>
                  <a:pt x="120" y="1020"/>
                </a:lnTo>
                <a:lnTo>
                  <a:pt x="120" y="1038"/>
                </a:lnTo>
                <a:lnTo>
                  <a:pt x="126" y="1050"/>
                </a:lnTo>
                <a:lnTo>
                  <a:pt x="138" y="1056"/>
                </a:lnTo>
                <a:lnTo>
                  <a:pt x="144" y="1068"/>
                </a:lnTo>
                <a:lnTo>
                  <a:pt x="162" y="1086"/>
                </a:lnTo>
                <a:lnTo>
                  <a:pt x="66" y="1086"/>
                </a:lnTo>
                <a:lnTo>
                  <a:pt x="54" y="1092"/>
                </a:lnTo>
                <a:lnTo>
                  <a:pt x="48" y="1098"/>
                </a:lnTo>
                <a:lnTo>
                  <a:pt x="48" y="1110"/>
                </a:lnTo>
                <a:lnTo>
                  <a:pt x="60" y="1134"/>
                </a:lnTo>
                <a:lnTo>
                  <a:pt x="72" y="1146"/>
                </a:lnTo>
                <a:lnTo>
                  <a:pt x="78" y="1158"/>
                </a:lnTo>
                <a:lnTo>
                  <a:pt x="90" y="1170"/>
                </a:lnTo>
                <a:lnTo>
                  <a:pt x="108" y="1182"/>
                </a:lnTo>
                <a:lnTo>
                  <a:pt x="120" y="1188"/>
                </a:lnTo>
                <a:lnTo>
                  <a:pt x="132" y="1200"/>
                </a:lnTo>
                <a:lnTo>
                  <a:pt x="144" y="1224"/>
                </a:lnTo>
                <a:lnTo>
                  <a:pt x="144" y="1242"/>
                </a:lnTo>
                <a:lnTo>
                  <a:pt x="150" y="1254"/>
                </a:lnTo>
                <a:lnTo>
                  <a:pt x="156" y="1272"/>
                </a:lnTo>
                <a:lnTo>
                  <a:pt x="156" y="1284"/>
                </a:lnTo>
                <a:lnTo>
                  <a:pt x="162" y="1284"/>
                </a:lnTo>
                <a:lnTo>
                  <a:pt x="168" y="1290"/>
                </a:lnTo>
                <a:lnTo>
                  <a:pt x="186" y="1290"/>
                </a:lnTo>
                <a:lnTo>
                  <a:pt x="198" y="1284"/>
                </a:lnTo>
                <a:lnTo>
                  <a:pt x="216" y="1266"/>
                </a:lnTo>
                <a:lnTo>
                  <a:pt x="228" y="1260"/>
                </a:lnTo>
                <a:lnTo>
                  <a:pt x="234" y="1254"/>
                </a:lnTo>
                <a:lnTo>
                  <a:pt x="234" y="1278"/>
                </a:lnTo>
                <a:lnTo>
                  <a:pt x="240" y="1284"/>
                </a:lnTo>
                <a:lnTo>
                  <a:pt x="246" y="1284"/>
                </a:lnTo>
                <a:lnTo>
                  <a:pt x="258" y="1278"/>
                </a:lnTo>
                <a:lnTo>
                  <a:pt x="270" y="1266"/>
                </a:lnTo>
                <a:lnTo>
                  <a:pt x="276" y="1254"/>
                </a:lnTo>
                <a:lnTo>
                  <a:pt x="282" y="1248"/>
                </a:lnTo>
                <a:lnTo>
                  <a:pt x="372" y="1248"/>
                </a:lnTo>
                <a:lnTo>
                  <a:pt x="378" y="1242"/>
                </a:lnTo>
                <a:lnTo>
                  <a:pt x="384" y="1230"/>
                </a:lnTo>
                <a:lnTo>
                  <a:pt x="390" y="1224"/>
                </a:lnTo>
                <a:lnTo>
                  <a:pt x="396" y="1212"/>
                </a:lnTo>
                <a:lnTo>
                  <a:pt x="402" y="1206"/>
                </a:lnTo>
                <a:lnTo>
                  <a:pt x="402" y="1194"/>
                </a:lnTo>
                <a:lnTo>
                  <a:pt x="390" y="1182"/>
                </a:lnTo>
                <a:lnTo>
                  <a:pt x="384" y="1182"/>
                </a:lnTo>
                <a:lnTo>
                  <a:pt x="402" y="1170"/>
                </a:lnTo>
                <a:lnTo>
                  <a:pt x="420" y="1170"/>
                </a:lnTo>
                <a:lnTo>
                  <a:pt x="462" y="1164"/>
                </a:lnTo>
                <a:lnTo>
                  <a:pt x="510" y="1146"/>
                </a:lnTo>
                <a:lnTo>
                  <a:pt x="528" y="1134"/>
                </a:lnTo>
                <a:lnTo>
                  <a:pt x="552" y="1110"/>
                </a:lnTo>
                <a:lnTo>
                  <a:pt x="552" y="1092"/>
                </a:lnTo>
                <a:lnTo>
                  <a:pt x="588" y="1068"/>
                </a:lnTo>
                <a:lnTo>
                  <a:pt x="594" y="1038"/>
                </a:lnTo>
                <a:lnTo>
                  <a:pt x="648" y="1008"/>
                </a:lnTo>
                <a:lnTo>
                  <a:pt x="672" y="1008"/>
                </a:lnTo>
                <a:lnTo>
                  <a:pt x="672" y="996"/>
                </a:lnTo>
                <a:lnTo>
                  <a:pt x="684" y="996"/>
                </a:lnTo>
                <a:lnTo>
                  <a:pt x="684" y="990"/>
                </a:lnTo>
                <a:lnTo>
                  <a:pt x="678" y="984"/>
                </a:lnTo>
                <a:lnTo>
                  <a:pt x="666" y="966"/>
                </a:lnTo>
                <a:lnTo>
                  <a:pt x="654" y="960"/>
                </a:lnTo>
                <a:lnTo>
                  <a:pt x="648" y="960"/>
                </a:lnTo>
                <a:lnTo>
                  <a:pt x="642" y="936"/>
                </a:lnTo>
                <a:lnTo>
                  <a:pt x="660" y="930"/>
                </a:lnTo>
                <a:lnTo>
                  <a:pt x="642" y="918"/>
                </a:lnTo>
                <a:lnTo>
                  <a:pt x="642" y="876"/>
                </a:lnTo>
                <a:lnTo>
                  <a:pt x="636" y="870"/>
                </a:lnTo>
                <a:lnTo>
                  <a:pt x="624" y="870"/>
                </a:lnTo>
                <a:lnTo>
                  <a:pt x="618" y="876"/>
                </a:lnTo>
                <a:lnTo>
                  <a:pt x="606" y="876"/>
                </a:lnTo>
                <a:lnTo>
                  <a:pt x="600" y="870"/>
                </a:lnTo>
                <a:lnTo>
                  <a:pt x="600" y="852"/>
                </a:lnTo>
                <a:lnTo>
                  <a:pt x="606" y="840"/>
                </a:lnTo>
                <a:lnTo>
                  <a:pt x="618" y="834"/>
                </a:lnTo>
                <a:lnTo>
                  <a:pt x="630" y="822"/>
                </a:lnTo>
                <a:lnTo>
                  <a:pt x="630" y="810"/>
                </a:lnTo>
                <a:lnTo>
                  <a:pt x="618" y="786"/>
                </a:lnTo>
                <a:lnTo>
                  <a:pt x="612" y="780"/>
                </a:lnTo>
                <a:lnTo>
                  <a:pt x="630" y="762"/>
                </a:lnTo>
                <a:lnTo>
                  <a:pt x="648" y="750"/>
                </a:lnTo>
                <a:lnTo>
                  <a:pt x="642" y="732"/>
                </a:lnTo>
                <a:lnTo>
                  <a:pt x="636" y="708"/>
                </a:lnTo>
                <a:lnTo>
                  <a:pt x="648" y="708"/>
                </a:lnTo>
                <a:lnTo>
                  <a:pt x="648" y="690"/>
                </a:lnTo>
                <a:lnTo>
                  <a:pt x="660" y="678"/>
                </a:lnTo>
                <a:lnTo>
                  <a:pt x="672" y="672"/>
                </a:lnTo>
                <a:lnTo>
                  <a:pt x="678" y="666"/>
                </a:lnTo>
                <a:lnTo>
                  <a:pt x="678" y="660"/>
                </a:lnTo>
                <a:lnTo>
                  <a:pt x="672" y="654"/>
                </a:lnTo>
                <a:lnTo>
                  <a:pt x="672" y="642"/>
                </a:lnTo>
                <a:lnTo>
                  <a:pt x="666" y="636"/>
                </a:lnTo>
                <a:lnTo>
                  <a:pt x="678" y="62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2" name="Canada"/>
          <p:cNvSpPr>
            <a:spLocks noEditPoints="1"/>
          </p:cNvSpPr>
          <p:nvPr/>
        </p:nvSpPr>
        <p:spPr bwMode="gray">
          <a:xfrm>
            <a:off x="837471" y="1738980"/>
            <a:ext cx="2243137" cy="1160463"/>
          </a:xfrm>
          <a:custGeom>
            <a:avLst/>
            <a:gdLst>
              <a:gd name="T0" fmla="*/ 2147483647 w 5574"/>
              <a:gd name="T1" fmla="*/ 2147483647 h 2886"/>
              <a:gd name="T2" fmla="*/ 2147483647 w 5574"/>
              <a:gd name="T3" fmla="*/ 2147483647 h 2886"/>
              <a:gd name="T4" fmla="*/ 2147483647 w 5574"/>
              <a:gd name="T5" fmla="*/ 2147483647 h 2886"/>
              <a:gd name="T6" fmla="*/ 2147483647 w 5574"/>
              <a:gd name="T7" fmla="*/ 2147483647 h 2886"/>
              <a:gd name="T8" fmla="*/ 2147483647 w 5574"/>
              <a:gd name="T9" fmla="*/ 2147483647 h 2886"/>
              <a:gd name="T10" fmla="*/ 2147483647 w 5574"/>
              <a:gd name="T11" fmla="*/ 2147483647 h 2886"/>
              <a:gd name="T12" fmla="*/ 2147483647 w 5574"/>
              <a:gd name="T13" fmla="*/ 2147483647 h 2886"/>
              <a:gd name="T14" fmla="*/ 2147483647 w 5574"/>
              <a:gd name="T15" fmla="*/ 2147483647 h 2886"/>
              <a:gd name="T16" fmla="*/ 2147483647 w 5574"/>
              <a:gd name="T17" fmla="*/ 2147483647 h 2886"/>
              <a:gd name="T18" fmla="*/ 2147483647 w 5574"/>
              <a:gd name="T19" fmla="*/ 2147483647 h 2886"/>
              <a:gd name="T20" fmla="*/ 2147483647 w 5574"/>
              <a:gd name="T21" fmla="*/ 2147483647 h 2886"/>
              <a:gd name="T22" fmla="*/ 2147483647 w 5574"/>
              <a:gd name="T23" fmla="*/ 2147483647 h 2886"/>
              <a:gd name="T24" fmla="*/ 2147483647 w 5574"/>
              <a:gd name="T25" fmla="*/ 2147483647 h 2886"/>
              <a:gd name="T26" fmla="*/ 2147483647 w 5574"/>
              <a:gd name="T27" fmla="*/ 2147483647 h 2886"/>
              <a:gd name="T28" fmla="*/ 2147483647 w 5574"/>
              <a:gd name="T29" fmla="*/ 2147483647 h 2886"/>
              <a:gd name="T30" fmla="*/ 2147483647 w 5574"/>
              <a:gd name="T31" fmla="*/ 2147483647 h 2886"/>
              <a:gd name="T32" fmla="*/ 2147483647 w 5574"/>
              <a:gd name="T33" fmla="*/ 2147483647 h 2886"/>
              <a:gd name="T34" fmla="*/ 2147483647 w 5574"/>
              <a:gd name="T35" fmla="*/ 2147483647 h 2886"/>
              <a:gd name="T36" fmla="*/ 2147483647 w 5574"/>
              <a:gd name="T37" fmla="*/ 2147483647 h 2886"/>
              <a:gd name="T38" fmla="*/ 2147483647 w 5574"/>
              <a:gd name="T39" fmla="*/ 2147483647 h 2886"/>
              <a:gd name="T40" fmla="*/ 2147483647 w 5574"/>
              <a:gd name="T41" fmla="*/ 2147483647 h 2886"/>
              <a:gd name="T42" fmla="*/ 2147483647 w 5574"/>
              <a:gd name="T43" fmla="*/ 2147483647 h 2886"/>
              <a:gd name="T44" fmla="*/ 2147483647 w 5574"/>
              <a:gd name="T45" fmla="*/ 2147483647 h 2886"/>
              <a:gd name="T46" fmla="*/ 2147483647 w 5574"/>
              <a:gd name="T47" fmla="*/ 2147483647 h 2886"/>
              <a:gd name="T48" fmla="*/ 2147483647 w 5574"/>
              <a:gd name="T49" fmla="*/ 2147483647 h 2886"/>
              <a:gd name="T50" fmla="*/ 2147483647 w 5574"/>
              <a:gd name="T51" fmla="*/ 2147483647 h 2886"/>
              <a:gd name="T52" fmla="*/ 2147483647 w 5574"/>
              <a:gd name="T53" fmla="*/ 2147483647 h 2886"/>
              <a:gd name="T54" fmla="*/ 2147483647 w 5574"/>
              <a:gd name="T55" fmla="*/ 2147483647 h 2886"/>
              <a:gd name="T56" fmla="*/ 2147483647 w 5574"/>
              <a:gd name="T57" fmla="*/ 2147483647 h 2886"/>
              <a:gd name="T58" fmla="*/ 2147483647 w 5574"/>
              <a:gd name="T59" fmla="*/ 2147483647 h 2886"/>
              <a:gd name="T60" fmla="*/ 2147483647 w 5574"/>
              <a:gd name="T61" fmla="*/ 2147483647 h 2886"/>
              <a:gd name="T62" fmla="*/ 2147483647 w 5574"/>
              <a:gd name="T63" fmla="*/ 2147483647 h 2886"/>
              <a:gd name="T64" fmla="*/ 2147483647 w 5574"/>
              <a:gd name="T65" fmla="*/ 2147483647 h 2886"/>
              <a:gd name="T66" fmla="*/ 2147483647 w 5574"/>
              <a:gd name="T67" fmla="*/ 2147483647 h 2886"/>
              <a:gd name="T68" fmla="*/ 2147483647 w 5574"/>
              <a:gd name="T69" fmla="*/ 2147483647 h 2886"/>
              <a:gd name="T70" fmla="*/ 2147483647 w 5574"/>
              <a:gd name="T71" fmla="*/ 2147483647 h 2886"/>
              <a:gd name="T72" fmla="*/ 2147483647 w 5574"/>
              <a:gd name="T73" fmla="*/ 2147483647 h 2886"/>
              <a:gd name="T74" fmla="*/ 2147483647 w 5574"/>
              <a:gd name="T75" fmla="*/ 2147483647 h 2886"/>
              <a:gd name="T76" fmla="*/ 2147483647 w 5574"/>
              <a:gd name="T77" fmla="*/ 2147483647 h 2886"/>
              <a:gd name="T78" fmla="*/ 2147483647 w 5574"/>
              <a:gd name="T79" fmla="*/ 2147483647 h 2886"/>
              <a:gd name="T80" fmla="*/ 2147483647 w 5574"/>
              <a:gd name="T81" fmla="*/ 2147483647 h 2886"/>
              <a:gd name="T82" fmla="*/ 2147483647 w 5574"/>
              <a:gd name="T83" fmla="*/ 2147483647 h 2886"/>
              <a:gd name="T84" fmla="*/ 2147483647 w 5574"/>
              <a:gd name="T85" fmla="*/ 2147483647 h 2886"/>
              <a:gd name="T86" fmla="*/ 2147483647 w 5574"/>
              <a:gd name="T87" fmla="*/ 2147483647 h 2886"/>
              <a:gd name="T88" fmla="*/ 2147483647 w 5574"/>
              <a:gd name="T89" fmla="*/ 2147483647 h 2886"/>
              <a:gd name="T90" fmla="*/ 2147483647 w 5574"/>
              <a:gd name="T91" fmla="*/ 2147483647 h 2886"/>
              <a:gd name="T92" fmla="*/ 2147483647 w 5574"/>
              <a:gd name="T93" fmla="*/ 2147483647 h 2886"/>
              <a:gd name="T94" fmla="*/ 2147483647 w 5574"/>
              <a:gd name="T95" fmla="*/ 2147483647 h 2886"/>
              <a:gd name="T96" fmla="*/ 2147483647 w 5574"/>
              <a:gd name="T97" fmla="*/ 2147483647 h 2886"/>
              <a:gd name="T98" fmla="*/ 2147483647 w 5574"/>
              <a:gd name="T99" fmla="*/ 2147483647 h 2886"/>
              <a:gd name="T100" fmla="*/ 2147483647 w 5574"/>
              <a:gd name="T101" fmla="*/ 2147483647 h 2886"/>
              <a:gd name="T102" fmla="*/ 2147483647 w 5574"/>
              <a:gd name="T103" fmla="*/ 2147483647 h 2886"/>
              <a:gd name="T104" fmla="*/ 2147483647 w 5574"/>
              <a:gd name="T105" fmla="*/ 2147483647 h 2886"/>
              <a:gd name="T106" fmla="*/ 2147483647 w 5574"/>
              <a:gd name="T107" fmla="*/ 2147483647 h 2886"/>
              <a:gd name="T108" fmla="*/ 2147483647 w 5574"/>
              <a:gd name="T109" fmla="*/ 2147483647 h 2886"/>
              <a:gd name="T110" fmla="*/ 2147483647 w 5574"/>
              <a:gd name="T111" fmla="*/ 2147483647 h 2886"/>
              <a:gd name="T112" fmla="*/ 2147483647 w 5574"/>
              <a:gd name="T113" fmla="*/ 2147483647 h 2886"/>
              <a:gd name="T114" fmla="*/ 2147483647 w 5574"/>
              <a:gd name="T115" fmla="*/ 2147483647 h 2886"/>
              <a:gd name="T116" fmla="*/ 2147483647 w 5574"/>
              <a:gd name="T117" fmla="*/ 2147483647 h 2886"/>
              <a:gd name="T118" fmla="*/ 2147483647 w 5574"/>
              <a:gd name="T119" fmla="*/ 2147483647 h 2886"/>
              <a:gd name="T120" fmla="*/ 2147483647 w 5574"/>
              <a:gd name="T121" fmla="*/ 2147483647 h 2886"/>
              <a:gd name="T122" fmla="*/ 2147483647 w 5574"/>
              <a:gd name="T123" fmla="*/ 2147483647 h 2886"/>
              <a:gd name="T124" fmla="*/ 2147483647 w 5574"/>
              <a:gd name="T125" fmla="*/ 2147483647 h 288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574"/>
              <a:gd name="T190" fmla="*/ 0 h 2886"/>
              <a:gd name="T191" fmla="*/ 5574 w 5574"/>
              <a:gd name="T192" fmla="*/ 2886 h 288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574" h="2886">
                <a:moveTo>
                  <a:pt x="3114" y="252"/>
                </a:moveTo>
                <a:lnTo>
                  <a:pt x="3138" y="252"/>
                </a:lnTo>
                <a:lnTo>
                  <a:pt x="3150" y="258"/>
                </a:lnTo>
                <a:lnTo>
                  <a:pt x="3168" y="258"/>
                </a:lnTo>
                <a:lnTo>
                  <a:pt x="3174" y="252"/>
                </a:lnTo>
                <a:lnTo>
                  <a:pt x="3174" y="246"/>
                </a:lnTo>
                <a:lnTo>
                  <a:pt x="3168" y="234"/>
                </a:lnTo>
                <a:lnTo>
                  <a:pt x="3156" y="228"/>
                </a:lnTo>
                <a:lnTo>
                  <a:pt x="3108" y="228"/>
                </a:lnTo>
                <a:lnTo>
                  <a:pt x="3066" y="234"/>
                </a:lnTo>
                <a:lnTo>
                  <a:pt x="3036" y="246"/>
                </a:lnTo>
                <a:lnTo>
                  <a:pt x="3018" y="246"/>
                </a:lnTo>
                <a:lnTo>
                  <a:pt x="3060" y="246"/>
                </a:lnTo>
                <a:lnTo>
                  <a:pt x="3096" y="252"/>
                </a:lnTo>
                <a:lnTo>
                  <a:pt x="3114" y="252"/>
                </a:lnTo>
                <a:close/>
                <a:moveTo>
                  <a:pt x="2988" y="318"/>
                </a:moveTo>
                <a:lnTo>
                  <a:pt x="3036" y="318"/>
                </a:lnTo>
                <a:lnTo>
                  <a:pt x="3048" y="312"/>
                </a:lnTo>
                <a:lnTo>
                  <a:pt x="3060" y="312"/>
                </a:lnTo>
                <a:lnTo>
                  <a:pt x="3072" y="300"/>
                </a:lnTo>
                <a:lnTo>
                  <a:pt x="3072" y="294"/>
                </a:lnTo>
                <a:lnTo>
                  <a:pt x="3066" y="282"/>
                </a:lnTo>
                <a:lnTo>
                  <a:pt x="3138" y="270"/>
                </a:lnTo>
                <a:lnTo>
                  <a:pt x="3120" y="264"/>
                </a:lnTo>
                <a:lnTo>
                  <a:pt x="3054" y="264"/>
                </a:lnTo>
                <a:lnTo>
                  <a:pt x="3042" y="276"/>
                </a:lnTo>
                <a:lnTo>
                  <a:pt x="3030" y="276"/>
                </a:lnTo>
                <a:lnTo>
                  <a:pt x="2994" y="270"/>
                </a:lnTo>
                <a:lnTo>
                  <a:pt x="2958" y="270"/>
                </a:lnTo>
                <a:lnTo>
                  <a:pt x="2940" y="282"/>
                </a:lnTo>
                <a:lnTo>
                  <a:pt x="2940" y="294"/>
                </a:lnTo>
                <a:lnTo>
                  <a:pt x="2946" y="300"/>
                </a:lnTo>
                <a:lnTo>
                  <a:pt x="2970" y="312"/>
                </a:lnTo>
                <a:lnTo>
                  <a:pt x="2976" y="318"/>
                </a:lnTo>
                <a:lnTo>
                  <a:pt x="2988" y="318"/>
                </a:lnTo>
                <a:close/>
                <a:moveTo>
                  <a:pt x="2682" y="384"/>
                </a:moveTo>
                <a:lnTo>
                  <a:pt x="2628" y="408"/>
                </a:lnTo>
                <a:lnTo>
                  <a:pt x="2634" y="408"/>
                </a:lnTo>
                <a:lnTo>
                  <a:pt x="2646" y="414"/>
                </a:lnTo>
                <a:lnTo>
                  <a:pt x="2652" y="414"/>
                </a:lnTo>
                <a:lnTo>
                  <a:pt x="2658" y="420"/>
                </a:lnTo>
                <a:lnTo>
                  <a:pt x="2658" y="426"/>
                </a:lnTo>
                <a:lnTo>
                  <a:pt x="2622" y="426"/>
                </a:lnTo>
                <a:lnTo>
                  <a:pt x="2586" y="432"/>
                </a:lnTo>
                <a:lnTo>
                  <a:pt x="2556" y="438"/>
                </a:lnTo>
                <a:lnTo>
                  <a:pt x="2544" y="438"/>
                </a:lnTo>
                <a:lnTo>
                  <a:pt x="2520" y="456"/>
                </a:lnTo>
                <a:lnTo>
                  <a:pt x="2580" y="450"/>
                </a:lnTo>
                <a:lnTo>
                  <a:pt x="2586" y="450"/>
                </a:lnTo>
                <a:lnTo>
                  <a:pt x="2592" y="456"/>
                </a:lnTo>
                <a:lnTo>
                  <a:pt x="2610" y="456"/>
                </a:lnTo>
                <a:lnTo>
                  <a:pt x="2628" y="462"/>
                </a:lnTo>
                <a:lnTo>
                  <a:pt x="2658" y="462"/>
                </a:lnTo>
                <a:lnTo>
                  <a:pt x="2694" y="450"/>
                </a:lnTo>
                <a:lnTo>
                  <a:pt x="2730" y="444"/>
                </a:lnTo>
                <a:lnTo>
                  <a:pt x="2742" y="438"/>
                </a:lnTo>
                <a:lnTo>
                  <a:pt x="2742" y="450"/>
                </a:lnTo>
                <a:lnTo>
                  <a:pt x="2760" y="450"/>
                </a:lnTo>
                <a:lnTo>
                  <a:pt x="2796" y="444"/>
                </a:lnTo>
                <a:lnTo>
                  <a:pt x="2856" y="444"/>
                </a:lnTo>
                <a:lnTo>
                  <a:pt x="2850" y="444"/>
                </a:lnTo>
                <a:lnTo>
                  <a:pt x="2844" y="450"/>
                </a:lnTo>
                <a:lnTo>
                  <a:pt x="2832" y="450"/>
                </a:lnTo>
                <a:lnTo>
                  <a:pt x="2790" y="456"/>
                </a:lnTo>
                <a:lnTo>
                  <a:pt x="2730" y="468"/>
                </a:lnTo>
                <a:lnTo>
                  <a:pt x="2706" y="468"/>
                </a:lnTo>
                <a:lnTo>
                  <a:pt x="2688" y="474"/>
                </a:lnTo>
                <a:lnTo>
                  <a:pt x="2670" y="474"/>
                </a:lnTo>
                <a:lnTo>
                  <a:pt x="2652" y="480"/>
                </a:lnTo>
                <a:lnTo>
                  <a:pt x="2646" y="486"/>
                </a:lnTo>
                <a:lnTo>
                  <a:pt x="2640" y="486"/>
                </a:lnTo>
                <a:lnTo>
                  <a:pt x="2658" y="486"/>
                </a:lnTo>
                <a:lnTo>
                  <a:pt x="2694" y="492"/>
                </a:lnTo>
                <a:lnTo>
                  <a:pt x="2760" y="498"/>
                </a:lnTo>
                <a:lnTo>
                  <a:pt x="2808" y="492"/>
                </a:lnTo>
                <a:lnTo>
                  <a:pt x="2850" y="480"/>
                </a:lnTo>
                <a:lnTo>
                  <a:pt x="2874" y="474"/>
                </a:lnTo>
                <a:lnTo>
                  <a:pt x="2886" y="468"/>
                </a:lnTo>
                <a:lnTo>
                  <a:pt x="2958" y="450"/>
                </a:lnTo>
                <a:lnTo>
                  <a:pt x="3000" y="450"/>
                </a:lnTo>
                <a:lnTo>
                  <a:pt x="3054" y="444"/>
                </a:lnTo>
                <a:lnTo>
                  <a:pt x="3096" y="438"/>
                </a:lnTo>
                <a:lnTo>
                  <a:pt x="3120" y="432"/>
                </a:lnTo>
                <a:lnTo>
                  <a:pt x="3138" y="420"/>
                </a:lnTo>
                <a:lnTo>
                  <a:pt x="3156" y="414"/>
                </a:lnTo>
                <a:lnTo>
                  <a:pt x="3168" y="408"/>
                </a:lnTo>
                <a:lnTo>
                  <a:pt x="3168" y="396"/>
                </a:lnTo>
                <a:lnTo>
                  <a:pt x="3156" y="384"/>
                </a:lnTo>
                <a:lnTo>
                  <a:pt x="3144" y="378"/>
                </a:lnTo>
                <a:lnTo>
                  <a:pt x="3120" y="378"/>
                </a:lnTo>
                <a:lnTo>
                  <a:pt x="3114" y="384"/>
                </a:lnTo>
                <a:lnTo>
                  <a:pt x="3108" y="384"/>
                </a:lnTo>
                <a:lnTo>
                  <a:pt x="3108" y="396"/>
                </a:lnTo>
                <a:lnTo>
                  <a:pt x="3072" y="396"/>
                </a:lnTo>
                <a:lnTo>
                  <a:pt x="3078" y="390"/>
                </a:lnTo>
                <a:lnTo>
                  <a:pt x="3078" y="378"/>
                </a:lnTo>
                <a:lnTo>
                  <a:pt x="3102" y="354"/>
                </a:lnTo>
                <a:lnTo>
                  <a:pt x="3102" y="342"/>
                </a:lnTo>
                <a:lnTo>
                  <a:pt x="3096" y="342"/>
                </a:lnTo>
                <a:lnTo>
                  <a:pt x="3054" y="348"/>
                </a:lnTo>
                <a:lnTo>
                  <a:pt x="2988" y="372"/>
                </a:lnTo>
                <a:lnTo>
                  <a:pt x="2976" y="378"/>
                </a:lnTo>
                <a:lnTo>
                  <a:pt x="3024" y="378"/>
                </a:lnTo>
                <a:lnTo>
                  <a:pt x="3018" y="408"/>
                </a:lnTo>
                <a:lnTo>
                  <a:pt x="2898" y="420"/>
                </a:lnTo>
                <a:lnTo>
                  <a:pt x="2898" y="414"/>
                </a:lnTo>
                <a:lnTo>
                  <a:pt x="2892" y="408"/>
                </a:lnTo>
                <a:lnTo>
                  <a:pt x="2892" y="372"/>
                </a:lnTo>
                <a:lnTo>
                  <a:pt x="2886" y="366"/>
                </a:lnTo>
                <a:lnTo>
                  <a:pt x="2874" y="366"/>
                </a:lnTo>
                <a:lnTo>
                  <a:pt x="2856" y="360"/>
                </a:lnTo>
                <a:lnTo>
                  <a:pt x="2814" y="360"/>
                </a:lnTo>
                <a:lnTo>
                  <a:pt x="2682" y="384"/>
                </a:lnTo>
                <a:close/>
                <a:moveTo>
                  <a:pt x="2832" y="342"/>
                </a:moveTo>
                <a:lnTo>
                  <a:pt x="2844" y="330"/>
                </a:lnTo>
                <a:lnTo>
                  <a:pt x="2844" y="318"/>
                </a:lnTo>
                <a:lnTo>
                  <a:pt x="2838" y="312"/>
                </a:lnTo>
                <a:lnTo>
                  <a:pt x="2814" y="312"/>
                </a:lnTo>
                <a:lnTo>
                  <a:pt x="2802" y="318"/>
                </a:lnTo>
                <a:lnTo>
                  <a:pt x="2796" y="324"/>
                </a:lnTo>
                <a:lnTo>
                  <a:pt x="2796" y="330"/>
                </a:lnTo>
                <a:lnTo>
                  <a:pt x="2802" y="336"/>
                </a:lnTo>
                <a:lnTo>
                  <a:pt x="2814" y="336"/>
                </a:lnTo>
                <a:lnTo>
                  <a:pt x="2820" y="342"/>
                </a:lnTo>
                <a:lnTo>
                  <a:pt x="2832" y="342"/>
                </a:lnTo>
                <a:close/>
                <a:moveTo>
                  <a:pt x="3012" y="564"/>
                </a:moveTo>
                <a:lnTo>
                  <a:pt x="2988" y="540"/>
                </a:lnTo>
                <a:lnTo>
                  <a:pt x="2958" y="540"/>
                </a:lnTo>
                <a:lnTo>
                  <a:pt x="2952" y="534"/>
                </a:lnTo>
                <a:lnTo>
                  <a:pt x="2946" y="534"/>
                </a:lnTo>
                <a:lnTo>
                  <a:pt x="2934" y="528"/>
                </a:lnTo>
                <a:lnTo>
                  <a:pt x="2916" y="528"/>
                </a:lnTo>
                <a:lnTo>
                  <a:pt x="2898" y="534"/>
                </a:lnTo>
                <a:lnTo>
                  <a:pt x="2892" y="540"/>
                </a:lnTo>
                <a:lnTo>
                  <a:pt x="2892" y="552"/>
                </a:lnTo>
                <a:lnTo>
                  <a:pt x="2928" y="570"/>
                </a:lnTo>
                <a:lnTo>
                  <a:pt x="2934" y="576"/>
                </a:lnTo>
                <a:lnTo>
                  <a:pt x="2946" y="582"/>
                </a:lnTo>
                <a:lnTo>
                  <a:pt x="3012" y="564"/>
                </a:lnTo>
                <a:close/>
                <a:moveTo>
                  <a:pt x="2460" y="414"/>
                </a:moveTo>
                <a:lnTo>
                  <a:pt x="2442" y="420"/>
                </a:lnTo>
                <a:lnTo>
                  <a:pt x="2430" y="426"/>
                </a:lnTo>
                <a:lnTo>
                  <a:pt x="2430" y="438"/>
                </a:lnTo>
                <a:lnTo>
                  <a:pt x="2442" y="438"/>
                </a:lnTo>
                <a:lnTo>
                  <a:pt x="2472" y="432"/>
                </a:lnTo>
                <a:lnTo>
                  <a:pt x="2490" y="426"/>
                </a:lnTo>
                <a:lnTo>
                  <a:pt x="2502" y="420"/>
                </a:lnTo>
                <a:lnTo>
                  <a:pt x="2502" y="414"/>
                </a:lnTo>
                <a:lnTo>
                  <a:pt x="2496" y="408"/>
                </a:lnTo>
                <a:lnTo>
                  <a:pt x="2484" y="408"/>
                </a:lnTo>
                <a:lnTo>
                  <a:pt x="2460" y="414"/>
                </a:lnTo>
                <a:close/>
                <a:moveTo>
                  <a:pt x="2970" y="858"/>
                </a:moveTo>
                <a:lnTo>
                  <a:pt x="2988" y="858"/>
                </a:lnTo>
                <a:lnTo>
                  <a:pt x="3006" y="864"/>
                </a:lnTo>
                <a:lnTo>
                  <a:pt x="3018" y="870"/>
                </a:lnTo>
                <a:lnTo>
                  <a:pt x="3036" y="876"/>
                </a:lnTo>
                <a:lnTo>
                  <a:pt x="3060" y="882"/>
                </a:lnTo>
                <a:lnTo>
                  <a:pt x="3096" y="882"/>
                </a:lnTo>
                <a:lnTo>
                  <a:pt x="3126" y="876"/>
                </a:lnTo>
                <a:lnTo>
                  <a:pt x="3138" y="876"/>
                </a:lnTo>
                <a:lnTo>
                  <a:pt x="3120" y="810"/>
                </a:lnTo>
                <a:lnTo>
                  <a:pt x="3018" y="792"/>
                </a:lnTo>
                <a:lnTo>
                  <a:pt x="2988" y="828"/>
                </a:lnTo>
                <a:lnTo>
                  <a:pt x="2958" y="828"/>
                </a:lnTo>
                <a:lnTo>
                  <a:pt x="2952" y="834"/>
                </a:lnTo>
                <a:lnTo>
                  <a:pt x="2952" y="846"/>
                </a:lnTo>
                <a:lnTo>
                  <a:pt x="2958" y="852"/>
                </a:lnTo>
                <a:lnTo>
                  <a:pt x="2970" y="858"/>
                </a:lnTo>
                <a:close/>
                <a:moveTo>
                  <a:pt x="168" y="2034"/>
                </a:moveTo>
                <a:lnTo>
                  <a:pt x="168" y="2040"/>
                </a:lnTo>
                <a:lnTo>
                  <a:pt x="174" y="2046"/>
                </a:lnTo>
                <a:lnTo>
                  <a:pt x="192" y="2046"/>
                </a:lnTo>
                <a:lnTo>
                  <a:pt x="186" y="2070"/>
                </a:lnTo>
                <a:lnTo>
                  <a:pt x="216" y="2052"/>
                </a:lnTo>
                <a:lnTo>
                  <a:pt x="216" y="2028"/>
                </a:lnTo>
                <a:lnTo>
                  <a:pt x="174" y="2028"/>
                </a:lnTo>
                <a:lnTo>
                  <a:pt x="168" y="2034"/>
                </a:lnTo>
                <a:close/>
                <a:moveTo>
                  <a:pt x="252" y="2298"/>
                </a:moveTo>
                <a:lnTo>
                  <a:pt x="252" y="2292"/>
                </a:lnTo>
                <a:lnTo>
                  <a:pt x="246" y="2286"/>
                </a:lnTo>
                <a:lnTo>
                  <a:pt x="246" y="2268"/>
                </a:lnTo>
                <a:lnTo>
                  <a:pt x="252" y="2256"/>
                </a:lnTo>
                <a:lnTo>
                  <a:pt x="252" y="2238"/>
                </a:lnTo>
                <a:lnTo>
                  <a:pt x="246" y="2226"/>
                </a:lnTo>
                <a:lnTo>
                  <a:pt x="228" y="2226"/>
                </a:lnTo>
                <a:lnTo>
                  <a:pt x="216" y="2220"/>
                </a:lnTo>
                <a:lnTo>
                  <a:pt x="204" y="2220"/>
                </a:lnTo>
                <a:lnTo>
                  <a:pt x="192" y="2214"/>
                </a:lnTo>
                <a:lnTo>
                  <a:pt x="186" y="2208"/>
                </a:lnTo>
                <a:lnTo>
                  <a:pt x="174" y="2202"/>
                </a:lnTo>
                <a:lnTo>
                  <a:pt x="150" y="2178"/>
                </a:lnTo>
                <a:lnTo>
                  <a:pt x="138" y="2172"/>
                </a:lnTo>
                <a:lnTo>
                  <a:pt x="126" y="2172"/>
                </a:lnTo>
                <a:lnTo>
                  <a:pt x="102" y="2184"/>
                </a:lnTo>
                <a:lnTo>
                  <a:pt x="96" y="2196"/>
                </a:lnTo>
                <a:lnTo>
                  <a:pt x="96" y="2202"/>
                </a:lnTo>
                <a:lnTo>
                  <a:pt x="108" y="2208"/>
                </a:lnTo>
                <a:lnTo>
                  <a:pt x="114" y="2214"/>
                </a:lnTo>
                <a:lnTo>
                  <a:pt x="120" y="2214"/>
                </a:lnTo>
                <a:lnTo>
                  <a:pt x="132" y="2202"/>
                </a:lnTo>
                <a:lnTo>
                  <a:pt x="144" y="2208"/>
                </a:lnTo>
                <a:lnTo>
                  <a:pt x="132" y="2220"/>
                </a:lnTo>
                <a:lnTo>
                  <a:pt x="120" y="2220"/>
                </a:lnTo>
                <a:lnTo>
                  <a:pt x="114" y="2226"/>
                </a:lnTo>
                <a:lnTo>
                  <a:pt x="102" y="2232"/>
                </a:lnTo>
                <a:lnTo>
                  <a:pt x="102" y="2244"/>
                </a:lnTo>
                <a:lnTo>
                  <a:pt x="108" y="2250"/>
                </a:lnTo>
                <a:lnTo>
                  <a:pt x="126" y="2250"/>
                </a:lnTo>
                <a:lnTo>
                  <a:pt x="138" y="2244"/>
                </a:lnTo>
                <a:lnTo>
                  <a:pt x="132" y="2262"/>
                </a:lnTo>
                <a:lnTo>
                  <a:pt x="150" y="2262"/>
                </a:lnTo>
                <a:lnTo>
                  <a:pt x="132" y="2280"/>
                </a:lnTo>
                <a:lnTo>
                  <a:pt x="168" y="2274"/>
                </a:lnTo>
                <a:lnTo>
                  <a:pt x="156" y="2280"/>
                </a:lnTo>
                <a:lnTo>
                  <a:pt x="144" y="2292"/>
                </a:lnTo>
                <a:lnTo>
                  <a:pt x="138" y="2292"/>
                </a:lnTo>
                <a:lnTo>
                  <a:pt x="138" y="2298"/>
                </a:lnTo>
                <a:lnTo>
                  <a:pt x="150" y="2298"/>
                </a:lnTo>
                <a:lnTo>
                  <a:pt x="162" y="2286"/>
                </a:lnTo>
                <a:lnTo>
                  <a:pt x="168" y="2286"/>
                </a:lnTo>
                <a:lnTo>
                  <a:pt x="174" y="2292"/>
                </a:lnTo>
                <a:lnTo>
                  <a:pt x="174" y="2304"/>
                </a:lnTo>
                <a:lnTo>
                  <a:pt x="162" y="2316"/>
                </a:lnTo>
                <a:lnTo>
                  <a:pt x="162" y="2328"/>
                </a:lnTo>
                <a:lnTo>
                  <a:pt x="210" y="2328"/>
                </a:lnTo>
                <a:lnTo>
                  <a:pt x="228" y="2316"/>
                </a:lnTo>
                <a:lnTo>
                  <a:pt x="210" y="2340"/>
                </a:lnTo>
                <a:lnTo>
                  <a:pt x="192" y="2340"/>
                </a:lnTo>
                <a:lnTo>
                  <a:pt x="186" y="2346"/>
                </a:lnTo>
                <a:lnTo>
                  <a:pt x="186" y="2352"/>
                </a:lnTo>
                <a:lnTo>
                  <a:pt x="210" y="2364"/>
                </a:lnTo>
                <a:lnTo>
                  <a:pt x="216" y="2364"/>
                </a:lnTo>
                <a:lnTo>
                  <a:pt x="228" y="2370"/>
                </a:lnTo>
                <a:lnTo>
                  <a:pt x="234" y="2376"/>
                </a:lnTo>
                <a:lnTo>
                  <a:pt x="246" y="2376"/>
                </a:lnTo>
                <a:lnTo>
                  <a:pt x="258" y="2382"/>
                </a:lnTo>
                <a:lnTo>
                  <a:pt x="270" y="2376"/>
                </a:lnTo>
                <a:lnTo>
                  <a:pt x="288" y="2358"/>
                </a:lnTo>
                <a:lnTo>
                  <a:pt x="294" y="2346"/>
                </a:lnTo>
                <a:lnTo>
                  <a:pt x="294" y="2340"/>
                </a:lnTo>
                <a:lnTo>
                  <a:pt x="288" y="2334"/>
                </a:lnTo>
                <a:lnTo>
                  <a:pt x="282" y="2322"/>
                </a:lnTo>
                <a:lnTo>
                  <a:pt x="270" y="2316"/>
                </a:lnTo>
                <a:lnTo>
                  <a:pt x="264" y="2304"/>
                </a:lnTo>
                <a:lnTo>
                  <a:pt x="252" y="2298"/>
                </a:lnTo>
                <a:close/>
                <a:moveTo>
                  <a:pt x="2304" y="372"/>
                </a:moveTo>
                <a:lnTo>
                  <a:pt x="2316" y="372"/>
                </a:lnTo>
                <a:lnTo>
                  <a:pt x="2328" y="366"/>
                </a:lnTo>
                <a:lnTo>
                  <a:pt x="2376" y="366"/>
                </a:lnTo>
                <a:lnTo>
                  <a:pt x="2388" y="378"/>
                </a:lnTo>
                <a:lnTo>
                  <a:pt x="2388" y="390"/>
                </a:lnTo>
                <a:lnTo>
                  <a:pt x="2424" y="390"/>
                </a:lnTo>
                <a:lnTo>
                  <a:pt x="2442" y="384"/>
                </a:lnTo>
                <a:lnTo>
                  <a:pt x="2454" y="384"/>
                </a:lnTo>
                <a:lnTo>
                  <a:pt x="2466" y="390"/>
                </a:lnTo>
                <a:lnTo>
                  <a:pt x="2472" y="396"/>
                </a:lnTo>
                <a:lnTo>
                  <a:pt x="2490" y="396"/>
                </a:lnTo>
                <a:lnTo>
                  <a:pt x="2514" y="384"/>
                </a:lnTo>
                <a:lnTo>
                  <a:pt x="2520" y="372"/>
                </a:lnTo>
                <a:lnTo>
                  <a:pt x="2520" y="354"/>
                </a:lnTo>
                <a:lnTo>
                  <a:pt x="2550" y="354"/>
                </a:lnTo>
                <a:lnTo>
                  <a:pt x="2616" y="336"/>
                </a:lnTo>
                <a:lnTo>
                  <a:pt x="2580" y="366"/>
                </a:lnTo>
                <a:lnTo>
                  <a:pt x="2634" y="378"/>
                </a:lnTo>
                <a:lnTo>
                  <a:pt x="2688" y="354"/>
                </a:lnTo>
                <a:lnTo>
                  <a:pt x="2784" y="312"/>
                </a:lnTo>
                <a:lnTo>
                  <a:pt x="2778" y="312"/>
                </a:lnTo>
                <a:lnTo>
                  <a:pt x="2772" y="306"/>
                </a:lnTo>
                <a:lnTo>
                  <a:pt x="2754" y="300"/>
                </a:lnTo>
                <a:lnTo>
                  <a:pt x="2736" y="300"/>
                </a:lnTo>
                <a:lnTo>
                  <a:pt x="2724" y="294"/>
                </a:lnTo>
                <a:lnTo>
                  <a:pt x="2706" y="288"/>
                </a:lnTo>
                <a:lnTo>
                  <a:pt x="2676" y="288"/>
                </a:lnTo>
                <a:lnTo>
                  <a:pt x="2646" y="282"/>
                </a:lnTo>
                <a:lnTo>
                  <a:pt x="2604" y="282"/>
                </a:lnTo>
                <a:lnTo>
                  <a:pt x="2526" y="294"/>
                </a:lnTo>
                <a:lnTo>
                  <a:pt x="2526" y="318"/>
                </a:lnTo>
                <a:lnTo>
                  <a:pt x="2406" y="324"/>
                </a:lnTo>
                <a:lnTo>
                  <a:pt x="2400" y="324"/>
                </a:lnTo>
                <a:lnTo>
                  <a:pt x="2394" y="318"/>
                </a:lnTo>
                <a:lnTo>
                  <a:pt x="2334" y="318"/>
                </a:lnTo>
                <a:lnTo>
                  <a:pt x="2322" y="324"/>
                </a:lnTo>
                <a:lnTo>
                  <a:pt x="2310" y="324"/>
                </a:lnTo>
                <a:lnTo>
                  <a:pt x="2304" y="330"/>
                </a:lnTo>
                <a:lnTo>
                  <a:pt x="2304" y="372"/>
                </a:lnTo>
                <a:close/>
                <a:moveTo>
                  <a:pt x="150" y="1980"/>
                </a:moveTo>
                <a:lnTo>
                  <a:pt x="162" y="2004"/>
                </a:lnTo>
                <a:lnTo>
                  <a:pt x="174" y="2010"/>
                </a:lnTo>
                <a:lnTo>
                  <a:pt x="186" y="1980"/>
                </a:lnTo>
                <a:lnTo>
                  <a:pt x="180" y="1974"/>
                </a:lnTo>
                <a:lnTo>
                  <a:pt x="174" y="1974"/>
                </a:lnTo>
                <a:lnTo>
                  <a:pt x="162" y="1968"/>
                </a:lnTo>
                <a:lnTo>
                  <a:pt x="156" y="1968"/>
                </a:lnTo>
                <a:lnTo>
                  <a:pt x="150" y="1974"/>
                </a:lnTo>
                <a:lnTo>
                  <a:pt x="150" y="1980"/>
                </a:lnTo>
                <a:close/>
                <a:moveTo>
                  <a:pt x="126" y="1932"/>
                </a:moveTo>
                <a:lnTo>
                  <a:pt x="120" y="1932"/>
                </a:lnTo>
                <a:lnTo>
                  <a:pt x="108" y="1938"/>
                </a:lnTo>
                <a:lnTo>
                  <a:pt x="96" y="1938"/>
                </a:lnTo>
                <a:lnTo>
                  <a:pt x="84" y="1944"/>
                </a:lnTo>
                <a:lnTo>
                  <a:pt x="78" y="1944"/>
                </a:lnTo>
                <a:lnTo>
                  <a:pt x="78" y="1950"/>
                </a:lnTo>
                <a:lnTo>
                  <a:pt x="72" y="1962"/>
                </a:lnTo>
                <a:lnTo>
                  <a:pt x="66" y="1968"/>
                </a:lnTo>
                <a:lnTo>
                  <a:pt x="48" y="1968"/>
                </a:lnTo>
                <a:lnTo>
                  <a:pt x="42" y="1962"/>
                </a:lnTo>
                <a:lnTo>
                  <a:pt x="48" y="1956"/>
                </a:lnTo>
                <a:lnTo>
                  <a:pt x="60" y="1956"/>
                </a:lnTo>
                <a:lnTo>
                  <a:pt x="66" y="1950"/>
                </a:lnTo>
                <a:lnTo>
                  <a:pt x="72" y="1950"/>
                </a:lnTo>
                <a:lnTo>
                  <a:pt x="78" y="1944"/>
                </a:lnTo>
                <a:lnTo>
                  <a:pt x="84" y="1944"/>
                </a:lnTo>
                <a:lnTo>
                  <a:pt x="78" y="1938"/>
                </a:lnTo>
                <a:lnTo>
                  <a:pt x="54" y="1938"/>
                </a:lnTo>
                <a:lnTo>
                  <a:pt x="48" y="1944"/>
                </a:lnTo>
                <a:lnTo>
                  <a:pt x="48" y="1932"/>
                </a:lnTo>
                <a:lnTo>
                  <a:pt x="36" y="1932"/>
                </a:lnTo>
                <a:lnTo>
                  <a:pt x="24" y="1944"/>
                </a:lnTo>
                <a:lnTo>
                  <a:pt x="6" y="1980"/>
                </a:lnTo>
                <a:lnTo>
                  <a:pt x="6" y="2004"/>
                </a:lnTo>
                <a:lnTo>
                  <a:pt x="12" y="2004"/>
                </a:lnTo>
                <a:lnTo>
                  <a:pt x="12" y="2010"/>
                </a:lnTo>
                <a:lnTo>
                  <a:pt x="18" y="2016"/>
                </a:lnTo>
                <a:lnTo>
                  <a:pt x="0" y="2022"/>
                </a:lnTo>
                <a:lnTo>
                  <a:pt x="12" y="2076"/>
                </a:lnTo>
                <a:lnTo>
                  <a:pt x="12" y="2082"/>
                </a:lnTo>
                <a:lnTo>
                  <a:pt x="6" y="2082"/>
                </a:lnTo>
                <a:lnTo>
                  <a:pt x="12" y="2088"/>
                </a:lnTo>
                <a:lnTo>
                  <a:pt x="12" y="2094"/>
                </a:lnTo>
                <a:lnTo>
                  <a:pt x="30" y="2094"/>
                </a:lnTo>
                <a:lnTo>
                  <a:pt x="30" y="2070"/>
                </a:lnTo>
                <a:lnTo>
                  <a:pt x="24" y="2058"/>
                </a:lnTo>
                <a:lnTo>
                  <a:pt x="24" y="2040"/>
                </a:lnTo>
                <a:lnTo>
                  <a:pt x="36" y="2028"/>
                </a:lnTo>
                <a:lnTo>
                  <a:pt x="42" y="2028"/>
                </a:lnTo>
                <a:lnTo>
                  <a:pt x="48" y="2016"/>
                </a:lnTo>
                <a:lnTo>
                  <a:pt x="54" y="2010"/>
                </a:lnTo>
                <a:lnTo>
                  <a:pt x="54" y="1986"/>
                </a:lnTo>
                <a:lnTo>
                  <a:pt x="84" y="1956"/>
                </a:lnTo>
                <a:lnTo>
                  <a:pt x="108" y="1944"/>
                </a:lnTo>
                <a:lnTo>
                  <a:pt x="114" y="1944"/>
                </a:lnTo>
                <a:lnTo>
                  <a:pt x="126" y="1938"/>
                </a:lnTo>
                <a:lnTo>
                  <a:pt x="126" y="1932"/>
                </a:lnTo>
                <a:close/>
                <a:moveTo>
                  <a:pt x="1896" y="678"/>
                </a:moveTo>
                <a:lnTo>
                  <a:pt x="1896" y="690"/>
                </a:lnTo>
                <a:lnTo>
                  <a:pt x="1884" y="702"/>
                </a:lnTo>
                <a:lnTo>
                  <a:pt x="1884" y="714"/>
                </a:lnTo>
                <a:lnTo>
                  <a:pt x="1902" y="714"/>
                </a:lnTo>
                <a:lnTo>
                  <a:pt x="1926" y="708"/>
                </a:lnTo>
                <a:lnTo>
                  <a:pt x="1944" y="708"/>
                </a:lnTo>
                <a:lnTo>
                  <a:pt x="1980" y="696"/>
                </a:lnTo>
                <a:lnTo>
                  <a:pt x="1986" y="690"/>
                </a:lnTo>
                <a:lnTo>
                  <a:pt x="1992" y="690"/>
                </a:lnTo>
                <a:lnTo>
                  <a:pt x="2034" y="702"/>
                </a:lnTo>
                <a:lnTo>
                  <a:pt x="2112" y="642"/>
                </a:lnTo>
                <a:lnTo>
                  <a:pt x="2244" y="600"/>
                </a:lnTo>
                <a:lnTo>
                  <a:pt x="2370" y="564"/>
                </a:lnTo>
                <a:lnTo>
                  <a:pt x="2466" y="546"/>
                </a:lnTo>
                <a:lnTo>
                  <a:pt x="2454" y="540"/>
                </a:lnTo>
                <a:lnTo>
                  <a:pt x="2448" y="528"/>
                </a:lnTo>
                <a:lnTo>
                  <a:pt x="2436" y="522"/>
                </a:lnTo>
                <a:lnTo>
                  <a:pt x="2424" y="510"/>
                </a:lnTo>
                <a:lnTo>
                  <a:pt x="2412" y="504"/>
                </a:lnTo>
                <a:lnTo>
                  <a:pt x="2400" y="492"/>
                </a:lnTo>
                <a:lnTo>
                  <a:pt x="2352" y="492"/>
                </a:lnTo>
                <a:lnTo>
                  <a:pt x="2340" y="498"/>
                </a:lnTo>
                <a:lnTo>
                  <a:pt x="2328" y="498"/>
                </a:lnTo>
                <a:lnTo>
                  <a:pt x="2262" y="504"/>
                </a:lnTo>
                <a:lnTo>
                  <a:pt x="2226" y="480"/>
                </a:lnTo>
                <a:lnTo>
                  <a:pt x="2142" y="486"/>
                </a:lnTo>
                <a:lnTo>
                  <a:pt x="2094" y="504"/>
                </a:lnTo>
                <a:lnTo>
                  <a:pt x="2076" y="522"/>
                </a:lnTo>
                <a:lnTo>
                  <a:pt x="2064" y="552"/>
                </a:lnTo>
                <a:lnTo>
                  <a:pt x="2010" y="564"/>
                </a:lnTo>
                <a:lnTo>
                  <a:pt x="1944" y="588"/>
                </a:lnTo>
                <a:lnTo>
                  <a:pt x="1962" y="600"/>
                </a:lnTo>
                <a:lnTo>
                  <a:pt x="1842" y="654"/>
                </a:lnTo>
                <a:lnTo>
                  <a:pt x="1854" y="654"/>
                </a:lnTo>
                <a:lnTo>
                  <a:pt x="1890" y="672"/>
                </a:lnTo>
                <a:lnTo>
                  <a:pt x="1896" y="678"/>
                </a:lnTo>
                <a:close/>
                <a:moveTo>
                  <a:pt x="198" y="1968"/>
                </a:moveTo>
                <a:lnTo>
                  <a:pt x="192" y="1992"/>
                </a:lnTo>
                <a:lnTo>
                  <a:pt x="192" y="2010"/>
                </a:lnTo>
                <a:lnTo>
                  <a:pt x="216" y="1998"/>
                </a:lnTo>
                <a:lnTo>
                  <a:pt x="198" y="1968"/>
                </a:lnTo>
                <a:close/>
                <a:moveTo>
                  <a:pt x="4182" y="600"/>
                </a:moveTo>
                <a:lnTo>
                  <a:pt x="4194" y="606"/>
                </a:lnTo>
                <a:lnTo>
                  <a:pt x="4206" y="600"/>
                </a:lnTo>
                <a:lnTo>
                  <a:pt x="4218" y="600"/>
                </a:lnTo>
                <a:lnTo>
                  <a:pt x="4242" y="588"/>
                </a:lnTo>
                <a:lnTo>
                  <a:pt x="4308" y="588"/>
                </a:lnTo>
                <a:lnTo>
                  <a:pt x="4314" y="594"/>
                </a:lnTo>
                <a:lnTo>
                  <a:pt x="4350" y="594"/>
                </a:lnTo>
                <a:lnTo>
                  <a:pt x="4356" y="588"/>
                </a:lnTo>
                <a:lnTo>
                  <a:pt x="4356" y="582"/>
                </a:lnTo>
                <a:lnTo>
                  <a:pt x="4344" y="558"/>
                </a:lnTo>
                <a:lnTo>
                  <a:pt x="4338" y="552"/>
                </a:lnTo>
                <a:lnTo>
                  <a:pt x="4326" y="546"/>
                </a:lnTo>
                <a:lnTo>
                  <a:pt x="4230" y="546"/>
                </a:lnTo>
                <a:lnTo>
                  <a:pt x="4224" y="540"/>
                </a:lnTo>
                <a:lnTo>
                  <a:pt x="4212" y="540"/>
                </a:lnTo>
                <a:lnTo>
                  <a:pt x="4200" y="534"/>
                </a:lnTo>
                <a:lnTo>
                  <a:pt x="4188" y="534"/>
                </a:lnTo>
                <a:lnTo>
                  <a:pt x="4176" y="540"/>
                </a:lnTo>
                <a:lnTo>
                  <a:pt x="4158" y="558"/>
                </a:lnTo>
                <a:lnTo>
                  <a:pt x="4158" y="564"/>
                </a:lnTo>
                <a:lnTo>
                  <a:pt x="4176" y="576"/>
                </a:lnTo>
                <a:lnTo>
                  <a:pt x="4170" y="582"/>
                </a:lnTo>
                <a:lnTo>
                  <a:pt x="4170" y="594"/>
                </a:lnTo>
                <a:lnTo>
                  <a:pt x="4176" y="594"/>
                </a:lnTo>
                <a:lnTo>
                  <a:pt x="4182" y="600"/>
                </a:lnTo>
                <a:close/>
                <a:moveTo>
                  <a:pt x="3708" y="516"/>
                </a:moveTo>
                <a:lnTo>
                  <a:pt x="3678" y="516"/>
                </a:lnTo>
                <a:lnTo>
                  <a:pt x="3624" y="510"/>
                </a:lnTo>
                <a:lnTo>
                  <a:pt x="3564" y="504"/>
                </a:lnTo>
                <a:lnTo>
                  <a:pt x="3468" y="504"/>
                </a:lnTo>
                <a:lnTo>
                  <a:pt x="3468" y="516"/>
                </a:lnTo>
                <a:lnTo>
                  <a:pt x="3462" y="522"/>
                </a:lnTo>
                <a:lnTo>
                  <a:pt x="3426" y="540"/>
                </a:lnTo>
                <a:lnTo>
                  <a:pt x="3396" y="546"/>
                </a:lnTo>
                <a:lnTo>
                  <a:pt x="3378" y="552"/>
                </a:lnTo>
                <a:lnTo>
                  <a:pt x="3372" y="552"/>
                </a:lnTo>
                <a:lnTo>
                  <a:pt x="3372" y="558"/>
                </a:lnTo>
                <a:lnTo>
                  <a:pt x="3384" y="570"/>
                </a:lnTo>
                <a:lnTo>
                  <a:pt x="3390" y="582"/>
                </a:lnTo>
                <a:lnTo>
                  <a:pt x="3390" y="594"/>
                </a:lnTo>
                <a:lnTo>
                  <a:pt x="3372" y="618"/>
                </a:lnTo>
                <a:lnTo>
                  <a:pt x="3402" y="636"/>
                </a:lnTo>
                <a:lnTo>
                  <a:pt x="3480" y="606"/>
                </a:lnTo>
                <a:lnTo>
                  <a:pt x="3474" y="600"/>
                </a:lnTo>
                <a:lnTo>
                  <a:pt x="3468" y="600"/>
                </a:lnTo>
                <a:lnTo>
                  <a:pt x="3468" y="594"/>
                </a:lnTo>
                <a:lnTo>
                  <a:pt x="3474" y="588"/>
                </a:lnTo>
                <a:lnTo>
                  <a:pt x="3486" y="582"/>
                </a:lnTo>
                <a:lnTo>
                  <a:pt x="3522" y="582"/>
                </a:lnTo>
                <a:lnTo>
                  <a:pt x="3546" y="594"/>
                </a:lnTo>
                <a:lnTo>
                  <a:pt x="3552" y="600"/>
                </a:lnTo>
                <a:lnTo>
                  <a:pt x="3606" y="594"/>
                </a:lnTo>
                <a:lnTo>
                  <a:pt x="3600" y="570"/>
                </a:lnTo>
                <a:lnTo>
                  <a:pt x="3630" y="570"/>
                </a:lnTo>
                <a:lnTo>
                  <a:pt x="3648" y="564"/>
                </a:lnTo>
                <a:lnTo>
                  <a:pt x="3666" y="564"/>
                </a:lnTo>
                <a:lnTo>
                  <a:pt x="3690" y="552"/>
                </a:lnTo>
                <a:lnTo>
                  <a:pt x="3696" y="546"/>
                </a:lnTo>
                <a:lnTo>
                  <a:pt x="3702" y="534"/>
                </a:lnTo>
                <a:lnTo>
                  <a:pt x="3714" y="522"/>
                </a:lnTo>
                <a:lnTo>
                  <a:pt x="3720" y="522"/>
                </a:lnTo>
                <a:lnTo>
                  <a:pt x="3714" y="516"/>
                </a:lnTo>
                <a:lnTo>
                  <a:pt x="3708" y="516"/>
                </a:lnTo>
                <a:close/>
                <a:moveTo>
                  <a:pt x="3792" y="150"/>
                </a:moveTo>
                <a:lnTo>
                  <a:pt x="3738" y="156"/>
                </a:lnTo>
                <a:lnTo>
                  <a:pt x="3756" y="180"/>
                </a:lnTo>
                <a:lnTo>
                  <a:pt x="3792" y="150"/>
                </a:lnTo>
                <a:close/>
                <a:moveTo>
                  <a:pt x="3612" y="480"/>
                </a:moveTo>
                <a:lnTo>
                  <a:pt x="3636" y="468"/>
                </a:lnTo>
                <a:lnTo>
                  <a:pt x="3642" y="456"/>
                </a:lnTo>
                <a:lnTo>
                  <a:pt x="3654" y="450"/>
                </a:lnTo>
                <a:lnTo>
                  <a:pt x="3660" y="438"/>
                </a:lnTo>
                <a:lnTo>
                  <a:pt x="3660" y="432"/>
                </a:lnTo>
                <a:lnTo>
                  <a:pt x="3654" y="426"/>
                </a:lnTo>
                <a:lnTo>
                  <a:pt x="3642" y="426"/>
                </a:lnTo>
                <a:lnTo>
                  <a:pt x="3630" y="420"/>
                </a:lnTo>
                <a:lnTo>
                  <a:pt x="3588" y="420"/>
                </a:lnTo>
                <a:lnTo>
                  <a:pt x="3570" y="426"/>
                </a:lnTo>
                <a:lnTo>
                  <a:pt x="3552" y="426"/>
                </a:lnTo>
                <a:lnTo>
                  <a:pt x="3534" y="438"/>
                </a:lnTo>
                <a:lnTo>
                  <a:pt x="3516" y="444"/>
                </a:lnTo>
                <a:lnTo>
                  <a:pt x="3504" y="450"/>
                </a:lnTo>
                <a:lnTo>
                  <a:pt x="3504" y="462"/>
                </a:lnTo>
                <a:lnTo>
                  <a:pt x="3528" y="468"/>
                </a:lnTo>
                <a:lnTo>
                  <a:pt x="3600" y="480"/>
                </a:lnTo>
                <a:lnTo>
                  <a:pt x="3612" y="480"/>
                </a:lnTo>
                <a:close/>
                <a:moveTo>
                  <a:pt x="3954" y="180"/>
                </a:moveTo>
                <a:lnTo>
                  <a:pt x="3900" y="192"/>
                </a:lnTo>
                <a:lnTo>
                  <a:pt x="3936" y="210"/>
                </a:lnTo>
                <a:lnTo>
                  <a:pt x="3924" y="216"/>
                </a:lnTo>
                <a:lnTo>
                  <a:pt x="3918" y="222"/>
                </a:lnTo>
                <a:lnTo>
                  <a:pt x="3918" y="228"/>
                </a:lnTo>
                <a:lnTo>
                  <a:pt x="3924" y="234"/>
                </a:lnTo>
                <a:lnTo>
                  <a:pt x="3936" y="240"/>
                </a:lnTo>
                <a:lnTo>
                  <a:pt x="3966" y="240"/>
                </a:lnTo>
                <a:lnTo>
                  <a:pt x="3942" y="252"/>
                </a:lnTo>
                <a:lnTo>
                  <a:pt x="3954" y="252"/>
                </a:lnTo>
                <a:lnTo>
                  <a:pt x="4002" y="276"/>
                </a:lnTo>
                <a:lnTo>
                  <a:pt x="4014" y="276"/>
                </a:lnTo>
                <a:lnTo>
                  <a:pt x="4026" y="270"/>
                </a:lnTo>
                <a:lnTo>
                  <a:pt x="4032" y="264"/>
                </a:lnTo>
                <a:lnTo>
                  <a:pt x="4044" y="258"/>
                </a:lnTo>
                <a:lnTo>
                  <a:pt x="4050" y="252"/>
                </a:lnTo>
                <a:lnTo>
                  <a:pt x="4074" y="246"/>
                </a:lnTo>
                <a:lnTo>
                  <a:pt x="4086" y="258"/>
                </a:lnTo>
                <a:lnTo>
                  <a:pt x="4092" y="270"/>
                </a:lnTo>
                <a:lnTo>
                  <a:pt x="4098" y="276"/>
                </a:lnTo>
                <a:lnTo>
                  <a:pt x="4104" y="270"/>
                </a:lnTo>
                <a:lnTo>
                  <a:pt x="4116" y="270"/>
                </a:lnTo>
                <a:lnTo>
                  <a:pt x="4128" y="264"/>
                </a:lnTo>
                <a:lnTo>
                  <a:pt x="4134" y="258"/>
                </a:lnTo>
                <a:lnTo>
                  <a:pt x="4146" y="258"/>
                </a:lnTo>
                <a:lnTo>
                  <a:pt x="4152" y="252"/>
                </a:lnTo>
                <a:lnTo>
                  <a:pt x="4158" y="252"/>
                </a:lnTo>
                <a:lnTo>
                  <a:pt x="4170" y="246"/>
                </a:lnTo>
                <a:lnTo>
                  <a:pt x="4176" y="234"/>
                </a:lnTo>
                <a:lnTo>
                  <a:pt x="4182" y="228"/>
                </a:lnTo>
                <a:lnTo>
                  <a:pt x="4194" y="246"/>
                </a:lnTo>
                <a:lnTo>
                  <a:pt x="4218" y="222"/>
                </a:lnTo>
                <a:lnTo>
                  <a:pt x="4218" y="216"/>
                </a:lnTo>
                <a:lnTo>
                  <a:pt x="4236" y="210"/>
                </a:lnTo>
                <a:lnTo>
                  <a:pt x="4326" y="210"/>
                </a:lnTo>
                <a:lnTo>
                  <a:pt x="4332" y="204"/>
                </a:lnTo>
                <a:lnTo>
                  <a:pt x="4332" y="192"/>
                </a:lnTo>
                <a:lnTo>
                  <a:pt x="4266" y="186"/>
                </a:lnTo>
                <a:lnTo>
                  <a:pt x="4302" y="174"/>
                </a:lnTo>
                <a:lnTo>
                  <a:pt x="4302" y="132"/>
                </a:lnTo>
                <a:lnTo>
                  <a:pt x="4278" y="132"/>
                </a:lnTo>
                <a:lnTo>
                  <a:pt x="4266" y="138"/>
                </a:lnTo>
                <a:lnTo>
                  <a:pt x="4260" y="144"/>
                </a:lnTo>
                <a:lnTo>
                  <a:pt x="4248" y="150"/>
                </a:lnTo>
                <a:lnTo>
                  <a:pt x="4242" y="126"/>
                </a:lnTo>
                <a:lnTo>
                  <a:pt x="4194" y="132"/>
                </a:lnTo>
                <a:lnTo>
                  <a:pt x="4194" y="120"/>
                </a:lnTo>
                <a:lnTo>
                  <a:pt x="4176" y="84"/>
                </a:lnTo>
                <a:lnTo>
                  <a:pt x="4140" y="84"/>
                </a:lnTo>
                <a:lnTo>
                  <a:pt x="4122" y="90"/>
                </a:lnTo>
                <a:lnTo>
                  <a:pt x="4110" y="96"/>
                </a:lnTo>
                <a:lnTo>
                  <a:pt x="4104" y="102"/>
                </a:lnTo>
                <a:lnTo>
                  <a:pt x="4098" y="102"/>
                </a:lnTo>
                <a:lnTo>
                  <a:pt x="4020" y="108"/>
                </a:lnTo>
                <a:lnTo>
                  <a:pt x="4044" y="126"/>
                </a:lnTo>
                <a:lnTo>
                  <a:pt x="3996" y="126"/>
                </a:lnTo>
                <a:lnTo>
                  <a:pt x="3984" y="132"/>
                </a:lnTo>
                <a:lnTo>
                  <a:pt x="3972" y="132"/>
                </a:lnTo>
                <a:lnTo>
                  <a:pt x="3966" y="138"/>
                </a:lnTo>
                <a:lnTo>
                  <a:pt x="3984" y="156"/>
                </a:lnTo>
                <a:lnTo>
                  <a:pt x="3972" y="156"/>
                </a:lnTo>
                <a:lnTo>
                  <a:pt x="3936" y="150"/>
                </a:lnTo>
                <a:lnTo>
                  <a:pt x="3906" y="156"/>
                </a:lnTo>
                <a:lnTo>
                  <a:pt x="3888" y="168"/>
                </a:lnTo>
                <a:lnTo>
                  <a:pt x="3888" y="174"/>
                </a:lnTo>
                <a:lnTo>
                  <a:pt x="3894" y="180"/>
                </a:lnTo>
                <a:lnTo>
                  <a:pt x="3954" y="180"/>
                </a:lnTo>
                <a:close/>
                <a:moveTo>
                  <a:pt x="3972" y="294"/>
                </a:moveTo>
                <a:lnTo>
                  <a:pt x="3954" y="300"/>
                </a:lnTo>
                <a:lnTo>
                  <a:pt x="3942" y="306"/>
                </a:lnTo>
                <a:lnTo>
                  <a:pt x="3936" y="312"/>
                </a:lnTo>
                <a:lnTo>
                  <a:pt x="3936" y="318"/>
                </a:lnTo>
                <a:lnTo>
                  <a:pt x="3966" y="324"/>
                </a:lnTo>
                <a:lnTo>
                  <a:pt x="3972" y="324"/>
                </a:lnTo>
                <a:lnTo>
                  <a:pt x="3990" y="306"/>
                </a:lnTo>
                <a:lnTo>
                  <a:pt x="3990" y="300"/>
                </a:lnTo>
                <a:lnTo>
                  <a:pt x="3984" y="294"/>
                </a:lnTo>
                <a:lnTo>
                  <a:pt x="3972" y="294"/>
                </a:lnTo>
                <a:close/>
                <a:moveTo>
                  <a:pt x="3738" y="336"/>
                </a:moveTo>
                <a:lnTo>
                  <a:pt x="3726" y="336"/>
                </a:lnTo>
                <a:lnTo>
                  <a:pt x="3720" y="330"/>
                </a:lnTo>
                <a:lnTo>
                  <a:pt x="3672" y="330"/>
                </a:lnTo>
                <a:lnTo>
                  <a:pt x="3636" y="336"/>
                </a:lnTo>
                <a:lnTo>
                  <a:pt x="3624" y="342"/>
                </a:lnTo>
                <a:lnTo>
                  <a:pt x="3642" y="360"/>
                </a:lnTo>
                <a:lnTo>
                  <a:pt x="3654" y="360"/>
                </a:lnTo>
                <a:lnTo>
                  <a:pt x="3660" y="378"/>
                </a:lnTo>
                <a:lnTo>
                  <a:pt x="3768" y="378"/>
                </a:lnTo>
                <a:lnTo>
                  <a:pt x="3768" y="390"/>
                </a:lnTo>
                <a:lnTo>
                  <a:pt x="3762" y="396"/>
                </a:lnTo>
                <a:lnTo>
                  <a:pt x="3762" y="408"/>
                </a:lnTo>
                <a:lnTo>
                  <a:pt x="3708" y="450"/>
                </a:lnTo>
                <a:lnTo>
                  <a:pt x="3732" y="456"/>
                </a:lnTo>
                <a:lnTo>
                  <a:pt x="3720" y="468"/>
                </a:lnTo>
                <a:lnTo>
                  <a:pt x="3714" y="468"/>
                </a:lnTo>
                <a:lnTo>
                  <a:pt x="3708" y="474"/>
                </a:lnTo>
                <a:lnTo>
                  <a:pt x="3708" y="480"/>
                </a:lnTo>
                <a:lnTo>
                  <a:pt x="3726" y="480"/>
                </a:lnTo>
                <a:lnTo>
                  <a:pt x="3738" y="474"/>
                </a:lnTo>
                <a:lnTo>
                  <a:pt x="3744" y="474"/>
                </a:lnTo>
                <a:lnTo>
                  <a:pt x="3756" y="468"/>
                </a:lnTo>
                <a:lnTo>
                  <a:pt x="3756" y="480"/>
                </a:lnTo>
                <a:lnTo>
                  <a:pt x="3792" y="480"/>
                </a:lnTo>
                <a:lnTo>
                  <a:pt x="3810" y="474"/>
                </a:lnTo>
                <a:lnTo>
                  <a:pt x="3822" y="468"/>
                </a:lnTo>
                <a:lnTo>
                  <a:pt x="3840" y="468"/>
                </a:lnTo>
                <a:lnTo>
                  <a:pt x="3846" y="462"/>
                </a:lnTo>
                <a:lnTo>
                  <a:pt x="3852" y="462"/>
                </a:lnTo>
                <a:lnTo>
                  <a:pt x="3858" y="486"/>
                </a:lnTo>
                <a:lnTo>
                  <a:pt x="3924" y="480"/>
                </a:lnTo>
                <a:lnTo>
                  <a:pt x="4002" y="498"/>
                </a:lnTo>
                <a:lnTo>
                  <a:pt x="4098" y="486"/>
                </a:lnTo>
                <a:lnTo>
                  <a:pt x="4128" y="468"/>
                </a:lnTo>
                <a:lnTo>
                  <a:pt x="4122" y="474"/>
                </a:lnTo>
                <a:lnTo>
                  <a:pt x="4122" y="486"/>
                </a:lnTo>
                <a:lnTo>
                  <a:pt x="4260" y="486"/>
                </a:lnTo>
                <a:lnTo>
                  <a:pt x="4272" y="468"/>
                </a:lnTo>
                <a:lnTo>
                  <a:pt x="4338" y="438"/>
                </a:lnTo>
                <a:lnTo>
                  <a:pt x="4320" y="432"/>
                </a:lnTo>
                <a:lnTo>
                  <a:pt x="4320" y="420"/>
                </a:lnTo>
                <a:lnTo>
                  <a:pt x="4314" y="420"/>
                </a:lnTo>
                <a:lnTo>
                  <a:pt x="4308" y="414"/>
                </a:lnTo>
                <a:lnTo>
                  <a:pt x="4290" y="414"/>
                </a:lnTo>
                <a:lnTo>
                  <a:pt x="4278" y="408"/>
                </a:lnTo>
                <a:lnTo>
                  <a:pt x="4260" y="408"/>
                </a:lnTo>
                <a:lnTo>
                  <a:pt x="4242" y="402"/>
                </a:lnTo>
                <a:lnTo>
                  <a:pt x="4206" y="402"/>
                </a:lnTo>
                <a:lnTo>
                  <a:pt x="4164" y="414"/>
                </a:lnTo>
                <a:lnTo>
                  <a:pt x="4116" y="420"/>
                </a:lnTo>
                <a:lnTo>
                  <a:pt x="4074" y="426"/>
                </a:lnTo>
                <a:lnTo>
                  <a:pt x="4038" y="438"/>
                </a:lnTo>
                <a:lnTo>
                  <a:pt x="4026" y="438"/>
                </a:lnTo>
                <a:lnTo>
                  <a:pt x="4014" y="432"/>
                </a:lnTo>
                <a:lnTo>
                  <a:pt x="4008" y="426"/>
                </a:lnTo>
                <a:lnTo>
                  <a:pt x="3996" y="420"/>
                </a:lnTo>
                <a:lnTo>
                  <a:pt x="3984" y="420"/>
                </a:lnTo>
                <a:lnTo>
                  <a:pt x="3972" y="426"/>
                </a:lnTo>
                <a:lnTo>
                  <a:pt x="3960" y="426"/>
                </a:lnTo>
                <a:lnTo>
                  <a:pt x="3948" y="432"/>
                </a:lnTo>
                <a:lnTo>
                  <a:pt x="3942" y="438"/>
                </a:lnTo>
                <a:lnTo>
                  <a:pt x="3936" y="438"/>
                </a:lnTo>
                <a:lnTo>
                  <a:pt x="3912" y="414"/>
                </a:lnTo>
                <a:lnTo>
                  <a:pt x="3894" y="426"/>
                </a:lnTo>
                <a:lnTo>
                  <a:pt x="3864" y="420"/>
                </a:lnTo>
                <a:lnTo>
                  <a:pt x="3894" y="408"/>
                </a:lnTo>
                <a:lnTo>
                  <a:pt x="3876" y="396"/>
                </a:lnTo>
                <a:lnTo>
                  <a:pt x="3822" y="408"/>
                </a:lnTo>
                <a:lnTo>
                  <a:pt x="3858" y="396"/>
                </a:lnTo>
                <a:lnTo>
                  <a:pt x="3858" y="390"/>
                </a:lnTo>
                <a:lnTo>
                  <a:pt x="3924" y="384"/>
                </a:lnTo>
                <a:lnTo>
                  <a:pt x="3888" y="372"/>
                </a:lnTo>
                <a:lnTo>
                  <a:pt x="3870" y="372"/>
                </a:lnTo>
                <a:lnTo>
                  <a:pt x="3876" y="366"/>
                </a:lnTo>
                <a:lnTo>
                  <a:pt x="3876" y="360"/>
                </a:lnTo>
                <a:lnTo>
                  <a:pt x="3870" y="354"/>
                </a:lnTo>
                <a:lnTo>
                  <a:pt x="3840" y="354"/>
                </a:lnTo>
                <a:lnTo>
                  <a:pt x="3822" y="360"/>
                </a:lnTo>
                <a:lnTo>
                  <a:pt x="3804" y="360"/>
                </a:lnTo>
                <a:lnTo>
                  <a:pt x="3786" y="366"/>
                </a:lnTo>
                <a:lnTo>
                  <a:pt x="3774" y="354"/>
                </a:lnTo>
                <a:lnTo>
                  <a:pt x="3762" y="348"/>
                </a:lnTo>
                <a:lnTo>
                  <a:pt x="3756" y="342"/>
                </a:lnTo>
                <a:lnTo>
                  <a:pt x="3744" y="336"/>
                </a:lnTo>
                <a:lnTo>
                  <a:pt x="3738" y="336"/>
                </a:lnTo>
                <a:close/>
                <a:moveTo>
                  <a:pt x="3264" y="420"/>
                </a:moveTo>
                <a:lnTo>
                  <a:pt x="3282" y="420"/>
                </a:lnTo>
                <a:lnTo>
                  <a:pt x="3300" y="426"/>
                </a:lnTo>
                <a:lnTo>
                  <a:pt x="3318" y="426"/>
                </a:lnTo>
                <a:lnTo>
                  <a:pt x="3330" y="432"/>
                </a:lnTo>
                <a:lnTo>
                  <a:pt x="3342" y="432"/>
                </a:lnTo>
                <a:lnTo>
                  <a:pt x="3330" y="444"/>
                </a:lnTo>
                <a:lnTo>
                  <a:pt x="3324" y="444"/>
                </a:lnTo>
                <a:lnTo>
                  <a:pt x="3324" y="456"/>
                </a:lnTo>
                <a:lnTo>
                  <a:pt x="3438" y="456"/>
                </a:lnTo>
                <a:lnTo>
                  <a:pt x="3462" y="444"/>
                </a:lnTo>
                <a:lnTo>
                  <a:pt x="3462" y="432"/>
                </a:lnTo>
                <a:lnTo>
                  <a:pt x="3468" y="426"/>
                </a:lnTo>
                <a:lnTo>
                  <a:pt x="3480" y="426"/>
                </a:lnTo>
                <a:lnTo>
                  <a:pt x="3492" y="420"/>
                </a:lnTo>
                <a:lnTo>
                  <a:pt x="3504" y="420"/>
                </a:lnTo>
                <a:lnTo>
                  <a:pt x="3510" y="414"/>
                </a:lnTo>
                <a:lnTo>
                  <a:pt x="3510" y="408"/>
                </a:lnTo>
                <a:lnTo>
                  <a:pt x="3522" y="396"/>
                </a:lnTo>
                <a:lnTo>
                  <a:pt x="3534" y="390"/>
                </a:lnTo>
                <a:lnTo>
                  <a:pt x="3540" y="384"/>
                </a:lnTo>
                <a:lnTo>
                  <a:pt x="3552" y="378"/>
                </a:lnTo>
                <a:lnTo>
                  <a:pt x="3552" y="372"/>
                </a:lnTo>
                <a:lnTo>
                  <a:pt x="3546" y="366"/>
                </a:lnTo>
                <a:lnTo>
                  <a:pt x="3534" y="360"/>
                </a:lnTo>
                <a:lnTo>
                  <a:pt x="3510" y="360"/>
                </a:lnTo>
                <a:lnTo>
                  <a:pt x="3504" y="366"/>
                </a:lnTo>
                <a:lnTo>
                  <a:pt x="3492" y="366"/>
                </a:lnTo>
                <a:lnTo>
                  <a:pt x="3486" y="360"/>
                </a:lnTo>
                <a:lnTo>
                  <a:pt x="3474" y="360"/>
                </a:lnTo>
                <a:lnTo>
                  <a:pt x="3462" y="354"/>
                </a:lnTo>
                <a:lnTo>
                  <a:pt x="3450" y="354"/>
                </a:lnTo>
                <a:lnTo>
                  <a:pt x="3432" y="348"/>
                </a:lnTo>
                <a:lnTo>
                  <a:pt x="3426" y="354"/>
                </a:lnTo>
                <a:lnTo>
                  <a:pt x="3420" y="354"/>
                </a:lnTo>
                <a:lnTo>
                  <a:pt x="3414" y="366"/>
                </a:lnTo>
                <a:lnTo>
                  <a:pt x="3414" y="396"/>
                </a:lnTo>
                <a:lnTo>
                  <a:pt x="3396" y="378"/>
                </a:lnTo>
                <a:lnTo>
                  <a:pt x="3384" y="372"/>
                </a:lnTo>
                <a:lnTo>
                  <a:pt x="3366" y="372"/>
                </a:lnTo>
                <a:lnTo>
                  <a:pt x="3354" y="384"/>
                </a:lnTo>
                <a:lnTo>
                  <a:pt x="3348" y="396"/>
                </a:lnTo>
                <a:lnTo>
                  <a:pt x="3330" y="414"/>
                </a:lnTo>
                <a:lnTo>
                  <a:pt x="3324" y="414"/>
                </a:lnTo>
                <a:lnTo>
                  <a:pt x="3300" y="366"/>
                </a:lnTo>
                <a:lnTo>
                  <a:pt x="3288" y="360"/>
                </a:lnTo>
                <a:lnTo>
                  <a:pt x="3258" y="360"/>
                </a:lnTo>
                <a:lnTo>
                  <a:pt x="3246" y="366"/>
                </a:lnTo>
                <a:lnTo>
                  <a:pt x="3240" y="372"/>
                </a:lnTo>
                <a:lnTo>
                  <a:pt x="3240" y="396"/>
                </a:lnTo>
                <a:lnTo>
                  <a:pt x="3246" y="408"/>
                </a:lnTo>
                <a:lnTo>
                  <a:pt x="3258" y="414"/>
                </a:lnTo>
                <a:lnTo>
                  <a:pt x="3264" y="420"/>
                </a:lnTo>
                <a:close/>
                <a:moveTo>
                  <a:pt x="3720" y="288"/>
                </a:moveTo>
                <a:lnTo>
                  <a:pt x="3726" y="288"/>
                </a:lnTo>
                <a:lnTo>
                  <a:pt x="3732" y="294"/>
                </a:lnTo>
                <a:lnTo>
                  <a:pt x="3738" y="306"/>
                </a:lnTo>
                <a:lnTo>
                  <a:pt x="3768" y="306"/>
                </a:lnTo>
                <a:lnTo>
                  <a:pt x="3780" y="300"/>
                </a:lnTo>
                <a:lnTo>
                  <a:pt x="3834" y="300"/>
                </a:lnTo>
                <a:lnTo>
                  <a:pt x="3834" y="294"/>
                </a:lnTo>
                <a:lnTo>
                  <a:pt x="3828" y="294"/>
                </a:lnTo>
                <a:lnTo>
                  <a:pt x="3822" y="288"/>
                </a:lnTo>
                <a:lnTo>
                  <a:pt x="3810" y="288"/>
                </a:lnTo>
                <a:lnTo>
                  <a:pt x="3804" y="282"/>
                </a:lnTo>
                <a:lnTo>
                  <a:pt x="3792" y="282"/>
                </a:lnTo>
                <a:lnTo>
                  <a:pt x="3804" y="270"/>
                </a:lnTo>
                <a:lnTo>
                  <a:pt x="3816" y="264"/>
                </a:lnTo>
                <a:lnTo>
                  <a:pt x="3822" y="264"/>
                </a:lnTo>
                <a:lnTo>
                  <a:pt x="3828" y="258"/>
                </a:lnTo>
                <a:lnTo>
                  <a:pt x="3822" y="258"/>
                </a:lnTo>
                <a:lnTo>
                  <a:pt x="3810" y="252"/>
                </a:lnTo>
                <a:lnTo>
                  <a:pt x="3738" y="228"/>
                </a:lnTo>
                <a:lnTo>
                  <a:pt x="3732" y="228"/>
                </a:lnTo>
                <a:lnTo>
                  <a:pt x="3726" y="234"/>
                </a:lnTo>
                <a:lnTo>
                  <a:pt x="3714" y="240"/>
                </a:lnTo>
                <a:lnTo>
                  <a:pt x="3702" y="240"/>
                </a:lnTo>
                <a:lnTo>
                  <a:pt x="3690" y="252"/>
                </a:lnTo>
                <a:lnTo>
                  <a:pt x="3690" y="258"/>
                </a:lnTo>
                <a:lnTo>
                  <a:pt x="3696" y="264"/>
                </a:lnTo>
                <a:lnTo>
                  <a:pt x="3702" y="276"/>
                </a:lnTo>
                <a:lnTo>
                  <a:pt x="3714" y="282"/>
                </a:lnTo>
                <a:lnTo>
                  <a:pt x="3720" y="288"/>
                </a:lnTo>
                <a:close/>
                <a:moveTo>
                  <a:pt x="3288" y="504"/>
                </a:moveTo>
                <a:lnTo>
                  <a:pt x="3270" y="504"/>
                </a:lnTo>
                <a:lnTo>
                  <a:pt x="3234" y="510"/>
                </a:lnTo>
                <a:lnTo>
                  <a:pt x="3186" y="516"/>
                </a:lnTo>
                <a:lnTo>
                  <a:pt x="3144" y="528"/>
                </a:lnTo>
                <a:lnTo>
                  <a:pt x="3132" y="534"/>
                </a:lnTo>
                <a:lnTo>
                  <a:pt x="3126" y="540"/>
                </a:lnTo>
                <a:lnTo>
                  <a:pt x="3132" y="540"/>
                </a:lnTo>
                <a:lnTo>
                  <a:pt x="3150" y="558"/>
                </a:lnTo>
                <a:lnTo>
                  <a:pt x="3156" y="570"/>
                </a:lnTo>
                <a:lnTo>
                  <a:pt x="3156" y="576"/>
                </a:lnTo>
                <a:lnTo>
                  <a:pt x="3138" y="582"/>
                </a:lnTo>
                <a:lnTo>
                  <a:pt x="3120" y="570"/>
                </a:lnTo>
                <a:lnTo>
                  <a:pt x="3090" y="564"/>
                </a:lnTo>
                <a:lnTo>
                  <a:pt x="3048" y="570"/>
                </a:lnTo>
                <a:lnTo>
                  <a:pt x="3066" y="606"/>
                </a:lnTo>
                <a:lnTo>
                  <a:pt x="3072" y="612"/>
                </a:lnTo>
                <a:lnTo>
                  <a:pt x="3084" y="618"/>
                </a:lnTo>
                <a:lnTo>
                  <a:pt x="3102" y="624"/>
                </a:lnTo>
                <a:lnTo>
                  <a:pt x="3114" y="630"/>
                </a:lnTo>
                <a:lnTo>
                  <a:pt x="3120" y="642"/>
                </a:lnTo>
                <a:lnTo>
                  <a:pt x="3120" y="654"/>
                </a:lnTo>
                <a:lnTo>
                  <a:pt x="3126" y="666"/>
                </a:lnTo>
                <a:lnTo>
                  <a:pt x="3126" y="678"/>
                </a:lnTo>
                <a:lnTo>
                  <a:pt x="3144" y="678"/>
                </a:lnTo>
                <a:lnTo>
                  <a:pt x="3228" y="666"/>
                </a:lnTo>
                <a:lnTo>
                  <a:pt x="3264" y="660"/>
                </a:lnTo>
                <a:lnTo>
                  <a:pt x="3276" y="654"/>
                </a:lnTo>
                <a:lnTo>
                  <a:pt x="3282" y="642"/>
                </a:lnTo>
                <a:lnTo>
                  <a:pt x="3288" y="624"/>
                </a:lnTo>
                <a:lnTo>
                  <a:pt x="3300" y="600"/>
                </a:lnTo>
                <a:lnTo>
                  <a:pt x="3300" y="588"/>
                </a:lnTo>
                <a:lnTo>
                  <a:pt x="3228" y="576"/>
                </a:lnTo>
                <a:lnTo>
                  <a:pt x="3240" y="570"/>
                </a:lnTo>
                <a:lnTo>
                  <a:pt x="3348" y="534"/>
                </a:lnTo>
                <a:lnTo>
                  <a:pt x="3360" y="528"/>
                </a:lnTo>
                <a:lnTo>
                  <a:pt x="3354" y="522"/>
                </a:lnTo>
                <a:lnTo>
                  <a:pt x="3342" y="516"/>
                </a:lnTo>
                <a:lnTo>
                  <a:pt x="3324" y="510"/>
                </a:lnTo>
                <a:lnTo>
                  <a:pt x="3312" y="510"/>
                </a:lnTo>
                <a:lnTo>
                  <a:pt x="3300" y="504"/>
                </a:lnTo>
                <a:lnTo>
                  <a:pt x="3288" y="504"/>
                </a:lnTo>
                <a:close/>
                <a:moveTo>
                  <a:pt x="2898" y="744"/>
                </a:moveTo>
                <a:lnTo>
                  <a:pt x="2880" y="738"/>
                </a:lnTo>
                <a:lnTo>
                  <a:pt x="2796" y="738"/>
                </a:lnTo>
                <a:lnTo>
                  <a:pt x="2874" y="696"/>
                </a:lnTo>
                <a:lnTo>
                  <a:pt x="2880" y="684"/>
                </a:lnTo>
                <a:lnTo>
                  <a:pt x="2886" y="654"/>
                </a:lnTo>
                <a:lnTo>
                  <a:pt x="2898" y="624"/>
                </a:lnTo>
                <a:lnTo>
                  <a:pt x="2898" y="588"/>
                </a:lnTo>
                <a:lnTo>
                  <a:pt x="2880" y="570"/>
                </a:lnTo>
                <a:lnTo>
                  <a:pt x="2850" y="570"/>
                </a:lnTo>
                <a:lnTo>
                  <a:pt x="2814" y="576"/>
                </a:lnTo>
                <a:lnTo>
                  <a:pt x="2796" y="582"/>
                </a:lnTo>
                <a:lnTo>
                  <a:pt x="2784" y="588"/>
                </a:lnTo>
                <a:lnTo>
                  <a:pt x="2784" y="594"/>
                </a:lnTo>
                <a:lnTo>
                  <a:pt x="2766" y="612"/>
                </a:lnTo>
                <a:lnTo>
                  <a:pt x="2760" y="630"/>
                </a:lnTo>
                <a:lnTo>
                  <a:pt x="2736" y="654"/>
                </a:lnTo>
                <a:lnTo>
                  <a:pt x="2718" y="666"/>
                </a:lnTo>
                <a:lnTo>
                  <a:pt x="2706" y="672"/>
                </a:lnTo>
                <a:lnTo>
                  <a:pt x="2700" y="672"/>
                </a:lnTo>
                <a:lnTo>
                  <a:pt x="2694" y="666"/>
                </a:lnTo>
                <a:lnTo>
                  <a:pt x="2694" y="660"/>
                </a:lnTo>
                <a:lnTo>
                  <a:pt x="2700" y="654"/>
                </a:lnTo>
                <a:lnTo>
                  <a:pt x="2706" y="642"/>
                </a:lnTo>
                <a:lnTo>
                  <a:pt x="2712" y="636"/>
                </a:lnTo>
                <a:lnTo>
                  <a:pt x="2718" y="624"/>
                </a:lnTo>
                <a:lnTo>
                  <a:pt x="2718" y="612"/>
                </a:lnTo>
                <a:lnTo>
                  <a:pt x="2724" y="606"/>
                </a:lnTo>
                <a:lnTo>
                  <a:pt x="2724" y="600"/>
                </a:lnTo>
                <a:lnTo>
                  <a:pt x="2706" y="594"/>
                </a:lnTo>
                <a:lnTo>
                  <a:pt x="2676" y="588"/>
                </a:lnTo>
                <a:lnTo>
                  <a:pt x="2628" y="588"/>
                </a:lnTo>
                <a:lnTo>
                  <a:pt x="2622" y="606"/>
                </a:lnTo>
                <a:lnTo>
                  <a:pt x="2610" y="612"/>
                </a:lnTo>
                <a:lnTo>
                  <a:pt x="2586" y="618"/>
                </a:lnTo>
                <a:lnTo>
                  <a:pt x="2550" y="624"/>
                </a:lnTo>
                <a:lnTo>
                  <a:pt x="2508" y="630"/>
                </a:lnTo>
                <a:lnTo>
                  <a:pt x="2490" y="630"/>
                </a:lnTo>
                <a:lnTo>
                  <a:pt x="2496" y="624"/>
                </a:lnTo>
                <a:lnTo>
                  <a:pt x="2508" y="618"/>
                </a:lnTo>
                <a:lnTo>
                  <a:pt x="2520" y="618"/>
                </a:lnTo>
                <a:lnTo>
                  <a:pt x="2538" y="612"/>
                </a:lnTo>
                <a:lnTo>
                  <a:pt x="2550" y="606"/>
                </a:lnTo>
                <a:lnTo>
                  <a:pt x="2586" y="594"/>
                </a:lnTo>
                <a:lnTo>
                  <a:pt x="2598" y="588"/>
                </a:lnTo>
                <a:lnTo>
                  <a:pt x="2604" y="588"/>
                </a:lnTo>
                <a:lnTo>
                  <a:pt x="2604" y="582"/>
                </a:lnTo>
                <a:lnTo>
                  <a:pt x="2592" y="576"/>
                </a:lnTo>
                <a:lnTo>
                  <a:pt x="2556" y="576"/>
                </a:lnTo>
                <a:lnTo>
                  <a:pt x="2496" y="594"/>
                </a:lnTo>
                <a:lnTo>
                  <a:pt x="2460" y="600"/>
                </a:lnTo>
                <a:lnTo>
                  <a:pt x="2466" y="594"/>
                </a:lnTo>
                <a:lnTo>
                  <a:pt x="2478" y="588"/>
                </a:lnTo>
                <a:lnTo>
                  <a:pt x="2490" y="576"/>
                </a:lnTo>
                <a:lnTo>
                  <a:pt x="2502" y="570"/>
                </a:lnTo>
                <a:lnTo>
                  <a:pt x="2514" y="558"/>
                </a:lnTo>
                <a:lnTo>
                  <a:pt x="2508" y="558"/>
                </a:lnTo>
                <a:lnTo>
                  <a:pt x="2508" y="552"/>
                </a:lnTo>
                <a:lnTo>
                  <a:pt x="2496" y="552"/>
                </a:lnTo>
                <a:lnTo>
                  <a:pt x="2346" y="600"/>
                </a:lnTo>
                <a:lnTo>
                  <a:pt x="2328" y="600"/>
                </a:lnTo>
                <a:lnTo>
                  <a:pt x="2244" y="624"/>
                </a:lnTo>
                <a:lnTo>
                  <a:pt x="2250" y="642"/>
                </a:lnTo>
                <a:lnTo>
                  <a:pt x="2190" y="660"/>
                </a:lnTo>
                <a:lnTo>
                  <a:pt x="2172" y="678"/>
                </a:lnTo>
                <a:lnTo>
                  <a:pt x="2202" y="690"/>
                </a:lnTo>
                <a:lnTo>
                  <a:pt x="2208" y="684"/>
                </a:lnTo>
                <a:lnTo>
                  <a:pt x="2220" y="678"/>
                </a:lnTo>
                <a:lnTo>
                  <a:pt x="2238" y="678"/>
                </a:lnTo>
                <a:lnTo>
                  <a:pt x="2244" y="684"/>
                </a:lnTo>
                <a:lnTo>
                  <a:pt x="2244" y="690"/>
                </a:lnTo>
                <a:lnTo>
                  <a:pt x="2238" y="696"/>
                </a:lnTo>
                <a:lnTo>
                  <a:pt x="2226" y="696"/>
                </a:lnTo>
                <a:lnTo>
                  <a:pt x="2208" y="702"/>
                </a:lnTo>
                <a:lnTo>
                  <a:pt x="2196" y="702"/>
                </a:lnTo>
                <a:lnTo>
                  <a:pt x="2160" y="720"/>
                </a:lnTo>
                <a:lnTo>
                  <a:pt x="2166" y="732"/>
                </a:lnTo>
                <a:lnTo>
                  <a:pt x="2196" y="732"/>
                </a:lnTo>
                <a:lnTo>
                  <a:pt x="2238" y="738"/>
                </a:lnTo>
                <a:lnTo>
                  <a:pt x="2322" y="738"/>
                </a:lnTo>
                <a:lnTo>
                  <a:pt x="2352" y="744"/>
                </a:lnTo>
                <a:lnTo>
                  <a:pt x="2352" y="750"/>
                </a:lnTo>
                <a:lnTo>
                  <a:pt x="2322" y="762"/>
                </a:lnTo>
                <a:lnTo>
                  <a:pt x="2280" y="762"/>
                </a:lnTo>
                <a:lnTo>
                  <a:pt x="2172" y="774"/>
                </a:lnTo>
                <a:lnTo>
                  <a:pt x="2136" y="774"/>
                </a:lnTo>
                <a:lnTo>
                  <a:pt x="2112" y="786"/>
                </a:lnTo>
                <a:lnTo>
                  <a:pt x="2106" y="792"/>
                </a:lnTo>
                <a:lnTo>
                  <a:pt x="2118" y="804"/>
                </a:lnTo>
                <a:lnTo>
                  <a:pt x="2130" y="810"/>
                </a:lnTo>
                <a:lnTo>
                  <a:pt x="2148" y="810"/>
                </a:lnTo>
                <a:lnTo>
                  <a:pt x="2160" y="816"/>
                </a:lnTo>
                <a:lnTo>
                  <a:pt x="2178" y="822"/>
                </a:lnTo>
                <a:lnTo>
                  <a:pt x="2190" y="828"/>
                </a:lnTo>
                <a:lnTo>
                  <a:pt x="2190" y="834"/>
                </a:lnTo>
                <a:lnTo>
                  <a:pt x="2184" y="840"/>
                </a:lnTo>
                <a:lnTo>
                  <a:pt x="2172" y="840"/>
                </a:lnTo>
                <a:lnTo>
                  <a:pt x="2154" y="858"/>
                </a:lnTo>
                <a:lnTo>
                  <a:pt x="2166" y="870"/>
                </a:lnTo>
                <a:lnTo>
                  <a:pt x="2322" y="870"/>
                </a:lnTo>
                <a:lnTo>
                  <a:pt x="2370" y="864"/>
                </a:lnTo>
                <a:lnTo>
                  <a:pt x="2436" y="858"/>
                </a:lnTo>
                <a:lnTo>
                  <a:pt x="2508" y="846"/>
                </a:lnTo>
                <a:lnTo>
                  <a:pt x="2574" y="840"/>
                </a:lnTo>
                <a:lnTo>
                  <a:pt x="2616" y="828"/>
                </a:lnTo>
                <a:lnTo>
                  <a:pt x="2652" y="828"/>
                </a:lnTo>
                <a:lnTo>
                  <a:pt x="2736" y="864"/>
                </a:lnTo>
                <a:lnTo>
                  <a:pt x="2778" y="876"/>
                </a:lnTo>
                <a:lnTo>
                  <a:pt x="2796" y="876"/>
                </a:lnTo>
                <a:lnTo>
                  <a:pt x="2814" y="870"/>
                </a:lnTo>
                <a:lnTo>
                  <a:pt x="2832" y="852"/>
                </a:lnTo>
                <a:lnTo>
                  <a:pt x="2838" y="840"/>
                </a:lnTo>
                <a:lnTo>
                  <a:pt x="2844" y="834"/>
                </a:lnTo>
                <a:lnTo>
                  <a:pt x="2844" y="822"/>
                </a:lnTo>
                <a:lnTo>
                  <a:pt x="2766" y="822"/>
                </a:lnTo>
                <a:lnTo>
                  <a:pt x="2802" y="798"/>
                </a:lnTo>
                <a:lnTo>
                  <a:pt x="2850" y="798"/>
                </a:lnTo>
                <a:lnTo>
                  <a:pt x="2898" y="792"/>
                </a:lnTo>
                <a:lnTo>
                  <a:pt x="2910" y="786"/>
                </a:lnTo>
                <a:lnTo>
                  <a:pt x="2916" y="786"/>
                </a:lnTo>
                <a:lnTo>
                  <a:pt x="2922" y="780"/>
                </a:lnTo>
                <a:lnTo>
                  <a:pt x="2916" y="768"/>
                </a:lnTo>
                <a:lnTo>
                  <a:pt x="2898" y="750"/>
                </a:lnTo>
                <a:lnTo>
                  <a:pt x="2898" y="744"/>
                </a:lnTo>
                <a:close/>
                <a:moveTo>
                  <a:pt x="2868" y="882"/>
                </a:moveTo>
                <a:lnTo>
                  <a:pt x="2886" y="882"/>
                </a:lnTo>
                <a:lnTo>
                  <a:pt x="2904" y="876"/>
                </a:lnTo>
                <a:lnTo>
                  <a:pt x="2910" y="870"/>
                </a:lnTo>
                <a:lnTo>
                  <a:pt x="2910" y="864"/>
                </a:lnTo>
                <a:lnTo>
                  <a:pt x="2904" y="858"/>
                </a:lnTo>
                <a:lnTo>
                  <a:pt x="2880" y="858"/>
                </a:lnTo>
                <a:lnTo>
                  <a:pt x="2868" y="870"/>
                </a:lnTo>
                <a:lnTo>
                  <a:pt x="2868" y="882"/>
                </a:lnTo>
                <a:close/>
                <a:moveTo>
                  <a:pt x="3276" y="330"/>
                </a:moveTo>
                <a:lnTo>
                  <a:pt x="3288" y="330"/>
                </a:lnTo>
                <a:lnTo>
                  <a:pt x="3294" y="324"/>
                </a:lnTo>
                <a:lnTo>
                  <a:pt x="3300" y="312"/>
                </a:lnTo>
                <a:lnTo>
                  <a:pt x="3300" y="306"/>
                </a:lnTo>
                <a:lnTo>
                  <a:pt x="3294" y="294"/>
                </a:lnTo>
                <a:lnTo>
                  <a:pt x="3288" y="288"/>
                </a:lnTo>
                <a:lnTo>
                  <a:pt x="3276" y="288"/>
                </a:lnTo>
                <a:lnTo>
                  <a:pt x="3270" y="300"/>
                </a:lnTo>
                <a:lnTo>
                  <a:pt x="3264" y="306"/>
                </a:lnTo>
                <a:lnTo>
                  <a:pt x="3264" y="324"/>
                </a:lnTo>
                <a:lnTo>
                  <a:pt x="3270" y="330"/>
                </a:lnTo>
                <a:lnTo>
                  <a:pt x="3276" y="330"/>
                </a:lnTo>
                <a:close/>
                <a:moveTo>
                  <a:pt x="3462" y="228"/>
                </a:moveTo>
                <a:lnTo>
                  <a:pt x="3450" y="240"/>
                </a:lnTo>
                <a:lnTo>
                  <a:pt x="3450" y="252"/>
                </a:lnTo>
                <a:lnTo>
                  <a:pt x="3456" y="258"/>
                </a:lnTo>
                <a:lnTo>
                  <a:pt x="3528" y="258"/>
                </a:lnTo>
                <a:lnTo>
                  <a:pt x="3546" y="276"/>
                </a:lnTo>
                <a:lnTo>
                  <a:pt x="3558" y="282"/>
                </a:lnTo>
                <a:lnTo>
                  <a:pt x="3588" y="282"/>
                </a:lnTo>
                <a:lnTo>
                  <a:pt x="3612" y="270"/>
                </a:lnTo>
                <a:lnTo>
                  <a:pt x="3618" y="264"/>
                </a:lnTo>
                <a:lnTo>
                  <a:pt x="3606" y="252"/>
                </a:lnTo>
                <a:lnTo>
                  <a:pt x="3636" y="246"/>
                </a:lnTo>
                <a:lnTo>
                  <a:pt x="3594" y="210"/>
                </a:lnTo>
                <a:lnTo>
                  <a:pt x="3552" y="216"/>
                </a:lnTo>
                <a:lnTo>
                  <a:pt x="3534" y="198"/>
                </a:lnTo>
                <a:lnTo>
                  <a:pt x="3450" y="198"/>
                </a:lnTo>
                <a:lnTo>
                  <a:pt x="3438" y="204"/>
                </a:lnTo>
                <a:lnTo>
                  <a:pt x="3426" y="204"/>
                </a:lnTo>
                <a:lnTo>
                  <a:pt x="3420" y="210"/>
                </a:lnTo>
                <a:lnTo>
                  <a:pt x="3438" y="228"/>
                </a:lnTo>
                <a:lnTo>
                  <a:pt x="3462" y="228"/>
                </a:lnTo>
                <a:close/>
                <a:moveTo>
                  <a:pt x="3432" y="1302"/>
                </a:moveTo>
                <a:lnTo>
                  <a:pt x="3408" y="1326"/>
                </a:lnTo>
                <a:lnTo>
                  <a:pt x="3408" y="1344"/>
                </a:lnTo>
                <a:lnTo>
                  <a:pt x="3438" y="1344"/>
                </a:lnTo>
                <a:lnTo>
                  <a:pt x="3462" y="1332"/>
                </a:lnTo>
                <a:lnTo>
                  <a:pt x="3468" y="1332"/>
                </a:lnTo>
                <a:lnTo>
                  <a:pt x="3480" y="1326"/>
                </a:lnTo>
                <a:lnTo>
                  <a:pt x="3486" y="1326"/>
                </a:lnTo>
                <a:lnTo>
                  <a:pt x="3504" y="1308"/>
                </a:lnTo>
                <a:lnTo>
                  <a:pt x="3516" y="1290"/>
                </a:lnTo>
                <a:lnTo>
                  <a:pt x="3516" y="1266"/>
                </a:lnTo>
                <a:lnTo>
                  <a:pt x="3510" y="1260"/>
                </a:lnTo>
                <a:lnTo>
                  <a:pt x="3498" y="1260"/>
                </a:lnTo>
                <a:lnTo>
                  <a:pt x="3480" y="1266"/>
                </a:lnTo>
                <a:lnTo>
                  <a:pt x="3432" y="1302"/>
                </a:lnTo>
                <a:close/>
                <a:moveTo>
                  <a:pt x="4416" y="1392"/>
                </a:moveTo>
                <a:lnTo>
                  <a:pt x="4428" y="1380"/>
                </a:lnTo>
                <a:lnTo>
                  <a:pt x="4428" y="1374"/>
                </a:lnTo>
                <a:lnTo>
                  <a:pt x="4386" y="1374"/>
                </a:lnTo>
                <a:lnTo>
                  <a:pt x="4386" y="1380"/>
                </a:lnTo>
                <a:lnTo>
                  <a:pt x="4404" y="1398"/>
                </a:lnTo>
                <a:lnTo>
                  <a:pt x="4416" y="1392"/>
                </a:lnTo>
                <a:close/>
                <a:moveTo>
                  <a:pt x="3120" y="2034"/>
                </a:moveTo>
                <a:lnTo>
                  <a:pt x="3132" y="2034"/>
                </a:lnTo>
                <a:lnTo>
                  <a:pt x="3138" y="2028"/>
                </a:lnTo>
                <a:lnTo>
                  <a:pt x="3132" y="2022"/>
                </a:lnTo>
                <a:lnTo>
                  <a:pt x="3120" y="2016"/>
                </a:lnTo>
                <a:lnTo>
                  <a:pt x="3114" y="2010"/>
                </a:lnTo>
                <a:lnTo>
                  <a:pt x="3108" y="2010"/>
                </a:lnTo>
                <a:lnTo>
                  <a:pt x="3090" y="2016"/>
                </a:lnTo>
                <a:lnTo>
                  <a:pt x="3078" y="2022"/>
                </a:lnTo>
                <a:lnTo>
                  <a:pt x="3072" y="2022"/>
                </a:lnTo>
                <a:lnTo>
                  <a:pt x="3072" y="2028"/>
                </a:lnTo>
                <a:lnTo>
                  <a:pt x="3078" y="2034"/>
                </a:lnTo>
                <a:lnTo>
                  <a:pt x="3120" y="2034"/>
                </a:lnTo>
                <a:close/>
                <a:moveTo>
                  <a:pt x="4758" y="996"/>
                </a:moveTo>
                <a:lnTo>
                  <a:pt x="4746" y="996"/>
                </a:lnTo>
                <a:lnTo>
                  <a:pt x="4734" y="984"/>
                </a:lnTo>
                <a:lnTo>
                  <a:pt x="4704" y="1008"/>
                </a:lnTo>
                <a:lnTo>
                  <a:pt x="4704" y="978"/>
                </a:lnTo>
                <a:lnTo>
                  <a:pt x="4662" y="978"/>
                </a:lnTo>
                <a:lnTo>
                  <a:pt x="4668" y="978"/>
                </a:lnTo>
                <a:lnTo>
                  <a:pt x="4674" y="972"/>
                </a:lnTo>
                <a:lnTo>
                  <a:pt x="4686" y="972"/>
                </a:lnTo>
                <a:lnTo>
                  <a:pt x="4698" y="966"/>
                </a:lnTo>
                <a:lnTo>
                  <a:pt x="4704" y="954"/>
                </a:lnTo>
                <a:lnTo>
                  <a:pt x="4704" y="948"/>
                </a:lnTo>
                <a:lnTo>
                  <a:pt x="4698" y="942"/>
                </a:lnTo>
                <a:lnTo>
                  <a:pt x="4680" y="942"/>
                </a:lnTo>
                <a:lnTo>
                  <a:pt x="4668" y="936"/>
                </a:lnTo>
                <a:lnTo>
                  <a:pt x="4650" y="936"/>
                </a:lnTo>
                <a:lnTo>
                  <a:pt x="4632" y="930"/>
                </a:lnTo>
                <a:lnTo>
                  <a:pt x="4620" y="930"/>
                </a:lnTo>
                <a:lnTo>
                  <a:pt x="4614" y="918"/>
                </a:lnTo>
                <a:lnTo>
                  <a:pt x="4566" y="912"/>
                </a:lnTo>
                <a:lnTo>
                  <a:pt x="4500" y="870"/>
                </a:lnTo>
                <a:lnTo>
                  <a:pt x="4566" y="864"/>
                </a:lnTo>
                <a:lnTo>
                  <a:pt x="4536" y="840"/>
                </a:lnTo>
                <a:lnTo>
                  <a:pt x="4542" y="840"/>
                </a:lnTo>
                <a:lnTo>
                  <a:pt x="4548" y="834"/>
                </a:lnTo>
                <a:lnTo>
                  <a:pt x="4584" y="834"/>
                </a:lnTo>
                <a:lnTo>
                  <a:pt x="4596" y="840"/>
                </a:lnTo>
                <a:lnTo>
                  <a:pt x="4638" y="840"/>
                </a:lnTo>
                <a:lnTo>
                  <a:pt x="4638" y="834"/>
                </a:lnTo>
                <a:lnTo>
                  <a:pt x="4632" y="828"/>
                </a:lnTo>
                <a:lnTo>
                  <a:pt x="4614" y="822"/>
                </a:lnTo>
                <a:lnTo>
                  <a:pt x="4596" y="822"/>
                </a:lnTo>
                <a:lnTo>
                  <a:pt x="4578" y="816"/>
                </a:lnTo>
                <a:lnTo>
                  <a:pt x="4518" y="816"/>
                </a:lnTo>
                <a:lnTo>
                  <a:pt x="4536" y="816"/>
                </a:lnTo>
                <a:lnTo>
                  <a:pt x="4620" y="804"/>
                </a:lnTo>
                <a:lnTo>
                  <a:pt x="4638" y="798"/>
                </a:lnTo>
                <a:lnTo>
                  <a:pt x="4638" y="792"/>
                </a:lnTo>
                <a:lnTo>
                  <a:pt x="4632" y="792"/>
                </a:lnTo>
                <a:lnTo>
                  <a:pt x="4626" y="786"/>
                </a:lnTo>
                <a:lnTo>
                  <a:pt x="4608" y="786"/>
                </a:lnTo>
                <a:lnTo>
                  <a:pt x="4500" y="798"/>
                </a:lnTo>
                <a:lnTo>
                  <a:pt x="4560" y="762"/>
                </a:lnTo>
                <a:lnTo>
                  <a:pt x="4620" y="762"/>
                </a:lnTo>
                <a:lnTo>
                  <a:pt x="4626" y="756"/>
                </a:lnTo>
                <a:lnTo>
                  <a:pt x="4620" y="750"/>
                </a:lnTo>
                <a:lnTo>
                  <a:pt x="4584" y="738"/>
                </a:lnTo>
                <a:lnTo>
                  <a:pt x="4572" y="732"/>
                </a:lnTo>
                <a:lnTo>
                  <a:pt x="4554" y="732"/>
                </a:lnTo>
                <a:lnTo>
                  <a:pt x="4518" y="750"/>
                </a:lnTo>
                <a:lnTo>
                  <a:pt x="4500" y="744"/>
                </a:lnTo>
                <a:lnTo>
                  <a:pt x="4458" y="774"/>
                </a:lnTo>
                <a:lnTo>
                  <a:pt x="4464" y="756"/>
                </a:lnTo>
                <a:lnTo>
                  <a:pt x="4440" y="774"/>
                </a:lnTo>
                <a:lnTo>
                  <a:pt x="4464" y="744"/>
                </a:lnTo>
                <a:lnTo>
                  <a:pt x="4500" y="744"/>
                </a:lnTo>
                <a:lnTo>
                  <a:pt x="4506" y="738"/>
                </a:lnTo>
                <a:lnTo>
                  <a:pt x="4518" y="714"/>
                </a:lnTo>
                <a:lnTo>
                  <a:pt x="4518" y="708"/>
                </a:lnTo>
                <a:lnTo>
                  <a:pt x="4512" y="702"/>
                </a:lnTo>
                <a:lnTo>
                  <a:pt x="4506" y="708"/>
                </a:lnTo>
                <a:lnTo>
                  <a:pt x="4494" y="714"/>
                </a:lnTo>
                <a:lnTo>
                  <a:pt x="4488" y="726"/>
                </a:lnTo>
                <a:lnTo>
                  <a:pt x="4452" y="726"/>
                </a:lnTo>
                <a:lnTo>
                  <a:pt x="4428" y="738"/>
                </a:lnTo>
                <a:lnTo>
                  <a:pt x="4452" y="708"/>
                </a:lnTo>
                <a:lnTo>
                  <a:pt x="4482" y="708"/>
                </a:lnTo>
                <a:lnTo>
                  <a:pt x="4494" y="702"/>
                </a:lnTo>
                <a:lnTo>
                  <a:pt x="4500" y="702"/>
                </a:lnTo>
                <a:lnTo>
                  <a:pt x="4506" y="696"/>
                </a:lnTo>
                <a:lnTo>
                  <a:pt x="4506" y="690"/>
                </a:lnTo>
                <a:lnTo>
                  <a:pt x="4500" y="684"/>
                </a:lnTo>
                <a:lnTo>
                  <a:pt x="4458" y="684"/>
                </a:lnTo>
                <a:lnTo>
                  <a:pt x="4446" y="690"/>
                </a:lnTo>
                <a:lnTo>
                  <a:pt x="4428" y="696"/>
                </a:lnTo>
                <a:lnTo>
                  <a:pt x="4422" y="702"/>
                </a:lnTo>
                <a:lnTo>
                  <a:pt x="4416" y="702"/>
                </a:lnTo>
                <a:lnTo>
                  <a:pt x="4404" y="684"/>
                </a:lnTo>
                <a:lnTo>
                  <a:pt x="4380" y="702"/>
                </a:lnTo>
                <a:lnTo>
                  <a:pt x="4398" y="672"/>
                </a:lnTo>
                <a:lnTo>
                  <a:pt x="4344" y="696"/>
                </a:lnTo>
                <a:lnTo>
                  <a:pt x="4344" y="672"/>
                </a:lnTo>
                <a:lnTo>
                  <a:pt x="4350" y="672"/>
                </a:lnTo>
                <a:lnTo>
                  <a:pt x="4356" y="666"/>
                </a:lnTo>
                <a:lnTo>
                  <a:pt x="4368" y="666"/>
                </a:lnTo>
                <a:lnTo>
                  <a:pt x="4386" y="660"/>
                </a:lnTo>
                <a:lnTo>
                  <a:pt x="4392" y="660"/>
                </a:lnTo>
                <a:lnTo>
                  <a:pt x="4398" y="654"/>
                </a:lnTo>
                <a:lnTo>
                  <a:pt x="4356" y="654"/>
                </a:lnTo>
                <a:lnTo>
                  <a:pt x="4338" y="660"/>
                </a:lnTo>
                <a:lnTo>
                  <a:pt x="4326" y="660"/>
                </a:lnTo>
                <a:lnTo>
                  <a:pt x="4320" y="648"/>
                </a:lnTo>
                <a:lnTo>
                  <a:pt x="4332" y="648"/>
                </a:lnTo>
                <a:lnTo>
                  <a:pt x="4356" y="636"/>
                </a:lnTo>
                <a:lnTo>
                  <a:pt x="4368" y="636"/>
                </a:lnTo>
                <a:lnTo>
                  <a:pt x="4380" y="630"/>
                </a:lnTo>
                <a:lnTo>
                  <a:pt x="4386" y="624"/>
                </a:lnTo>
                <a:lnTo>
                  <a:pt x="4368" y="618"/>
                </a:lnTo>
                <a:lnTo>
                  <a:pt x="4326" y="612"/>
                </a:lnTo>
                <a:lnTo>
                  <a:pt x="4290" y="612"/>
                </a:lnTo>
                <a:lnTo>
                  <a:pt x="4266" y="606"/>
                </a:lnTo>
                <a:lnTo>
                  <a:pt x="4236" y="606"/>
                </a:lnTo>
                <a:lnTo>
                  <a:pt x="4230" y="612"/>
                </a:lnTo>
                <a:lnTo>
                  <a:pt x="4230" y="618"/>
                </a:lnTo>
                <a:lnTo>
                  <a:pt x="4236" y="624"/>
                </a:lnTo>
                <a:lnTo>
                  <a:pt x="4242" y="636"/>
                </a:lnTo>
                <a:lnTo>
                  <a:pt x="4206" y="630"/>
                </a:lnTo>
                <a:lnTo>
                  <a:pt x="4212" y="660"/>
                </a:lnTo>
                <a:lnTo>
                  <a:pt x="4194" y="636"/>
                </a:lnTo>
                <a:lnTo>
                  <a:pt x="4152" y="660"/>
                </a:lnTo>
                <a:lnTo>
                  <a:pt x="4158" y="654"/>
                </a:lnTo>
                <a:lnTo>
                  <a:pt x="4158" y="636"/>
                </a:lnTo>
                <a:lnTo>
                  <a:pt x="4152" y="630"/>
                </a:lnTo>
                <a:lnTo>
                  <a:pt x="4140" y="630"/>
                </a:lnTo>
                <a:lnTo>
                  <a:pt x="4122" y="636"/>
                </a:lnTo>
                <a:lnTo>
                  <a:pt x="4110" y="642"/>
                </a:lnTo>
                <a:lnTo>
                  <a:pt x="4098" y="642"/>
                </a:lnTo>
                <a:lnTo>
                  <a:pt x="4086" y="648"/>
                </a:lnTo>
                <a:lnTo>
                  <a:pt x="4080" y="654"/>
                </a:lnTo>
                <a:lnTo>
                  <a:pt x="4074" y="654"/>
                </a:lnTo>
                <a:lnTo>
                  <a:pt x="4092" y="618"/>
                </a:lnTo>
                <a:lnTo>
                  <a:pt x="4110" y="618"/>
                </a:lnTo>
                <a:lnTo>
                  <a:pt x="4122" y="612"/>
                </a:lnTo>
                <a:lnTo>
                  <a:pt x="4134" y="612"/>
                </a:lnTo>
                <a:lnTo>
                  <a:pt x="4146" y="606"/>
                </a:lnTo>
                <a:lnTo>
                  <a:pt x="4152" y="600"/>
                </a:lnTo>
                <a:lnTo>
                  <a:pt x="4152" y="594"/>
                </a:lnTo>
                <a:lnTo>
                  <a:pt x="4146" y="582"/>
                </a:lnTo>
                <a:lnTo>
                  <a:pt x="4134" y="570"/>
                </a:lnTo>
                <a:lnTo>
                  <a:pt x="4152" y="552"/>
                </a:lnTo>
                <a:lnTo>
                  <a:pt x="4152" y="540"/>
                </a:lnTo>
                <a:lnTo>
                  <a:pt x="4050" y="540"/>
                </a:lnTo>
                <a:lnTo>
                  <a:pt x="4026" y="558"/>
                </a:lnTo>
                <a:lnTo>
                  <a:pt x="3942" y="558"/>
                </a:lnTo>
                <a:lnTo>
                  <a:pt x="3948" y="576"/>
                </a:lnTo>
                <a:lnTo>
                  <a:pt x="3978" y="588"/>
                </a:lnTo>
                <a:lnTo>
                  <a:pt x="3936" y="576"/>
                </a:lnTo>
                <a:lnTo>
                  <a:pt x="3948" y="600"/>
                </a:lnTo>
                <a:lnTo>
                  <a:pt x="3936" y="594"/>
                </a:lnTo>
                <a:lnTo>
                  <a:pt x="3930" y="594"/>
                </a:lnTo>
                <a:lnTo>
                  <a:pt x="3918" y="588"/>
                </a:lnTo>
                <a:lnTo>
                  <a:pt x="3894" y="588"/>
                </a:lnTo>
                <a:lnTo>
                  <a:pt x="3882" y="594"/>
                </a:lnTo>
                <a:lnTo>
                  <a:pt x="3876" y="606"/>
                </a:lnTo>
                <a:lnTo>
                  <a:pt x="3882" y="612"/>
                </a:lnTo>
                <a:lnTo>
                  <a:pt x="3888" y="624"/>
                </a:lnTo>
                <a:lnTo>
                  <a:pt x="3894" y="630"/>
                </a:lnTo>
                <a:lnTo>
                  <a:pt x="3900" y="660"/>
                </a:lnTo>
                <a:lnTo>
                  <a:pt x="3894" y="660"/>
                </a:lnTo>
                <a:lnTo>
                  <a:pt x="3888" y="654"/>
                </a:lnTo>
                <a:lnTo>
                  <a:pt x="3864" y="642"/>
                </a:lnTo>
                <a:lnTo>
                  <a:pt x="3852" y="642"/>
                </a:lnTo>
                <a:lnTo>
                  <a:pt x="3828" y="666"/>
                </a:lnTo>
                <a:lnTo>
                  <a:pt x="3828" y="678"/>
                </a:lnTo>
                <a:lnTo>
                  <a:pt x="3846" y="678"/>
                </a:lnTo>
                <a:lnTo>
                  <a:pt x="3858" y="690"/>
                </a:lnTo>
                <a:lnTo>
                  <a:pt x="3810" y="714"/>
                </a:lnTo>
                <a:lnTo>
                  <a:pt x="3750" y="720"/>
                </a:lnTo>
                <a:lnTo>
                  <a:pt x="3762" y="720"/>
                </a:lnTo>
                <a:lnTo>
                  <a:pt x="3798" y="702"/>
                </a:lnTo>
                <a:lnTo>
                  <a:pt x="3810" y="690"/>
                </a:lnTo>
                <a:lnTo>
                  <a:pt x="3810" y="684"/>
                </a:lnTo>
                <a:lnTo>
                  <a:pt x="3804" y="684"/>
                </a:lnTo>
                <a:lnTo>
                  <a:pt x="3792" y="672"/>
                </a:lnTo>
                <a:lnTo>
                  <a:pt x="3786" y="672"/>
                </a:lnTo>
                <a:lnTo>
                  <a:pt x="3786" y="660"/>
                </a:lnTo>
                <a:lnTo>
                  <a:pt x="3804" y="642"/>
                </a:lnTo>
                <a:lnTo>
                  <a:pt x="3816" y="636"/>
                </a:lnTo>
                <a:lnTo>
                  <a:pt x="3828" y="636"/>
                </a:lnTo>
                <a:lnTo>
                  <a:pt x="3828" y="606"/>
                </a:lnTo>
                <a:lnTo>
                  <a:pt x="3840" y="600"/>
                </a:lnTo>
                <a:lnTo>
                  <a:pt x="3858" y="582"/>
                </a:lnTo>
                <a:lnTo>
                  <a:pt x="3876" y="576"/>
                </a:lnTo>
                <a:lnTo>
                  <a:pt x="3882" y="570"/>
                </a:lnTo>
                <a:lnTo>
                  <a:pt x="3894" y="564"/>
                </a:lnTo>
                <a:lnTo>
                  <a:pt x="3906" y="564"/>
                </a:lnTo>
                <a:lnTo>
                  <a:pt x="3918" y="558"/>
                </a:lnTo>
                <a:lnTo>
                  <a:pt x="3936" y="552"/>
                </a:lnTo>
                <a:lnTo>
                  <a:pt x="3954" y="552"/>
                </a:lnTo>
                <a:lnTo>
                  <a:pt x="3966" y="546"/>
                </a:lnTo>
                <a:lnTo>
                  <a:pt x="3972" y="540"/>
                </a:lnTo>
                <a:lnTo>
                  <a:pt x="3942" y="534"/>
                </a:lnTo>
                <a:lnTo>
                  <a:pt x="3852" y="534"/>
                </a:lnTo>
                <a:lnTo>
                  <a:pt x="3822" y="540"/>
                </a:lnTo>
                <a:lnTo>
                  <a:pt x="3786" y="558"/>
                </a:lnTo>
                <a:lnTo>
                  <a:pt x="3744" y="576"/>
                </a:lnTo>
                <a:lnTo>
                  <a:pt x="3720" y="594"/>
                </a:lnTo>
                <a:lnTo>
                  <a:pt x="3708" y="600"/>
                </a:lnTo>
                <a:lnTo>
                  <a:pt x="3702" y="600"/>
                </a:lnTo>
                <a:lnTo>
                  <a:pt x="3696" y="606"/>
                </a:lnTo>
                <a:lnTo>
                  <a:pt x="3684" y="606"/>
                </a:lnTo>
                <a:lnTo>
                  <a:pt x="3660" y="618"/>
                </a:lnTo>
                <a:lnTo>
                  <a:pt x="3654" y="618"/>
                </a:lnTo>
                <a:lnTo>
                  <a:pt x="3642" y="624"/>
                </a:lnTo>
                <a:lnTo>
                  <a:pt x="3630" y="636"/>
                </a:lnTo>
                <a:lnTo>
                  <a:pt x="3618" y="642"/>
                </a:lnTo>
                <a:lnTo>
                  <a:pt x="3600" y="660"/>
                </a:lnTo>
                <a:lnTo>
                  <a:pt x="3588" y="666"/>
                </a:lnTo>
                <a:lnTo>
                  <a:pt x="3582" y="678"/>
                </a:lnTo>
                <a:lnTo>
                  <a:pt x="3582" y="684"/>
                </a:lnTo>
                <a:lnTo>
                  <a:pt x="3588" y="690"/>
                </a:lnTo>
                <a:lnTo>
                  <a:pt x="3612" y="690"/>
                </a:lnTo>
                <a:lnTo>
                  <a:pt x="3648" y="696"/>
                </a:lnTo>
                <a:lnTo>
                  <a:pt x="3672" y="696"/>
                </a:lnTo>
                <a:lnTo>
                  <a:pt x="3684" y="708"/>
                </a:lnTo>
                <a:lnTo>
                  <a:pt x="3666" y="714"/>
                </a:lnTo>
                <a:lnTo>
                  <a:pt x="3594" y="726"/>
                </a:lnTo>
                <a:lnTo>
                  <a:pt x="3570" y="732"/>
                </a:lnTo>
                <a:lnTo>
                  <a:pt x="3576" y="738"/>
                </a:lnTo>
                <a:lnTo>
                  <a:pt x="3594" y="750"/>
                </a:lnTo>
                <a:lnTo>
                  <a:pt x="3630" y="762"/>
                </a:lnTo>
                <a:lnTo>
                  <a:pt x="3642" y="768"/>
                </a:lnTo>
                <a:lnTo>
                  <a:pt x="3648" y="768"/>
                </a:lnTo>
                <a:lnTo>
                  <a:pt x="3690" y="750"/>
                </a:lnTo>
                <a:lnTo>
                  <a:pt x="3690" y="762"/>
                </a:lnTo>
                <a:lnTo>
                  <a:pt x="3702" y="774"/>
                </a:lnTo>
                <a:lnTo>
                  <a:pt x="3744" y="774"/>
                </a:lnTo>
                <a:lnTo>
                  <a:pt x="3786" y="780"/>
                </a:lnTo>
                <a:lnTo>
                  <a:pt x="3834" y="786"/>
                </a:lnTo>
                <a:lnTo>
                  <a:pt x="3876" y="792"/>
                </a:lnTo>
                <a:lnTo>
                  <a:pt x="3894" y="792"/>
                </a:lnTo>
                <a:lnTo>
                  <a:pt x="3900" y="786"/>
                </a:lnTo>
                <a:lnTo>
                  <a:pt x="3894" y="780"/>
                </a:lnTo>
                <a:lnTo>
                  <a:pt x="3882" y="774"/>
                </a:lnTo>
                <a:lnTo>
                  <a:pt x="3876" y="768"/>
                </a:lnTo>
                <a:lnTo>
                  <a:pt x="3894" y="768"/>
                </a:lnTo>
                <a:lnTo>
                  <a:pt x="3930" y="774"/>
                </a:lnTo>
                <a:lnTo>
                  <a:pt x="3966" y="774"/>
                </a:lnTo>
                <a:lnTo>
                  <a:pt x="3990" y="780"/>
                </a:lnTo>
                <a:lnTo>
                  <a:pt x="4002" y="780"/>
                </a:lnTo>
                <a:lnTo>
                  <a:pt x="4020" y="786"/>
                </a:lnTo>
                <a:lnTo>
                  <a:pt x="4032" y="792"/>
                </a:lnTo>
                <a:lnTo>
                  <a:pt x="4050" y="792"/>
                </a:lnTo>
                <a:lnTo>
                  <a:pt x="4062" y="786"/>
                </a:lnTo>
                <a:lnTo>
                  <a:pt x="4062" y="774"/>
                </a:lnTo>
                <a:lnTo>
                  <a:pt x="4056" y="768"/>
                </a:lnTo>
                <a:lnTo>
                  <a:pt x="4050" y="756"/>
                </a:lnTo>
                <a:lnTo>
                  <a:pt x="4044" y="750"/>
                </a:lnTo>
                <a:lnTo>
                  <a:pt x="4092" y="738"/>
                </a:lnTo>
                <a:lnTo>
                  <a:pt x="4092" y="744"/>
                </a:lnTo>
                <a:lnTo>
                  <a:pt x="4098" y="750"/>
                </a:lnTo>
                <a:lnTo>
                  <a:pt x="4104" y="762"/>
                </a:lnTo>
                <a:lnTo>
                  <a:pt x="4104" y="768"/>
                </a:lnTo>
                <a:lnTo>
                  <a:pt x="4110" y="774"/>
                </a:lnTo>
                <a:lnTo>
                  <a:pt x="4116" y="774"/>
                </a:lnTo>
                <a:lnTo>
                  <a:pt x="4122" y="780"/>
                </a:lnTo>
                <a:lnTo>
                  <a:pt x="4134" y="786"/>
                </a:lnTo>
                <a:lnTo>
                  <a:pt x="4140" y="792"/>
                </a:lnTo>
                <a:lnTo>
                  <a:pt x="4170" y="786"/>
                </a:lnTo>
                <a:lnTo>
                  <a:pt x="4170" y="792"/>
                </a:lnTo>
                <a:lnTo>
                  <a:pt x="4164" y="798"/>
                </a:lnTo>
                <a:lnTo>
                  <a:pt x="4164" y="816"/>
                </a:lnTo>
                <a:lnTo>
                  <a:pt x="4170" y="816"/>
                </a:lnTo>
                <a:lnTo>
                  <a:pt x="4182" y="822"/>
                </a:lnTo>
                <a:lnTo>
                  <a:pt x="4200" y="822"/>
                </a:lnTo>
                <a:lnTo>
                  <a:pt x="4206" y="828"/>
                </a:lnTo>
                <a:lnTo>
                  <a:pt x="4212" y="828"/>
                </a:lnTo>
                <a:lnTo>
                  <a:pt x="4194" y="846"/>
                </a:lnTo>
                <a:lnTo>
                  <a:pt x="4194" y="858"/>
                </a:lnTo>
                <a:lnTo>
                  <a:pt x="4230" y="858"/>
                </a:lnTo>
                <a:lnTo>
                  <a:pt x="4224" y="882"/>
                </a:lnTo>
                <a:lnTo>
                  <a:pt x="4236" y="882"/>
                </a:lnTo>
                <a:lnTo>
                  <a:pt x="4248" y="888"/>
                </a:lnTo>
                <a:lnTo>
                  <a:pt x="4254" y="888"/>
                </a:lnTo>
                <a:lnTo>
                  <a:pt x="4278" y="900"/>
                </a:lnTo>
                <a:lnTo>
                  <a:pt x="4278" y="924"/>
                </a:lnTo>
                <a:lnTo>
                  <a:pt x="4266" y="948"/>
                </a:lnTo>
                <a:lnTo>
                  <a:pt x="4254" y="966"/>
                </a:lnTo>
                <a:lnTo>
                  <a:pt x="4248" y="978"/>
                </a:lnTo>
                <a:lnTo>
                  <a:pt x="4236" y="990"/>
                </a:lnTo>
                <a:lnTo>
                  <a:pt x="4218" y="996"/>
                </a:lnTo>
                <a:lnTo>
                  <a:pt x="4182" y="1014"/>
                </a:lnTo>
                <a:lnTo>
                  <a:pt x="4140" y="1026"/>
                </a:lnTo>
                <a:lnTo>
                  <a:pt x="4092" y="1050"/>
                </a:lnTo>
                <a:lnTo>
                  <a:pt x="4098" y="1056"/>
                </a:lnTo>
                <a:lnTo>
                  <a:pt x="4110" y="1062"/>
                </a:lnTo>
                <a:lnTo>
                  <a:pt x="4122" y="1074"/>
                </a:lnTo>
                <a:lnTo>
                  <a:pt x="4122" y="1080"/>
                </a:lnTo>
                <a:lnTo>
                  <a:pt x="4116" y="1086"/>
                </a:lnTo>
                <a:lnTo>
                  <a:pt x="4080" y="1098"/>
                </a:lnTo>
                <a:lnTo>
                  <a:pt x="4062" y="1098"/>
                </a:lnTo>
                <a:lnTo>
                  <a:pt x="3984" y="1110"/>
                </a:lnTo>
                <a:lnTo>
                  <a:pt x="3978" y="1128"/>
                </a:lnTo>
                <a:lnTo>
                  <a:pt x="3960" y="1110"/>
                </a:lnTo>
                <a:lnTo>
                  <a:pt x="3954" y="1110"/>
                </a:lnTo>
                <a:lnTo>
                  <a:pt x="3948" y="1104"/>
                </a:lnTo>
                <a:lnTo>
                  <a:pt x="3930" y="1104"/>
                </a:lnTo>
                <a:lnTo>
                  <a:pt x="3918" y="1098"/>
                </a:lnTo>
                <a:lnTo>
                  <a:pt x="3900" y="1098"/>
                </a:lnTo>
                <a:lnTo>
                  <a:pt x="3888" y="1104"/>
                </a:lnTo>
                <a:lnTo>
                  <a:pt x="3882" y="1110"/>
                </a:lnTo>
                <a:lnTo>
                  <a:pt x="3882" y="1122"/>
                </a:lnTo>
                <a:lnTo>
                  <a:pt x="3870" y="1122"/>
                </a:lnTo>
                <a:lnTo>
                  <a:pt x="3858" y="1128"/>
                </a:lnTo>
                <a:lnTo>
                  <a:pt x="3840" y="1134"/>
                </a:lnTo>
                <a:lnTo>
                  <a:pt x="3828" y="1140"/>
                </a:lnTo>
                <a:lnTo>
                  <a:pt x="3822" y="1146"/>
                </a:lnTo>
                <a:lnTo>
                  <a:pt x="3816" y="1158"/>
                </a:lnTo>
                <a:lnTo>
                  <a:pt x="3816" y="1170"/>
                </a:lnTo>
                <a:lnTo>
                  <a:pt x="3822" y="1182"/>
                </a:lnTo>
                <a:lnTo>
                  <a:pt x="3834" y="1188"/>
                </a:lnTo>
                <a:lnTo>
                  <a:pt x="3864" y="1188"/>
                </a:lnTo>
                <a:lnTo>
                  <a:pt x="3876" y="1182"/>
                </a:lnTo>
                <a:lnTo>
                  <a:pt x="3894" y="1182"/>
                </a:lnTo>
                <a:lnTo>
                  <a:pt x="3906" y="1176"/>
                </a:lnTo>
                <a:lnTo>
                  <a:pt x="3924" y="1170"/>
                </a:lnTo>
                <a:lnTo>
                  <a:pt x="3936" y="1164"/>
                </a:lnTo>
                <a:lnTo>
                  <a:pt x="3966" y="1164"/>
                </a:lnTo>
                <a:lnTo>
                  <a:pt x="3978" y="1176"/>
                </a:lnTo>
                <a:lnTo>
                  <a:pt x="3996" y="1176"/>
                </a:lnTo>
                <a:lnTo>
                  <a:pt x="4002" y="1170"/>
                </a:lnTo>
                <a:lnTo>
                  <a:pt x="4002" y="1152"/>
                </a:lnTo>
                <a:lnTo>
                  <a:pt x="4026" y="1128"/>
                </a:lnTo>
                <a:lnTo>
                  <a:pt x="4014" y="1140"/>
                </a:lnTo>
                <a:lnTo>
                  <a:pt x="4014" y="1146"/>
                </a:lnTo>
                <a:lnTo>
                  <a:pt x="4020" y="1152"/>
                </a:lnTo>
                <a:lnTo>
                  <a:pt x="4086" y="1152"/>
                </a:lnTo>
                <a:lnTo>
                  <a:pt x="4080" y="1158"/>
                </a:lnTo>
                <a:lnTo>
                  <a:pt x="4068" y="1164"/>
                </a:lnTo>
                <a:lnTo>
                  <a:pt x="4062" y="1170"/>
                </a:lnTo>
                <a:lnTo>
                  <a:pt x="4062" y="1176"/>
                </a:lnTo>
                <a:lnTo>
                  <a:pt x="4068" y="1182"/>
                </a:lnTo>
                <a:lnTo>
                  <a:pt x="4080" y="1182"/>
                </a:lnTo>
                <a:lnTo>
                  <a:pt x="4086" y="1188"/>
                </a:lnTo>
                <a:lnTo>
                  <a:pt x="4098" y="1188"/>
                </a:lnTo>
                <a:lnTo>
                  <a:pt x="4086" y="1200"/>
                </a:lnTo>
                <a:lnTo>
                  <a:pt x="4086" y="1206"/>
                </a:lnTo>
                <a:lnTo>
                  <a:pt x="4092" y="1212"/>
                </a:lnTo>
                <a:lnTo>
                  <a:pt x="4116" y="1224"/>
                </a:lnTo>
                <a:lnTo>
                  <a:pt x="4146" y="1224"/>
                </a:lnTo>
                <a:lnTo>
                  <a:pt x="4098" y="1242"/>
                </a:lnTo>
                <a:lnTo>
                  <a:pt x="4098" y="1248"/>
                </a:lnTo>
                <a:lnTo>
                  <a:pt x="4110" y="1260"/>
                </a:lnTo>
                <a:lnTo>
                  <a:pt x="4110" y="1266"/>
                </a:lnTo>
                <a:lnTo>
                  <a:pt x="4116" y="1272"/>
                </a:lnTo>
                <a:lnTo>
                  <a:pt x="4122" y="1266"/>
                </a:lnTo>
                <a:lnTo>
                  <a:pt x="4128" y="1266"/>
                </a:lnTo>
                <a:lnTo>
                  <a:pt x="4140" y="1260"/>
                </a:lnTo>
                <a:lnTo>
                  <a:pt x="4146" y="1272"/>
                </a:lnTo>
                <a:lnTo>
                  <a:pt x="4158" y="1284"/>
                </a:lnTo>
                <a:lnTo>
                  <a:pt x="4182" y="1284"/>
                </a:lnTo>
                <a:lnTo>
                  <a:pt x="4194" y="1290"/>
                </a:lnTo>
                <a:lnTo>
                  <a:pt x="4206" y="1290"/>
                </a:lnTo>
                <a:lnTo>
                  <a:pt x="4206" y="1308"/>
                </a:lnTo>
                <a:lnTo>
                  <a:pt x="4212" y="1314"/>
                </a:lnTo>
                <a:lnTo>
                  <a:pt x="4224" y="1320"/>
                </a:lnTo>
                <a:lnTo>
                  <a:pt x="4272" y="1320"/>
                </a:lnTo>
                <a:lnTo>
                  <a:pt x="4290" y="1326"/>
                </a:lnTo>
                <a:lnTo>
                  <a:pt x="4350" y="1356"/>
                </a:lnTo>
                <a:lnTo>
                  <a:pt x="4356" y="1362"/>
                </a:lnTo>
                <a:lnTo>
                  <a:pt x="4362" y="1362"/>
                </a:lnTo>
                <a:lnTo>
                  <a:pt x="4362" y="1356"/>
                </a:lnTo>
                <a:lnTo>
                  <a:pt x="4368" y="1350"/>
                </a:lnTo>
                <a:lnTo>
                  <a:pt x="4368" y="1320"/>
                </a:lnTo>
                <a:lnTo>
                  <a:pt x="4362" y="1308"/>
                </a:lnTo>
                <a:lnTo>
                  <a:pt x="4350" y="1296"/>
                </a:lnTo>
                <a:lnTo>
                  <a:pt x="4338" y="1290"/>
                </a:lnTo>
                <a:lnTo>
                  <a:pt x="4320" y="1272"/>
                </a:lnTo>
                <a:lnTo>
                  <a:pt x="4314" y="1272"/>
                </a:lnTo>
                <a:lnTo>
                  <a:pt x="4308" y="1260"/>
                </a:lnTo>
                <a:lnTo>
                  <a:pt x="4302" y="1254"/>
                </a:lnTo>
                <a:lnTo>
                  <a:pt x="4290" y="1230"/>
                </a:lnTo>
                <a:lnTo>
                  <a:pt x="4290" y="1224"/>
                </a:lnTo>
                <a:lnTo>
                  <a:pt x="4308" y="1224"/>
                </a:lnTo>
                <a:lnTo>
                  <a:pt x="4314" y="1230"/>
                </a:lnTo>
                <a:lnTo>
                  <a:pt x="4326" y="1236"/>
                </a:lnTo>
                <a:lnTo>
                  <a:pt x="4332" y="1242"/>
                </a:lnTo>
                <a:lnTo>
                  <a:pt x="4332" y="1212"/>
                </a:lnTo>
                <a:lnTo>
                  <a:pt x="4332" y="1218"/>
                </a:lnTo>
                <a:lnTo>
                  <a:pt x="4344" y="1230"/>
                </a:lnTo>
                <a:lnTo>
                  <a:pt x="4350" y="1242"/>
                </a:lnTo>
                <a:lnTo>
                  <a:pt x="4362" y="1254"/>
                </a:lnTo>
                <a:lnTo>
                  <a:pt x="4374" y="1254"/>
                </a:lnTo>
                <a:lnTo>
                  <a:pt x="4386" y="1248"/>
                </a:lnTo>
                <a:lnTo>
                  <a:pt x="4398" y="1248"/>
                </a:lnTo>
                <a:lnTo>
                  <a:pt x="4398" y="1272"/>
                </a:lnTo>
                <a:lnTo>
                  <a:pt x="4404" y="1278"/>
                </a:lnTo>
                <a:lnTo>
                  <a:pt x="4416" y="1278"/>
                </a:lnTo>
                <a:lnTo>
                  <a:pt x="4428" y="1290"/>
                </a:lnTo>
                <a:lnTo>
                  <a:pt x="4452" y="1272"/>
                </a:lnTo>
                <a:lnTo>
                  <a:pt x="4464" y="1284"/>
                </a:lnTo>
                <a:lnTo>
                  <a:pt x="4470" y="1284"/>
                </a:lnTo>
                <a:lnTo>
                  <a:pt x="4476" y="1278"/>
                </a:lnTo>
                <a:lnTo>
                  <a:pt x="4476" y="1260"/>
                </a:lnTo>
                <a:lnTo>
                  <a:pt x="4470" y="1254"/>
                </a:lnTo>
                <a:lnTo>
                  <a:pt x="4488" y="1212"/>
                </a:lnTo>
                <a:lnTo>
                  <a:pt x="4488" y="1236"/>
                </a:lnTo>
                <a:lnTo>
                  <a:pt x="4500" y="1248"/>
                </a:lnTo>
                <a:lnTo>
                  <a:pt x="4512" y="1236"/>
                </a:lnTo>
                <a:lnTo>
                  <a:pt x="4518" y="1218"/>
                </a:lnTo>
                <a:lnTo>
                  <a:pt x="4518" y="1206"/>
                </a:lnTo>
                <a:lnTo>
                  <a:pt x="4494" y="1182"/>
                </a:lnTo>
                <a:lnTo>
                  <a:pt x="4518" y="1176"/>
                </a:lnTo>
                <a:lnTo>
                  <a:pt x="4500" y="1164"/>
                </a:lnTo>
                <a:lnTo>
                  <a:pt x="4500" y="1146"/>
                </a:lnTo>
                <a:lnTo>
                  <a:pt x="4470" y="1146"/>
                </a:lnTo>
                <a:lnTo>
                  <a:pt x="4470" y="1134"/>
                </a:lnTo>
                <a:lnTo>
                  <a:pt x="4446" y="1134"/>
                </a:lnTo>
                <a:lnTo>
                  <a:pt x="4446" y="1080"/>
                </a:lnTo>
                <a:lnTo>
                  <a:pt x="4416" y="1086"/>
                </a:lnTo>
                <a:lnTo>
                  <a:pt x="4410" y="1080"/>
                </a:lnTo>
                <a:lnTo>
                  <a:pt x="4410" y="1056"/>
                </a:lnTo>
                <a:lnTo>
                  <a:pt x="4416" y="1050"/>
                </a:lnTo>
                <a:lnTo>
                  <a:pt x="4428" y="1050"/>
                </a:lnTo>
                <a:lnTo>
                  <a:pt x="4434" y="1056"/>
                </a:lnTo>
                <a:lnTo>
                  <a:pt x="4446" y="1062"/>
                </a:lnTo>
                <a:lnTo>
                  <a:pt x="4452" y="1068"/>
                </a:lnTo>
                <a:lnTo>
                  <a:pt x="4458" y="1068"/>
                </a:lnTo>
                <a:lnTo>
                  <a:pt x="4464" y="1062"/>
                </a:lnTo>
                <a:lnTo>
                  <a:pt x="4464" y="1026"/>
                </a:lnTo>
                <a:lnTo>
                  <a:pt x="4488" y="1032"/>
                </a:lnTo>
                <a:lnTo>
                  <a:pt x="4524" y="1014"/>
                </a:lnTo>
                <a:lnTo>
                  <a:pt x="4524" y="1026"/>
                </a:lnTo>
                <a:lnTo>
                  <a:pt x="4530" y="1038"/>
                </a:lnTo>
                <a:lnTo>
                  <a:pt x="4530" y="1044"/>
                </a:lnTo>
                <a:lnTo>
                  <a:pt x="4536" y="1050"/>
                </a:lnTo>
                <a:lnTo>
                  <a:pt x="4548" y="1044"/>
                </a:lnTo>
                <a:lnTo>
                  <a:pt x="4566" y="1044"/>
                </a:lnTo>
                <a:lnTo>
                  <a:pt x="4554" y="1062"/>
                </a:lnTo>
                <a:lnTo>
                  <a:pt x="4578" y="1062"/>
                </a:lnTo>
                <a:lnTo>
                  <a:pt x="4566" y="1092"/>
                </a:lnTo>
                <a:lnTo>
                  <a:pt x="4566" y="1098"/>
                </a:lnTo>
                <a:lnTo>
                  <a:pt x="4584" y="1116"/>
                </a:lnTo>
                <a:lnTo>
                  <a:pt x="4590" y="1128"/>
                </a:lnTo>
                <a:lnTo>
                  <a:pt x="4614" y="1140"/>
                </a:lnTo>
                <a:lnTo>
                  <a:pt x="4626" y="1134"/>
                </a:lnTo>
                <a:lnTo>
                  <a:pt x="4638" y="1122"/>
                </a:lnTo>
                <a:lnTo>
                  <a:pt x="4656" y="1086"/>
                </a:lnTo>
                <a:lnTo>
                  <a:pt x="4656" y="1080"/>
                </a:lnTo>
                <a:lnTo>
                  <a:pt x="4662" y="1068"/>
                </a:lnTo>
                <a:lnTo>
                  <a:pt x="4668" y="1074"/>
                </a:lnTo>
                <a:lnTo>
                  <a:pt x="4680" y="1080"/>
                </a:lnTo>
                <a:lnTo>
                  <a:pt x="4692" y="1080"/>
                </a:lnTo>
                <a:lnTo>
                  <a:pt x="4698" y="1086"/>
                </a:lnTo>
                <a:lnTo>
                  <a:pt x="4710" y="1080"/>
                </a:lnTo>
                <a:lnTo>
                  <a:pt x="4722" y="1068"/>
                </a:lnTo>
                <a:lnTo>
                  <a:pt x="4728" y="1056"/>
                </a:lnTo>
                <a:lnTo>
                  <a:pt x="4728" y="1038"/>
                </a:lnTo>
                <a:lnTo>
                  <a:pt x="4794" y="1038"/>
                </a:lnTo>
                <a:lnTo>
                  <a:pt x="4806" y="1026"/>
                </a:lnTo>
                <a:lnTo>
                  <a:pt x="4812" y="1014"/>
                </a:lnTo>
                <a:lnTo>
                  <a:pt x="4800" y="1002"/>
                </a:lnTo>
                <a:lnTo>
                  <a:pt x="4788" y="996"/>
                </a:lnTo>
                <a:lnTo>
                  <a:pt x="4758" y="996"/>
                </a:lnTo>
                <a:close/>
                <a:moveTo>
                  <a:pt x="4476" y="1308"/>
                </a:moveTo>
                <a:lnTo>
                  <a:pt x="4446" y="1308"/>
                </a:lnTo>
                <a:lnTo>
                  <a:pt x="4440" y="1326"/>
                </a:lnTo>
                <a:lnTo>
                  <a:pt x="4476" y="1320"/>
                </a:lnTo>
                <a:lnTo>
                  <a:pt x="4476" y="1308"/>
                </a:lnTo>
                <a:close/>
                <a:moveTo>
                  <a:pt x="4140" y="1290"/>
                </a:moveTo>
                <a:lnTo>
                  <a:pt x="4134" y="1290"/>
                </a:lnTo>
                <a:lnTo>
                  <a:pt x="4128" y="1296"/>
                </a:lnTo>
                <a:lnTo>
                  <a:pt x="4128" y="1308"/>
                </a:lnTo>
                <a:lnTo>
                  <a:pt x="4134" y="1314"/>
                </a:lnTo>
                <a:lnTo>
                  <a:pt x="4158" y="1314"/>
                </a:lnTo>
                <a:lnTo>
                  <a:pt x="4164" y="1308"/>
                </a:lnTo>
                <a:lnTo>
                  <a:pt x="4164" y="1296"/>
                </a:lnTo>
                <a:lnTo>
                  <a:pt x="4158" y="1290"/>
                </a:lnTo>
                <a:lnTo>
                  <a:pt x="4140" y="1290"/>
                </a:lnTo>
                <a:close/>
                <a:moveTo>
                  <a:pt x="3834" y="1242"/>
                </a:moveTo>
                <a:lnTo>
                  <a:pt x="3840" y="1236"/>
                </a:lnTo>
                <a:lnTo>
                  <a:pt x="3834" y="1230"/>
                </a:lnTo>
                <a:lnTo>
                  <a:pt x="3828" y="1230"/>
                </a:lnTo>
                <a:lnTo>
                  <a:pt x="3822" y="1224"/>
                </a:lnTo>
                <a:lnTo>
                  <a:pt x="3810" y="1224"/>
                </a:lnTo>
                <a:lnTo>
                  <a:pt x="3810" y="1236"/>
                </a:lnTo>
                <a:lnTo>
                  <a:pt x="3816" y="1242"/>
                </a:lnTo>
                <a:lnTo>
                  <a:pt x="3816" y="1248"/>
                </a:lnTo>
                <a:lnTo>
                  <a:pt x="3828" y="1248"/>
                </a:lnTo>
                <a:lnTo>
                  <a:pt x="3834" y="1242"/>
                </a:lnTo>
                <a:close/>
                <a:moveTo>
                  <a:pt x="4206" y="1452"/>
                </a:moveTo>
                <a:lnTo>
                  <a:pt x="4170" y="1452"/>
                </a:lnTo>
                <a:lnTo>
                  <a:pt x="4206" y="1476"/>
                </a:lnTo>
                <a:lnTo>
                  <a:pt x="4218" y="1470"/>
                </a:lnTo>
                <a:lnTo>
                  <a:pt x="4218" y="1458"/>
                </a:lnTo>
                <a:lnTo>
                  <a:pt x="4212" y="1458"/>
                </a:lnTo>
                <a:lnTo>
                  <a:pt x="4206" y="1452"/>
                </a:lnTo>
                <a:close/>
                <a:moveTo>
                  <a:pt x="4170" y="870"/>
                </a:moveTo>
                <a:lnTo>
                  <a:pt x="4152" y="870"/>
                </a:lnTo>
                <a:lnTo>
                  <a:pt x="4152" y="876"/>
                </a:lnTo>
                <a:lnTo>
                  <a:pt x="4158" y="882"/>
                </a:lnTo>
                <a:lnTo>
                  <a:pt x="4164" y="882"/>
                </a:lnTo>
                <a:lnTo>
                  <a:pt x="4170" y="888"/>
                </a:lnTo>
                <a:lnTo>
                  <a:pt x="4182" y="882"/>
                </a:lnTo>
                <a:lnTo>
                  <a:pt x="4188" y="882"/>
                </a:lnTo>
                <a:lnTo>
                  <a:pt x="4194" y="876"/>
                </a:lnTo>
                <a:lnTo>
                  <a:pt x="4188" y="870"/>
                </a:lnTo>
                <a:lnTo>
                  <a:pt x="4170" y="870"/>
                </a:lnTo>
                <a:close/>
                <a:moveTo>
                  <a:pt x="4170" y="936"/>
                </a:moveTo>
                <a:lnTo>
                  <a:pt x="4236" y="936"/>
                </a:lnTo>
                <a:lnTo>
                  <a:pt x="4236" y="918"/>
                </a:lnTo>
                <a:lnTo>
                  <a:pt x="4188" y="918"/>
                </a:lnTo>
                <a:lnTo>
                  <a:pt x="4170" y="936"/>
                </a:lnTo>
                <a:close/>
                <a:moveTo>
                  <a:pt x="5574" y="36"/>
                </a:moveTo>
                <a:lnTo>
                  <a:pt x="5490" y="36"/>
                </a:lnTo>
                <a:lnTo>
                  <a:pt x="5496" y="24"/>
                </a:lnTo>
                <a:lnTo>
                  <a:pt x="5490" y="24"/>
                </a:lnTo>
                <a:lnTo>
                  <a:pt x="5484" y="18"/>
                </a:lnTo>
                <a:lnTo>
                  <a:pt x="5448" y="18"/>
                </a:lnTo>
                <a:lnTo>
                  <a:pt x="5430" y="12"/>
                </a:lnTo>
                <a:lnTo>
                  <a:pt x="5400" y="12"/>
                </a:lnTo>
                <a:lnTo>
                  <a:pt x="5364" y="18"/>
                </a:lnTo>
                <a:lnTo>
                  <a:pt x="5334" y="30"/>
                </a:lnTo>
                <a:lnTo>
                  <a:pt x="5304" y="36"/>
                </a:lnTo>
                <a:lnTo>
                  <a:pt x="5292" y="36"/>
                </a:lnTo>
                <a:lnTo>
                  <a:pt x="5346" y="12"/>
                </a:lnTo>
                <a:lnTo>
                  <a:pt x="5274" y="18"/>
                </a:lnTo>
                <a:lnTo>
                  <a:pt x="5268" y="18"/>
                </a:lnTo>
                <a:lnTo>
                  <a:pt x="5262" y="12"/>
                </a:lnTo>
                <a:lnTo>
                  <a:pt x="5250" y="12"/>
                </a:lnTo>
                <a:lnTo>
                  <a:pt x="5226" y="0"/>
                </a:lnTo>
                <a:lnTo>
                  <a:pt x="5196" y="0"/>
                </a:lnTo>
                <a:lnTo>
                  <a:pt x="5190" y="6"/>
                </a:lnTo>
                <a:lnTo>
                  <a:pt x="5184" y="18"/>
                </a:lnTo>
                <a:lnTo>
                  <a:pt x="5178" y="18"/>
                </a:lnTo>
                <a:lnTo>
                  <a:pt x="5172" y="12"/>
                </a:lnTo>
                <a:lnTo>
                  <a:pt x="5160" y="6"/>
                </a:lnTo>
                <a:lnTo>
                  <a:pt x="5148" y="6"/>
                </a:lnTo>
                <a:lnTo>
                  <a:pt x="5136" y="0"/>
                </a:lnTo>
                <a:lnTo>
                  <a:pt x="5124" y="0"/>
                </a:lnTo>
                <a:lnTo>
                  <a:pt x="5112" y="6"/>
                </a:lnTo>
                <a:lnTo>
                  <a:pt x="5106" y="12"/>
                </a:lnTo>
                <a:lnTo>
                  <a:pt x="5094" y="18"/>
                </a:lnTo>
                <a:lnTo>
                  <a:pt x="5088" y="24"/>
                </a:lnTo>
                <a:lnTo>
                  <a:pt x="5046" y="12"/>
                </a:lnTo>
                <a:lnTo>
                  <a:pt x="4938" y="6"/>
                </a:lnTo>
                <a:lnTo>
                  <a:pt x="4968" y="36"/>
                </a:lnTo>
                <a:lnTo>
                  <a:pt x="4902" y="12"/>
                </a:lnTo>
                <a:lnTo>
                  <a:pt x="4842" y="24"/>
                </a:lnTo>
                <a:lnTo>
                  <a:pt x="4830" y="24"/>
                </a:lnTo>
                <a:lnTo>
                  <a:pt x="4812" y="18"/>
                </a:lnTo>
                <a:lnTo>
                  <a:pt x="4746" y="18"/>
                </a:lnTo>
                <a:lnTo>
                  <a:pt x="4710" y="24"/>
                </a:lnTo>
                <a:lnTo>
                  <a:pt x="4686" y="36"/>
                </a:lnTo>
                <a:lnTo>
                  <a:pt x="4674" y="36"/>
                </a:lnTo>
                <a:lnTo>
                  <a:pt x="4764" y="60"/>
                </a:lnTo>
                <a:lnTo>
                  <a:pt x="4674" y="48"/>
                </a:lnTo>
                <a:lnTo>
                  <a:pt x="4662" y="48"/>
                </a:lnTo>
                <a:lnTo>
                  <a:pt x="4590" y="36"/>
                </a:lnTo>
                <a:lnTo>
                  <a:pt x="4542" y="36"/>
                </a:lnTo>
                <a:lnTo>
                  <a:pt x="4530" y="48"/>
                </a:lnTo>
                <a:lnTo>
                  <a:pt x="4530" y="60"/>
                </a:lnTo>
                <a:lnTo>
                  <a:pt x="4512" y="60"/>
                </a:lnTo>
                <a:lnTo>
                  <a:pt x="4482" y="54"/>
                </a:lnTo>
                <a:lnTo>
                  <a:pt x="4392" y="54"/>
                </a:lnTo>
                <a:lnTo>
                  <a:pt x="4350" y="60"/>
                </a:lnTo>
                <a:lnTo>
                  <a:pt x="4302" y="66"/>
                </a:lnTo>
                <a:lnTo>
                  <a:pt x="4260" y="66"/>
                </a:lnTo>
                <a:lnTo>
                  <a:pt x="4242" y="72"/>
                </a:lnTo>
                <a:lnTo>
                  <a:pt x="4260" y="72"/>
                </a:lnTo>
                <a:lnTo>
                  <a:pt x="4266" y="78"/>
                </a:lnTo>
                <a:lnTo>
                  <a:pt x="4278" y="78"/>
                </a:lnTo>
                <a:lnTo>
                  <a:pt x="4362" y="84"/>
                </a:lnTo>
                <a:lnTo>
                  <a:pt x="4278" y="96"/>
                </a:lnTo>
                <a:lnTo>
                  <a:pt x="4284" y="96"/>
                </a:lnTo>
                <a:lnTo>
                  <a:pt x="4290" y="102"/>
                </a:lnTo>
                <a:lnTo>
                  <a:pt x="4314" y="114"/>
                </a:lnTo>
                <a:lnTo>
                  <a:pt x="4338" y="114"/>
                </a:lnTo>
                <a:lnTo>
                  <a:pt x="4356" y="108"/>
                </a:lnTo>
                <a:lnTo>
                  <a:pt x="4392" y="108"/>
                </a:lnTo>
                <a:lnTo>
                  <a:pt x="4398" y="102"/>
                </a:lnTo>
                <a:lnTo>
                  <a:pt x="4410" y="102"/>
                </a:lnTo>
                <a:lnTo>
                  <a:pt x="4416" y="96"/>
                </a:lnTo>
                <a:lnTo>
                  <a:pt x="4440" y="96"/>
                </a:lnTo>
                <a:lnTo>
                  <a:pt x="4458" y="90"/>
                </a:lnTo>
                <a:lnTo>
                  <a:pt x="4500" y="90"/>
                </a:lnTo>
                <a:lnTo>
                  <a:pt x="4518" y="96"/>
                </a:lnTo>
                <a:lnTo>
                  <a:pt x="4536" y="96"/>
                </a:lnTo>
                <a:lnTo>
                  <a:pt x="4548" y="102"/>
                </a:lnTo>
                <a:lnTo>
                  <a:pt x="4560" y="102"/>
                </a:lnTo>
                <a:lnTo>
                  <a:pt x="4494" y="102"/>
                </a:lnTo>
                <a:lnTo>
                  <a:pt x="4482" y="108"/>
                </a:lnTo>
                <a:lnTo>
                  <a:pt x="4458" y="108"/>
                </a:lnTo>
                <a:lnTo>
                  <a:pt x="4446" y="114"/>
                </a:lnTo>
                <a:lnTo>
                  <a:pt x="4434" y="114"/>
                </a:lnTo>
                <a:lnTo>
                  <a:pt x="4422" y="120"/>
                </a:lnTo>
                <a:lnTo>
                  <a:pt x="4410" y="120"/>
                </a:lnTo>
                <a:lnTo>
                  <a:pt x="4404" y="126"/>
                </a:lnTo>
                <a:lnTo>
                  <a:pt x="4398" y="126"/>
                </a:lnTo>
                <a:lnTo>
                  <a:pt x="4434" y="126"/>
                </a:lnTo>
                <a:lnTo>
                  <a:pt x="4452" y="132"/>
                </a:lnTo>
                <a:lnTo>
                  <a:pt x="4488" y="132"/>
                </a:lnTo>
                <a:lnTo>
                  <a:pt x="4500" y="126"/>
                </a:lnTo>
                <a:lnTo>
                  <a:pt x="4506" y="126"/>
                </a:lnTo>
                <a:lnTo>
                  <a:pt x="4512" y="120"/>
                </a:lnTo>
                <a:lnTo>
                  <a:pt x="4638" y="120"/>
                </a:lnTo>
                <a:lnTo>
                  <a:pt x="4656" y="114"/>
                </a:lnTo>
                <a:lnTo>
                  <a:pt x="4680" y="114"/>
                </a:lnTo>
                <a:lnTo>
                  <a:pt x="4698" y="108"/>
                </a:lnTo>
                <a:lnTo>
                  <a:pt x="4710" y="108"/>
                </a:lnTo>
                <a:lnTo>
                  <a:pt x="4722" y="96"/>
                </a:lnTo>
                <a:lnTo>
                  <a:pt x="4734" y="96"/>
                </a:lnTo>
                <a:lnTo>
                  <a:pt x="4752" y="90"/>
                </a:lnTo>
                <a:lnTo>
                  <a:pt x="4770" y="90"/>
                </a:lnTo>
                <a:lnTo>
                  <a:pt x="4782" y="84"/>
                </a:lnTo>
                <a:lnTo>
                  <a:pt x="4830" y="84"/>
                </a:lnTo>
                <a:lnTo>
                  <a:pt x="4746" y="114"/>
                </a:lnTo>
                <a:lnTo>
                  <a:pt x="4782" y="114"/>
                </a:lnTo>
                <a:lnTo>
                  <a:pt x="4734" y="126"/>
                </a:lnTo>
                <a:lnTo>
                  <a:pt x="4716" y="126"/>
                </a:lnTo>
                <a:lnTo>
                  <a:pt x="4674" y="132"/>
                </a:lnTo>
                <a:lnTo>
                  <a:pt x="4620" y="132"/>
                </a:lnTo>
                <a:lnTo>
                  <a:pt x="4566" y="138"/>
                </a:lnTo>
                <a:lnTo>
                  <a:pt x="4536" y="138"/>
                </a:lnTo>
                <a:lnTo>
                  <a:pt x="4524" y="150"/>
                </a:lnTo>
                <a:lnTo>
                  <a:pt x="4524" y="156"/>
                </a:lnTo>
                <a:lnTo>
                  <a:pt x="4602" y="174"/>
                </a:lnTo>
                <a:lnTo>
                  <a:pt x="4596" y="174"/>
                </a:lnTo>
                <a:lnTo>
                  <a:pt x="4590" y="180"/>
                </a:lnTo>
                <a:lnTo>
                  <a:pt x="4578" y="180"/>
                </a:lnTo>
                <a:lnTo>
                  <a:pt x="4566" y="186"/>
                </a:lnTo>
                <a:lnTo>
                  <a:pt x="4542" y="186"/>
                </a:lnTo>
                <a:lnTo>
                  <a:pt x="4518" y="174"/>
                </a:lnTo>
                <a:lnTo>
                  <a:pt x="4500" y="162"/>
                </a:lnTo>
                <a:lnTo>
                  <a:pt x="4476" y="150"/>
                </a:lnTo>
                <a:lnTo>
                  <a:pt x="4470" y="144"/>
                </a:lnTo>
                <a:lnTo>
                  <a:pt x="4356" y="144"/>
                </a:lnTo>
                <a:lnTo>
                  <a:pt x="4350" y="150"/>
                </a:lnTo>
                <a:lnTo>
                  <a:pt x="4344" y="162"/>
                </a:lnTo>
                <a:lnTo>
                  <a:pt x="4338" y="168"/>
                </a:lnTo>
                <a:lnTo>
                  <a:pt x="4368" y="186"/>
                </a:lnTo>
                <a:lnTo>
                  <a:pt x="4386" y="204"/>
                </a:lnTo>
                <a:lnTo>
                  <a:pt x="4410" y="216"/>
                </a:lnTo>
                <a:lnTo>
                  <a:pt x="4458" y="216"/>
                </a:lnTo>
                <a:lnTo>
                  <a:pt x="4476" y="210"/>
                </a:lnTo>
                <a:lnTo>
                  <a:pt x="4488" y="210"/>
                </a:lnTo>
                <a:lnTo>
                  <a:pt x="4476" y="216"/>
                </a:lnTo>
                <a:lnTo>
                  <a:pt x="4470" y="228"/>
                </a:lnTo>
                <a:lnTo>
                  <a:pt x="4398" y="228"/>
                </a:lnTo>
                <a:lnTo>
                  <a:pt x="4380" y="222"/>
                </a:lnTo>
                <a:lnTo>
                  <a:pt x="4350" y="222"/>
                </a:lnTo>
                <a:lnTo>
                  <a:pt x="4314" y="228"/>
                </a:lnTo>
                <a:lnTo>
                  <a:pt x="4272" y="234"/>
                </a:lnTo>
                <a:lnTo>
                  <a:pt x="4230" y="234"/>
                </a:lnTo>
                <a:lnTo>
                  <a:pt x="4218" y="240"/>
                </a:lnTo>
                <a:lnTo>
                  <a:pt x="4200" y="246"/>
                </a:lnTo>
                <a:lnTo>
                  <a:pt x="4188" y="258"/>
                </a:lnTo>
                <a:lnTo>
                  <a:pt x="4176" y="264"/>
                </a:lnTo>
                <a:lnTo>
                  <a:pt x="4170" y="270"/>
                </a:lnTo>
                <a:lnTo>
                  <a:pt x="4164" y="270"/>
                </a:lnTo>
                <a:lnTo>
                  <a:pt x="4236" y="258"/>
                </a:lnTo>
                <a:lnTo>
                  <a:pt x="4236" y="276"/>
                </a:lnTo>
                <a:lnTo>
                  <a:pt x="4296" y="258"/>
                </a:lnTo>
                <a:lnTo>
                  <a:pt x="4224" y="288"/>
                </a:lnTo>
                <a:lnTo>
                  <a:pt x="4230" y="288"/>
                </a:lnTo>
                <a:lnTo>
                  <a:pt x="4236" y="294"/>
                </a:lnTo>
                <a:lnTo>
                  <a:pt x="4248" y="300"/>
                </a:lnTo>
                <a:lnTo>
                  <a:pt x="4278" y="300"/>
                </a:lnTo>
                <a:lnTo>
                  <a:pt x="4314" y="288"/>
                </a:lnTo>
                <a:lnTo>
                  <a:pt x="4326" y="288"/>
                </a:lnTo>
                <a:lnTo>
                  <a:pt x="4344" y="282"/>
                </a:lnTo>
                <a:lnTo>
                  <a:pt x="4350" y="276"/>
                </a:lnTo>
                <a:lnTo>
                  <a:pt x="4356" y="276"/>
                </a:lnTo>
                <a:lnTo>
                  <a:pt x="4254" y="312"/>
                </a:lnTo>
                <a:lnTo>
                  <a:pt x="4188" y="312"/>
                </a:lnTo>
                <a:lnTo>
                  <a:pt x="4176" y="288"/>
                </a:lnTo>
                <a:lnTo>
                  <a:pt x="4164" y="288"/>
                </a:lnTo>
                <a:lnTo>
                  <a:pt x="4146" y="282"/>
                </a:lnTo>
                <a:lnTo>
                  <a:pt x="4110" y="282"/>
                </a:lnTo>
                <a:lnTo>
                  <a:pt x="4104" y="288"/>
                </a:lnTo>
                <a:lnTo>
                  <a:pt x="4104" y="300"/>
                </a:lnTo>
                <a:lnTo>
                  <a:pt x="4110" y="312"/>
                </a:lnTo>
                <a:lnTo>
                  <a:pt x="4110" y="318"/>
                </a:lnTo>
                <a:lnTo>
                  <a:pt x="4116" y="324"/>
                </a:lnTo>
                <a:lnTo>
                  <a:pt x="4092" y="324"/>
                </a:lnTo>
                <a:lnTo>
                  <a:pt x="4074" y="330"/>
                </a:lnTo>
                <a:lnTo>
                  <a:pt x="4032" y="330"/>
                </a:lnTo>
                <a:lnTo>
                  <a:pt x="4020" y="336"/>
                </a:lnTo>
                <a:lnTo>
                  <a:pt x="4002" y="342"/>
                </a:lnTo>
                <a:lnTo>
                  <a:pt x="3990" y="348"/>
                </a:lnTo>
                <a:lnTo>
                  <a:pt x="3972" y="354"/>
                </a:lnTo>
                <a:lnTo>
                  <a:pt x="3936" y="354"/>
                </a:lnTo>
                <a:lnTo>
                  <a:pt x="3924" y="360"/>
                </a:lnTo>
                <a:lnTo>
                  <a:pt x="3918" y="360"/>
                </a:lnTo>
                <a:lnTo>
                  <a:pt x="3924" y="360"/>
                </a:lnTo>
                <a:lnTo>
                  <a:pt x="3936" y="366"/>
                </a:lnTo>
                <a:lnTo>
                  <a:pt x="3978" y="366"/>
                </a:lnTo>
                <a:lnTo>
                  <a:pt x="3990" y="360"/>
                </a:lnTo>
                <a:lnTo>
                  <a:pt x="3996" y="354"/>
                </a:lnTo>
                <a:lnTo>
                  <a:pt x="3984" y="372"/>
                </a:lnTo>
                <a:lnTo>
                  <a:pt x="4020" y="366"/>
                </a:lnTo>
                <a:lnTo>
                  <a:pt x="4044" y="354"/>
                </a:lnTo>
                <a:lnTo>
                  <a:pt x="4044" y="372"/>
                </a:lnTo>
                <a:lnTo>
                  <a:pt x="4074" y="366"/>
                </a:lnTo>
                <a:lnTo>
                  <a:pt x="4098" y="366"/>
                </a:lnTo>
                <a:lnTo>
                  <a:pt x="4098" y="372"/>
                </a:lnTo>
                <a:lnTo>
                  <a:pt x="4104" y="378"/>
                </a:lnTo>
                <a:lnTo>
                  <a:pt x="4122" y="378"/>
                </a:lnTo>
                <a:lnTo>
                  <a:pt x="4146" y="366"/>
                </a:lnTo>
                <a:lnTo>
                  <a:pt x="4152" y="366"/>
                </a:lnTo>
                <a:lnTo>
                  <a:pt x="4164" y="360"/>
                </a:lnTo>
                <a:lnTo>
                  <a:pt x="4170" y="372"/>
                </a:lnTo>
                <a:lnTo>
                  <a:pt x="4200" y="354"/>
                </a:lnTo>
                <a:lnTo>
                  <a:pt x="4206" y="360"/>
                </a:lnTo>
                <a:lnTo>
                  <a:pt x="4212" y="372"/>
                </a:lnTo>
                <a:lnTo>
                  <a:pt x="4224" y="372"/>
                </a:lnTo>
                <a:lnTo>
                  <a:pt x="4236" y="366"/>
                </a:lnTo>
                <a:lnTo>
                  <a:pt x="4242" y="360"/>
                </a:lnTo>
                <a:lnTo>
                  <a:pt x="4248" y="360"/>
                </a:lnTo>
                <a:lnTo>
                  <a:pt x="4254" y="366"/>
                </a:lnTo>
                <a:lnTo>
                  <a:pt x="4266" y="372"/>
                </a:lnTo>
                <a:lnTo>
                  <a:pt x="4284" y="372"/>
                </a:lnTo>
                <a:lnTo>
                  <a:pt x="4290" y="366"/>
                </a:lnTo>
                <a:lnTo>
                  <a:pt x="4290" y="360"/>
                </a:lnTo>
                <a:lnTo>
                  <a:pt x="4284" y="354"/>
                </a:lnTo>
                <a:lnTo>
                  <a:pt x="4338" y="372"/>
                </a:lnTo>
                <a:lnTo>
                  <a:pt x="4344" y="378"/>
                </a:lnTo>
                <a:lnTo>
                  <a:pt x="4350" y="390"/>
                </a:lnTo>
                <a:lnTo>
                  <a:pt x="4374" y="390"/>
                </a:lnTo>
                <a:lnTo>
                  <a:pt x="4410" y="378"/>
                </a:lnTo>
                <a:lnTo>
                  <a:pt x="4440" y="372"/>
                </a:lnTo>
                <a:lnTo>
                  <a:pt x="4476" y="372"/>
                </a:lnTo>
                <a:lnTo>
                  <a:pt x="4494" y="366"/>
                </a:lnTo>
                <a:lnTo>
                  <a:pt x="4506" y="360"/>
                </a:lnTo>
                <a:lnTo>
                  <a:pt x="4524" y="342"/>
                </a:lnTo>
                <a:lnTo>
                  <a:pt x="4464" y="342"/>
                </a:lnTo>
                <a:lnTo>
                  <a:pt x="4470" y="336"/>
                </a:lnTo>
                <a:lnTo>
                  <a:pt x="4470" y="330"/>
                </a:lnTo>
                <a:lnTo>
                  <a:pt x="4416" y="330"/>
                </a:lnTo>
                <a:lnTo>
                  <a:pt x="4362" y="318"/>
                </a:lnTo>
                <a:lnTo>
                  <a:pt x="4380" y="300"/>
                </a:lnTo>
                <a:lnTo>
                  <a:pt x="4440" y="318"/>
                </a:lnTo>
                <a:lnTo>
                  <a:pt x="4452" y="318"/>
                </a:lnTo>
                <a:lnTo>
                  <a:pt x="4488" y="312"/>
                </a:lnTo>
                <a:lnTo>
                  <a:pt x="4566" y="312"/>
                </a:lnTo>
                <a:lnTo>
                  <a:pt x="4578" y="300"/>
                </a:lnTo>
                <a:lnTo>
                  <a:pt x="4578" y="288"/>
                </a:lnTo>
                <a:lnTo>
                  <a:pt x="4584" y="288"/>
                </a:lnTo>
                <a:lnTo>
                  <a:pt x="4590" y="282"/>
                </a:lnTo>
                <a:lnTo>
                  <a:pt x="4608" y="282"/>
                </a:lnTo>
                <a:lnTo>
                  <a:pt x="4626" y="276"/>
                </a:lnTo>
                <a:lnTo>
                  <a:pt x="4662" y="276"/>
                </a:lnTo>
                <a:lnTo>
                  <a:pt x="4680" y="270"/>
                </a:lnTo>
                <a:lnTo>
                  <a:pt x="4710" y="270"/>
                </a:lnTo>
                <a:lnTo>
                  <a:pt x="4722" y="264"/>
                </a:lnTo>
                <a:lnTo>
                  <a:pt x="4728" y="264"/>
                </a:lnTo>
                <a:lnTo>
                  <a:pt x="4704" y="246"/>
                </a:lnTo>
                <a:lnTo>
                  <a:pt x="4746" y="246"/>
                </a:lnTo>
                <a:lnTo>
                  <a:pt x="4770" y="240"/>
                </a:lnTo>
                <a:lnTo>
                  <a:pt x="4782" y="234"/>
                </a:lnTo>
                <a:lnTo>
                  <a:pt x="4776" y="228"/>
                </a:lnTo>
                <a:lnTo>
                  <a:pt x="4770" y="228"/>
                </a:lnTo>
                <a:lnTo>
                  <a:pt x="4758" y="222"/>
                </a:lnTo>
                <a:lnTo>
                  <a:pt x="4746" y="222"/>
                </a:lnTo>
                <a:lnTo>
                  <a:pt x="4734" y="216"/>
                </a:lnTo>
                <a:lnTo>
                  <a:pt x="4686" y="216"/>
                </a:lnTo>
                <a:lnTo>
                  <a:pt x="4674" y="210"/>
                </a:lnTo>
                <a:lnTo>
                  <a:pt x="4662" y="210"/>
                </a:lnTo>
                <a:lnTo>
                  <a:pt x="4662" y="204"/>
                </a:lnTo>
                <a:lnTo>
                  <a:pt x="4674" y="198"/>
                </a:lnTo>
                <a:lnTo>
                  <a:pt x="4686" y="198"/>
                </a:lnTo>
                <a:lnTo>
                  <a:pt x="4704" y="192"/>
                </a:lnTo>
                <a:lnTo>
                  <a:pt x="4716" y="186"/>
                </a:lnTo>
                <a:lnTo>
                  <a:pt x="4764" y="186"/>
                </a:lnTo>
                <a:lnTo>
                  <a:pt x="4782" y="192"/>
                </a:lnTo>
                <a:lnTo>
                  <a:pt x="4860" y="192"/>
                </a:lnTo>
                <a:lnTo>
                  <a:pt x="4878" y="186"/>
                </a:lnTo>
                <a:lnTo>
                  <a:pt x="4902" y="186"/>
                </a:lnTo>
                <a:lnTo>
                  <a:pt x="4896" y="180"/>
                </a:lnTo>
                <a:lnTo>
                  <a:pt x="4878" y="180"/>
                </a:lnTo>
                <a:lnTo>
                  <a:pt x="4866" y="174"/>
                </a:lnTo>
                <a:lnTo>
                  <a:pt x="4872" y="168"/>
                </a:lnTo>
                <a:lnTo>
                  <a:pt x="4902" y="162"/>
                </a:lnTo>
                <a:lnTo>
                  <a:pt x="4944" y="168"/>
                </a:lnTo>
                <a:lnTo>
                  <a:pt x="4974" y="174"/>
                </a:lnTo>
                <a:lnTo>
                  <a:pt x="4986" y="174"/>
                </a:lnTo>
                <a:lnTo>
                  <a:pt x="4992" y="168"/>
                </a:lnTo>
                <a:lnTo>
                  <a:pt x="4992" y="150"/>
                </a:lnTo>
                <a:lnTo>
                  <a:pt x="5070" y="156"/>
                </a:lnTo>
                <a:lnTo>
                  <a:pt x="5070" y="132"/>
                </a:lnTo>
                <a:lnTo>
                  <a:pt x="5082" y="132"/>
                </a:lnTo>
                <a:lnTo>
                  <a:pt x="5094" y="138"/>
                </a:lnTo>
                <a:lnTo>
                  <a:pt x="5112" y="138"/>
                </a:lnTo>
                <a:lnTo>
                  <a:pt x="5136" y="126"/>
                </a:lnTo>
                <a:lnTo>
                  <a:pt x="5148" y="126"/>
                </a:lnTo>
                <a:lnTo>
                  <a:pt x="5154" y="120"/>
                </a:lnTo>
                <a:lnTo>
                  <a:pt x="5172" y="120"/>
                </a:lnTo>
                <a:lnTo>
                  <a:pt x="5208" y="114"/>
                </a:lnTo>
                <a:lnTo>
                  <a:pt x="5256" y="102"/>
                </a:lnTo>
                <a:lnTo>
                  <a:pt x="5298" y="96"/>
                </a:lnTo>
                <a:lnTo>
                  <a:pt x="5322" y="90"/>
                </a:lnTo>
                <a:lnTo>
                  <a:pt x="5340" y="90"/>
                </a:lnTo>
                <a:lnTo>
                  <a:pt x="5346" y="84"/>
                </a:lnTo>
                <a:lnTo>
                  <a:pt x="5238" y="84"/>
                </a:lnTo>
                <a:lnTo>
                  <a:pt x="5214" y="96"/>
                </a:lnTo>
                <a:lnTo>
                  <a:pt x="5142" y="96"/>
                </a:lnTo>
                <a:lnTo>
                  <a:pt x="5226" y="90"/>
                </a:lnTo>
                <a:lnTo>
                  <a:pt x="5220" y="78"/>
                </a:lnTo>
                <a:lnTo>
                  <a:pt x="5268" y="84"/>
                </a:lnTo>
                <a:lnTo>
                  <a:pt x="5274" y="78"/>
                </a:lnTo>
                <a:lnTo>
                  <a:pt x="5286" y="72"/>
                </a:lnTo>
                <a:lnTo>
                  <a:pt x="5358" y="72"/>
                </a:lnTo>
                <a:lnTo>
                  <a:pt x="5406" y="66"/>
                </a:lnTo>
                <a:lnTo>
                  <a:pt x="5454" y="66"/>
                </a:lnTo>
                <a:lnTo>
                  <a:pt x="5484" y="60"/>
                </a:lnTo>
                <a:lnTo>
                  <a:pt x="5496" y="60"/>
                </a:lnTo>
                <a:lnTo>
                  <a:pt x="5514" y="54"/>
                </a:lnTo>
                <a:lnTo>
                  <a:pt x="5532" y="54"/>
                </a:lnTo>
                <a:lnTo>
                  <a:pt x="5550" y="48"/>
                </a:lnTo>
                <a:lnTo>
                  <a:pt x="5562" y="42"/>
                </a:lnTo>
                <a:lnTo>
                  <a:pt x="5574" y="42"/>
                </a:lnTo>
                <a:lnTo>
                  <a:pt x="5574" y="36"/>
                </a:lnTo>
                <a:close/>
                <a:moveTo>
                  <a:pt x="4032" y="966"/>
                </a:moveTo>
                <a:lnTo>
                  <a:pt x="4086" y="966"/>
                </a:lnTo>
                <a:lnTo>
                  <a:pt x="4134" y="942"/>
                </a:lnTo>
                <a:lnTo>
                  <a:pt x="4140" y="930"/>
                </a:lnTo>
                <a:lnTo>
                  <a:pt x="4134" y="918"/>
                </a:lnTo>
                <a:lnTo>
                  <a:pt x="4134" y="912"/>
                </a:lnTo>
                <a:lnTo>
                  <a:pt x="4122" y="906"/>
                </a:lnTo>
                <a:lnTo>
                  <a:pt x="4074" y="906"/>
                </a:lnTo>
                <a:lnTo>
                  <a:pt x="4062" y="912"/>
                </a:lnTo>
                <a:lnTo>
                  <a:pt x="4050" y="912"/>
                </a:lnTo>
                <a:lnTo>
                  <a:pt x="4026" y="924"/>
                </a:lnTo>
                <a:lnTo>
                  <a:pt x="4014" y="936"/>
                </a:lnTo>
                <a:lnTo>
                  <a:pt x="4002" y="942"/>
                </a:lnTo>
                <a:lnTo>
                  <a:pt x="4002" y="954"/>
                </a:lnTo>
                <a:lnTo>
                  <a:pt x="4014" y="960"/>
                </a:lnTo>
                <a:lnTo>
                  <a:pt x="4032" y="966"/>
                </a:lnTo>
                <a:close/>
                <a:moveTo>
                  <a:pt x="4014" y="840"/>
                </a:moveTo>
                <a:lnTo>
                  <a:pt x="4002" y="840"/>
                </a:lnTo>
                <a:lnTo>
                  <a:pt x="3990" y="846"/>
                </a:lnTo>
                <a:lnTo>
                  <a:pt x="3984" y="852"/>
                </a:lnTo>
                <a:lnTo>
                  <a:pt x="3972" y="852"/>
                </a:lnTo>
                <a:lnTo>
                  <a:pt x="3990" y="852"/>
                </a:lnTo>
                <a:lnTo>
                  <a:pt x="4008" y="846"/>
                </a:lnTo>
                <a:lnTo>
                  <a:pt x="4026" y="846"/>
                </a:lnTo>
                <a:lnTo>
                  <a:pt x="4044" y="840"/>
                </a:lnTo>
                <a:lnTo>
                  <a:pt x="4050" y="834"/>
                </a:lnTo>
                <a:lnTo>
                  <a:pt x="4056" y="834"/>
                </a:lnTo>
                <a:lnTo>
                  <a:pt x="4068" y="822"/>
                </a:lnTo>
                <a:lnTo>
                  <a:pt x="4050" y="822"/>
                </a:lnTo>
                <a:lnTo>
                  <a:pt x="4044" y="828"/>
                </a:lnTo>
                <a:lnTo>
                  <a:pt x="4032" y="828"/>
                </a:lnTo>
                <a:lnTo>
                  <a:pt x="4020" y="834"/>
                </a:lnTo>
                <a:lnTo>
                  <a:pt x="4014" y="840"/>
                </a:lnTo>
                <a:close/>
                <a:moveTo>
                  <a:pt x="4122" y="822"/>
                </a:moveTo>
                <a:lnTo>
                  <a:pt x="4104" y="822"/>
                </a:lnTo>
                <a:lnTo>
                  <a:pt x="4098" y="828"/>
                </a:lnTo>
                <a:lnTo>
                  <a:pt x="4098" y="840"/>
                </a:lnTo>
                <a:lnTo>
                  <a:pt x="4104" y="846"/>
                </a:lnTo>
                <a:lnTo>
                  <a:pt x="4110" y="840"/>
                </a:lnTo>
                <a:lnTo>
                  <a:pt x="4116" y="840"/>
                </a:lnTo>
                <a:lnTo>
                  <a:pt x="4128" y="828"/>
                </a:lnTo>
                <a:lnTo>
                  <a:pt x="4122" y="822"/>
                </a:lnTo>
                <a:close/>
                <a:moveTo>
                  <a:pt x="3528" y="1062"/>
                </a:moveTo>
                <a:lnTo>
                  <a:pt x="3522" y="1062"/>
                </a:lnTo>
                <a:lnTo>
                  <a:pt x="3504" y="1080"/>
                </a:lnTo>
                <a:lnTo>
                  <a:pt x="3504" y="1086"/>
                </a:lnTo>
                <a:lnTo>
                  <a:pt x="3510" y="1092"/>
                </a:lnTo>
                <a:lnTo>
                  <a:pt x="3528" y="1092"/>
                </a:lnTo>
                <a:lnTo>
                  <a:pt x="3534" y="1086"/>
                </a:lnTo>
                <a:lnTo>
                  <a:pt x="3540" y="1074"/>
                </a:lnTo>
                <a:lnTo>
                  <a:pt x="3540" y="1068"/>
                </a:lnTo>
                <a:lnTo>
                  <a:pt x="3534" y="1062"/>
                </a:lnTo>
                <a:lnTo>
                  <a:pt x="3528" y="1062"/>
                </a:lnTo>
                <a:close/>
                <a:moveTo>
                  <a:pt x="3588" y="1062"/>
                </a:moveTo>
                <a:lnTo>
                  <a:pt x="3582" y="1062"/>
                </a:lnTo>
                <a:lnTo>
                  <a:pt x="3576" y="1068"/>
                </a:lnTo>
                <a:lnTo>
                  <a:pt x="3576" y="1080"/>
                </a:lnTo>
                <a:lnTo>
                  <a:pt x="3582" y="1086"/>
                </a:lnTo>
                <a:lnTo>
                  <a:pt x="3594" y="1086"/>
                </a:lnTo>
                <a:lnTo>
                  <a:pt x="3600" y="1080"/>
                </a:lnTo>
                <a:lnTo>
                  <a:pt x="3600" y="1068"/>
                </a:lnTo>
                <a:lnTo>
                  <a:pt x="3588" y="1062"/>
                </a:lnTo>
                <a:close/>
                <a:moveTo>
                  <a:pt x="3756" y="1242"/>
                </a:moveTo>
                <a:lnTo>
                  <a:pt x="3744" y="1248"/>
                </a:lnTo>
                <a:lnTo>
                  <a:pt x="3744" y="1260"/>
                </a:lnTo>
                <a:lnTo>
                  <a:pt x="3750" y="1266"/>
                </a:lnTo>
                <a:lnTo>
                  <a:pt x="3762" y="1272"/>
                </a:lnTo>
                <a:lnTo>
                  <a:pt x="3768" y="1272"/>
                </a:lnTo>
                <a:lnTo>
                  <a:pt x="3786" y="1254"/>
                </a:lnTo>
                <a:lnTo>
                  <a:pt x="3786" y="1242"/>
                </a:lnTo>
                <a:lnTo>
                  <a:pt x="3780" y="1236"/>
                </a:lnTo>
                <a:lnTo>
                  <a:pt x="3768" y="1236"/>
                </a:lnTo>
                <a:lnTo>
                  <a:pt x="3756" y="1242"/>
                </a:lnTo>
                <a:close/>
                <a:moveTo>
                  <a:pt x="3984" y="2532"/>
                </a:moveTo>
                <a:lnTo>
                  <a:pt x="3948" y="2520"/>
                </a:lnTo>
                <a:lnTo>
                  <a:pt x="3942" y="2514"/>
                </a:lnTo>
                <a:lnTo>
                  <a:pt x="3936" y="2514"/>
                </a:lnTo>
                <a:lnTo>
                  <a:pt x="3924" y="2526"/>
                </a:lnTo>
                <a:lnTo>
                  <a:pt x="3930" y="2532"/>
                </a:lnTo>
                <a:lnTo>
                  <a:pt x="3942" y="2538"/>
                </a:lnTo>
                <a:lnTo>
                  <a:pt x="3948" y="2544"/>
                </a:lnTo>
                <a:lnTo>
                  <a:pt x="3954" y="2544"/>
                </a:lnTo>
                <a:lnTo>
                  <a:pt x="3960" y="2550"/>
                </a:lnTo>
                <a:lnTo>
                  <a:pt x="3996" y="2550"/>
                </a:lnTo>
                <a:lnTo>
                  <a:pt x="4008" y="2556"/>
                </a:lnTo>
                <a:lnTo>
                  <a:pt x="4020" y="2556"/>
                </a:lnTo>
                <a:lnTo>
                  <a:pt x="4038" y="2538"/>
                </a:lnTo>
                <a:lnTo>
                  <a:pt x="4008" y="2538"/>
                </a:lnTo>
                <a:lnTo>
                  <a:pt x="3984" y="2532"/>
                </a:lnTo>
                <a:close/>
                <a:moveTo>
                  <a:pt x="4098" y="2280"/>
                </a:moveTo>
                <a:lnTo>
                  <a:pt x="4092" y="2280"/>
                </a:lnTo>
                <a:lnTo>
                  <a:pt x="4086" y="2274"/>
                </a:lnTo>
                <a:lnTo>
                  <a:pt x="4050" y="2274"/>
                </a:lnTo>
                <a:lnTo>
                  <a:pt x="4032" y="2268"/>
                </a:lnTo>
                <a:lnTo>
                  <a:pt x="3996" y="2268"/>
                </a:lnTo>
                <a:lnTo>
                  <a:pt x="4002" y="2274"/>
                </a:lnTo>
                <a:lnTo>
                  <a:pt x="4008" y="2274"/>
                </a:lnTo>
                <a:lnTo>
                  <a:pt x="4014" y="2280"/>
                </a:lnTo>
                <a:lnTo>
                  <a:pt x="4026" y="2286"/>
                </a:lnTo>
                <a:lnTo>
                  <a:pt x="4032" y="2286"/>
                </a:lnTo>
                <a:lnTo>
                  <a:pt x="4032" y="2304"/>
                </a:lnTo>
                <a:lnTo>
                  <a:pt x="4044" y="2304"/>
                </a:lnTo>
                <a:lnTo>
                  <a:pt x="4080" y="2310"/>
                </a:lnTo>
                <a:lnTo>
                  <a:pt x="4128" y="2316"/>
                </a:lnTo>
                <a:lnTo>
                  <a:pt x="4164" y="2316"/>
                </a:lnTo>
                <a:lnTo>
                  <a:pt x="4170" y="2310"/>
                </a:lnTo>
                <a:lnTo>
                  <a:pt x="4170" y="2304"/>
                </a:lnTo>
                <a:lnTo>
                  <a:pt x="4164" y="2304"/>
                </a:lnTo>
                <a:lnTo>
                  <a:pt x="4152" y="2292"/>
                </a:lnTo>
                <a:lnTo>
                  <a:pt x="4128" y="2286"/>
                </a:lnTo>
                <a:lnTo>
                  <a:pt x="4098" y="2280"/>
                </a:lnTo>
                <a:close/>
                <a:moveTo>
                  <a:pt x="4194" y="2550"/>
                </a:moveTo>
                <a:lnTo>
                  <a:pt x="4164" y="2550"/>
                </a:lnTo>
                <a:lnTo>
                  <a:pt x="4152" y="2556"/>
                </a:lnTo>
                <a:lnTo>
                  <a:pt x="4146" y="2562"/>
                </a:lnTo>
                <a:lnTo>
                  <a:pt x="4182" y="2526"/>
                </a:lnTo>
                <a:lnTo>
                  <a:pt x="4176" y="2520"/>
                </a:lnTo>
                <a:lnTo>
                  <a:pt x="4152" y="2520"/>
                </a:lnTo>
                <a:lnTo>
                  <a:pt x="4140" y="2526"/>
                </a:lnTo>
                <a:lnTo>
                  <a:pt x="4128" y="2538"/>
                </a:lnTo>
                <a:lnTo>
                  <a:pt x="4104" y="2574"/>
                </a:lnTo>
                <a:lnTo>
                  <a:pt x="4164" y="2568"/>
                </a:lnTo>
                <a:lnTo>
                  <a:pt x="4176" y="2568"/>
                </a:lnTo>
                <a:lnTo>
                  <a:pt x="4182" y="2562"/>
                </a:lnTo>
                <a:lnTo>
                  <a:pt x="4194" y="2562"/>
                </a:lnTo>
                <a:lnTo>
                  <a:pt x="4200" y="2556"/>
                </a:lnTo>
                <a:lnTo>
                  <a:pt x="4200" y="2550"/>
                </a:lnTo>
                <a:lnTo>
                  <a:pt x="4194" y="2550"/>
                </a:lnTo>
                <a:close/>
                <a:moveTo>
                  <a:pt x="4590" y="1962"/>
                </a:moveTo>
                <a:lnTo>
                  <a:pt x="4578" y="1974"/>
                </a:lnTo>
                <a:lnTo>
                  <a:pt x="4578" y="1980"/>
                </a:lnTo>
                <a:lnTo>
                  <a:pt x="4572" y="1986"/>
                </a:lnTo>
                <a:lnTo>
                  <a:pt x="4566" y="1986"/>
                </a:lnTo>
                <a:lnTo>
                  <a:pt x="4554" y="1974"/>
                </a:lnTo>
                <a:lnTo>
                  <a:pt x="4554" y="1962"/>
                </a:lnTo>
                <a:lnTo>
                  <a:pt x="4566" y="1962"/>
                </a:lnTo>
                <a:lnTo>
                  <a:pt x="4572" y="1956"/>
                </a:lnTo>
                <a:lnTo>
                  <a:pt x="4566" y="1932"/>
                </a:lnTo>
                <a:lnTo>
                  <a:pt x="4536" y="1926"/>
                </a:lnTo>
                <a:lnTo>
                  <a:pt x="4530" y="1926"/>
                </a:lnTo>
                <a:lnTo>
                  <a:pt x="4524" y="1932"/>
                </a:lnTo>
                <a:lnTo>
                  <a:pt x="4512" y="1938"/>
                </a:lnTo>
                <a:lnTo>
                  <a:pt x="4494" y="1944"/>
                </a:lnTo>
                <a:lnTo>
                  <a:pt x="4470" y="1956"/>
                </a:lnTo>
                <a:lnTo>
                  <a:pt x="4464" y="1962"/>
                </a:lnTo>
                <a:lnTo>
                  <a:pt x="4458" y="1962"/>
                </a:lnTo>
                <a:lnTo>
                  <a:pt x="4446" y="1968"/>
                </a:lnTo>
                <a:lnTo>
                  <a:pt x="4434" y="1968"/>
                </a:lnTo>
                <a:lnTo>
                  <a:pt x="4416" y="1974"/>
                </a:lnTo>
                <a:lnTo>
                  <a:pt x="4404" y="1974"/>
                </a:lnTo>
                <a:lnTo>
                  <a:pt x="4374" y="1998"/>
                </a:lnTo>
                <a:lnTo>
                  <a:pt x="4386" y="1974"/>
                </a:lnTo>
                <a:lnTo>
                  <a:pt x="4362" y="1956"/>
                </a:lnTo>
                <a:lnTo>
                  <a:pt x="4398" y="1968"/>
                </a:lnTo>
                <a:lnTo>
                  <a:pt x="4410" y="1956"/>
                </a:lnTo>
                <a:lnTo>
                  <a:pt x="4440" y="1950"/>
                </a:lnTo>
                <a:lnTo>
                  <a:pt x="4440" y="1932"/>
                </a:lnTo>
                <a:lnTo>
                  <a:pt x="4494" y="1932"/>
                </a:lnTo>
                <a:lnTo>
                  <a:pt x="4518" y="1920"/>
                </a:lnTo>
                <a:lnTo>
                  <a:pt x="4524" y="1914"/>
                </a:lnTo>
                <a:lnTo>
                  <a:pt x="4536" y="1908"/>
                </a:lnTo>
                <a:lnTo>
                  <a:pt x="4608" y="1908"/>
                </a:lnTo>
                <a:lnTo>
                  <a:pt x="4602" y="1902"/>
                </a:lnTo>
                <a:lnTo>
                  <a:pt x="4596" y="1902"/>
                </a:lnTo>
                <a:lnTo>
                  <a:pt x="4584" y="1896"/>
                </a:lnTo>
                <a:lnTo>
                  <a:pt x="4578" y="1890"/>
                </a:lnTo>
                <a:lnTo>
                  <a:pt x="4578" y="1866"/>
                </a:lnTo>
                <a:lnTo>
                  <a:pt x="4572" y="1866"/>
                </a:lnTo>
                <a:lnTo>
                  <a:pt x="4566" y="1872"/>
                </a:lnTo>
                <a:lnTo>
                  <a:pt x="4542" y="1872"/>
                </a:lnTo>
                <a:lnTo>
                  <a:pt x="4530" y="1878"/>
                </a:lnTo>
                <a:lnTo>
                  <a:pt x="4518" y="1878"/>
                </a:lnTo>
                <a:lnTo>
                  <a:pt x="4518" y="1866"/>
                </a:lnTo>
                <a:lnTo>
                  <a:pt x="4512" y="1860"/>
                </a:lnTo>
                <a:lnTo>
                  <a:pt x="4452" y="1878"/>
                </a:lnTo>
                <a:lnTo>
                  <a:pt x="4458" y="1848"/>
                </a:lnTo>
                <a:lnTo>
                  <a:pt x="4410" y="1860"/>
                </a:lnTo>
                <a:lnTo>
                  <a:pt x="4416" y="1854"/>
                </a:lnTo>
                <a:lnTo>
                  <a:pt x="4422" y="1842"/>
                </a:lnTo>
                <a:lnTo>
                  <a:pt x="4440" y="1824"/>
                </a:lnTo>
                <a:lnTo>
                  <a:pt x="4446" y="1812"/>
                </a:lnTo>
                <a:lnTo>
                  <a:pt x="4446" y="1800"/>
                </a:lnTo>
                <a:lnTo>
                  <a:pt x="4434" y="1800"/>
                </a:lnTo>
                <a:lnTo>
                  <a:pt x="4422" y="1794"/>
                </a:lnTo>
                <a:lnTo>
                  <a:pt x="4398" y="1794"/>
                </a:lnTo>
                <a:lnTo>
                  <a:pt x="4404" y="1770"/>
                </a:lnTo>
                <a:lnTo>
                  <a:pt x="4368" y="1770"/>
                </a:lnTo>
                <a:lnTo>
                  <a:pt x="4380" y="1752"/>
                </a:lnTo>
                <a:lnTo>
                  <a:pt x="4356" y="1728"/>
                </a:lnTo>
                <a:lnTo>
                  <a:pt x="4368" y="1728"/>
                </a:lnTo>
                <a:lnTo>
                  <a:pt x="4380" y="1734"/>
                </a:lnTo>
                <a:lnTo>
                  <a:pt x="4404" y="1734"/>
                </a:lnTo>
                <a:lnTo>
                  <a:pt x="4410" y="1728"/>
                </a:lnTo>
                <a:lnTo>
                  <a:pt x="4422" y="1722"/>
                </a:lnTo>
                <a:lnTo>
                  <a:pt x="4434" y="1710"/>
                </a:lnTo>
                <a:lnTo>
                  <a:pt x="4440" y="1710"/>
                </a:lnTo>
                <a:lnTo>
                  <a:pt x="4398" y="1686"/>
                </a:lnTo>
                <a:lnTo>
                  <a:pt x="4446" y="1656"/>
                </a:lnTo>
                <a:lnTo>
                  <a:pt x="4398" y="1632"/>
                </a:lnTo>
                <a:lnTo>
                  <a:pt x="4350" y="1638"/>
                </a:lnTo>
                <a:lnTo>
                  <a:pt x="4404" y="1614"/>
                </a:lnTo>
                <a:lnTo>
                  <a:pt x="4368" y="1608"/>
                </a:lnTo>
                <a:lnTo>
                  <a:pt x="4410" y="1584"/>
                </a:lnTo>
                <a:lnTo>
                  <a:pt x="4404" y="1560"/>
                </a:lnTo>
                <a:lnTo>
                  <a:pt x="4374" y="1560"/>
                </a:lnTo>
                <a:lnTo>
                  <a:pt x="4380" y="1554"/>
                </a:lnTo>
                <a:lnTo>
                  <a:pt x="4392" y="1530"/>
                </a:lnTo>
                <a:lnTo>
                  <a:pt x="4374" y="1494"/>
                </a:lnTo>
                <a:lnTo>
                  <a:pt x="4362" y="1494"/>
                </a:lnTo>
                <a:lnTo>
                  <a:pt x="4374" y="1470"/>
                </a:lnTo>
                <a:lnTo>
                  <a:pt x="4362" y="1476"/>
                </a:lnTo>
                <a:lnTo>
                  <a:pt x="4356" y="1482"/>
                </a:lnTo>
                <a:lnTo>
                  <a:pt x="4344" y="1488"/>
                </a:lnTo>
                <a:lnTo>
                  <a:pt x="4332" y="1500"/>
                </a:lnTo>
                <a:lnTo>
                  <a:pt x="4332" y="1518"/>
                </a:lnTo>
                <a:lnTo>
                  <a:pt x="4302" y="1506"/>
                </a:lnTo>
                <a:lnTo>
                  <a:pt x="4308" y="1542"/>
                </a:lnTo>
                <a:lnTo>
                  <a:pt x="4284" y="1542"/>
                </a:lnTo>
                <a:lnTo>
                  <a:pt x="4272" y="1560"/>
                </a:lnTo>
                <a:lnTo>
                  <a:pt x="4278" y="1572"/>
                </a:lnTo>
                <a:lnTo>
                  <a:pt x="4254" y="1572"/>
                </a:lnTo>
                <a:lnTo>
                  <a:pt x="4230" y="1614"/>
                </a:lnTo>
                <a:lnTo>
                  <a:pt x="4218" y="1614"/>
                </a:lnTo>
                <a:lnTo>
                  <a:pt x="4236" y="1578"/>
                </a:lnTo>
                <a:lnTo>
                  <a:pt x="4224" y="1566"/>
                </a:lnTo>
                <a:lnTo>
                  <a:pt x="4212" y="1566"/>
                </a:lnTo>
                <a:lnTo>
                  <a:pt x="4194" y="1584"/>
                </a:lnTo>
                <a:lnTo>
                  <a:pt x="4182" y="1590"/>
                </a:lnTo>
                <a:lnTo>
                  <a:pt x="4176" y="1596"/>
                </a:lnTo>
                <a:lnTo>
                  <a:pt x="4164" y="1602"/>
                </a:lnTo>
                <a:lnTo>
                  <a:pt x="4158" y="1608"/>
                </a:lnTo>
                <a:lnTo>
                  <a:pt x="4146" y="1614"/>
                </a:lnTo>
                <a:lnTo>
                  <a:pt x="4140" y="1620"/>
                </a:lnTo>
                <a:lnTo>
                  <a:pt x="4116" y="1632"/>
                </a:lnTo>
                <a:lnTo>
                  <a:pt x="4110" y="1638"/>
                </a:lnTo>
                <a:lnTo>
                  <a:pt x="4116" y="1614"/>
                </a:lnTo>
                <a:lnTo>
                  <a:pt x="4116" y="1596"/>
                </a:lnTo>
                <a:lnTo>
                  <a:pt x="4080" y="1632"/>
                </a:lnTo>
                <a:lnTo>
                  <a:pt x="4014" y="1644"/>
                </a:lnTo>
                <a:lnTo>
                  <a:pt x="4074" y="1626"/>
                </a:lnTo>
                <a:lnTo>
                  <a:pt x="4080" y="1620"/>
                </a:lnTo>
                <a:lnTo>
                  <a:pt x="4092" y="1596"/>
                </a:lnTo>
                <a:lnTo>
                  <a:pt x="4098" y="1590"/>
                </a:lnTo>
                <a:lnTo>
                  <a:pt x="4098" y="1578"/>
                </a:lnTo>
                <a:lnTo>
                  <a:pt x="4092" y="1572"/>
                </a:lnTo>
                <a:lnTo>
                  <a:pt x="4050" y="1572"/>
                </a:lnTo>
                <a:lnTo>
                  <a:pt x="4038" y="1578"/>
                </a:lnTo>
                <a:lnTo>
                  <a:pt x="4032" y="1578"/>
                </a:lnTo>
                <a:lnTo>
                  <a:pt x="4020" y="1584"/>
                </a:lnTo>
                <a:lnTo>
                  <a:pt x="4002" y="1584"/>
                </a:lnTo>
                <a:lnTo>
                  <a:pt x="4002" y="1578"/>
                </a:lnTo>
                <a:lnTo>
                  <a:pt x="4008" y="1572"/>
                </a:lnTo>
                <a:lnTo>
                  <a:pt x="4020" y="1566"/>
                </a:lnTo>
                <a:lnTo>
                  <a:pt x="4026" y="1560"/>
                </a:lnTo>
                <a:lnTo>
                  <a:pt x="4032" y="1560"/>
                </a:lnTo>
                <a:lnTo>
                  <a:pt x="4032" y="1572"/>
                </a:lnTo>
                <a:lnTo>
                  <a:pt x="4050" y="1560"/>
                </a:lnTo>
                <a:lnTo>
                  <a:pt x="4044" y="1536"/>
                </a:lnTo>
                <a:lnTo>
                  <a:pt x="4050" y="1530"/>
                </a:lnTo>
                <a:lnTo>
                  <a:pt x="4062" y="1524"/>
                </a:lnTo>
                <a:lnTo>
                  <a:pt x="4074" y="1512"/>
                </a:lnTo>
                <a:lnTo>
                  <a:pt x="4074" y="1506"/>
                </a:lnTo>
                <a:lnTo>
                  <a:pt x="4068" y="1500"/>
                </a:lnTo>
                <a:lnTo>
                  <a:pt x="4056" y="1494"/>
                </a:lnTo>
                <a:lnTo>
                  <a:pt x="4044" y="1494"/>
                </a:lnTo>
                <a:lnTo>
                  <a:pt x="4032" y="1488"/>
                </a:lnTo>
                <a:lnTo>
                  <a:pt x="4014" y="1488"/>
                </a:lnTo>
                <a:lnTo>
                  <a:pt x="4044" y="1488"/>
                </a:lnTo>
                <a:lnTo>
                  <a:pt x="4056" y="1482"/>
                </a:lnTo>
                <a:lnTo>
                  <a:pt x="4074" y="1482"/>
                </a:lnTo>
                <a:lnTo>
                  <a:pt x="4086" y="1470"/>
                </a:lnTo>
                <a:lnTo>
                  <a:pt x="4098" y="1446"/>
                </a:lnTo>
                <a:lnTo>
                  <a:pt x="4104" y="1440"/>
                </a:lnTo>
                <a:lnTo>
                  <a:pt x="4110" y="1440"/>
                </a:lnTo>
                <a:lnTo>
                  <a:pt x="4122" y="1434"/>
                </a:lnTo>
                <a:lnTo>
                  <a:pt x="4128" y="1434"/>
                </a:lnTo>
                <a:lnTo>
                  <a:pt x="4134" y="1428"/>
                </a:lnTo>
                <a:lnTo>
                  <a:pt x="4122" y="1416"/>
                </a:lnTo>
                <a:lnTo>
                  <a:pt x="4110" y="1422"/>
                </a:lnTo>
                <a:lnTo>
                  <a:pt x="4098" y="1434"/>
                </a:lnTo>
                <a:lnTo>
                  <a:pt x="4092" y="1404"/>
                </a:lnTo>
                <a:lnTo>
                  <a:pt x="4068" y="1404"/>
                </a:lnTo>
                <a:lnTo>
                  <a:pt x="4050" y="1410"/>
                </a:lnTo>
                <a:lnTo>
                  <a:pt x="4026" y="1410"/>
                </a:lnTo>
                <a:lnTo>
                  <a:pt x="4020" y="1404"/>
                </a:lnTo>
                <a:lnTo>
                  <a:pt x="4020" y="1386"/>
                </a:lnTo>
                <a:lnTo>
                  <a:pt x="4038" y="1368"/>
                </a:lnTo>
                <a:lnTo>
                  <a:pt x="4032" y="1362"/>
                </a:lnTo>
                <a:lnTo>
                  <a:pt x="4014" y="1362"/>
                </a:lnTo>
                <a:lnTo>
                  <a:pt x="4008" y="1368"/>
                </a:lnTo>
                <a:lnTo>
                  <a:pt x="4020" y="1344"/>
                </a:lnTo>
                <a:lnTo>
                  <a:pt x="3984" y="1350"/>
                </a:lnTo>
                <a:lnTo>
                  <a:pt x="3984" y="1326"/>
                </a:lnTo>
                <a:lnTo>
                  <a:pt x="3978" y="1314"/>
                </a:lnTo>
                <a:lnTo>
                  <a:pt x="3972" y="1308"/>
                </a:lnTo>
                <a:lnTo>
                  <a:pt x="3948" y="1308"/>
                </a:lnTo>
                <a:lnTo>
                  <a:pt x="3930" y="1314"/>
                </a:lnTo>
                <a:lnTo>
                  <a:pt x="3906" y="1326"/>
                </a:lnTo>
                <a:lnTo>
                  <a:pt x="3900" y="1332"/>
                </a:lnTo>
                <a:lnTo>
                  <a:pt x="3894" y="1332"/>
                </a:lnTo>
                <a:lnTo>
                  <a:pt x="3888" y="1326"/>
                </a:lnTo>
                <a:lnTo>
                  <a:pt x="3876" y="1320"/>
                </a:lnTo>
                <a:lnTo>
                  <a:pt x="3864" y="1320"/>
                </a:lnTo>
                <a:lnTo>
                  <a:pt x="3852" y="1326"/>
                </a:lnTo>
                <a:lnTo>
                  <a:pt x="3846" y="1326"/>
                </a:lnTo>
                <a:lnTo>
                  <a:pt x="3834" y="1332"/>
                </a:lnTo>
                <a:lnTo>
                  <a:pt x="3822" y="1326"/>
                </a:lnTo>
                <a:lnTo>
                  <a:pt x="3762" y="1302"/>
                </a:lnTo>
                <a:lnTo>
                  <a:pt x="3738" y="1302"/>
                </a:lnTo>
                <a:lnTo>
                  <a:pt x="3714" y="1314"/>
                </a:lnTo>
                <a:lnTo>
                  <a:pt x="3708" y="1326"/>
                </a:lnTo>
                <a:lnTo>
                  <a:pt x="3702" y="1326"/>
                </a:lnTo>
                <a:lnTo>
                  <a:pt x="3684" y="1344"/>
                </a:lnTo>
                <a:lnTo>
                  <a:pt x="3684" y="1350"/>
                </a:lnTo>
                <a:lnTo>
                  <a:pt x="3696" y="1356"/>
                </a:lnTo>
                <a:lnTo>
                  <a:pt x="3702" y="1362"/>
                </a:lnTo>
                <a:lnTo>
                  <a:pt x="3708" y="1374"/>
                </a:lnTo>
                <a:lnTo>
                  <a:pt x="3708" y="1380"/>
                </a:lnTo>
                <a:lnTo>
                  <a:pt x="3702" y="1386"/>
                </a:lnTo>
                <a:lnTo>
                  <a:pt x="3690" y="1392"/>
                </a:lnTo>
                <a:lnTo>
                  <a:pt x="3672" y="1410"/>
                </a:lnTo>
                <a:lnTo>
                  <a:pt x="3660" y="1416"/>
                </a:lnTo>
                <a:lnTo>
                  <a:pt x="3636" y="1422"/>
                </a:lnTo>
                <a:lnTo>
                  <a:pt x="3660" y="1440"/>
                </a:lnTo>
                <a:lnTo>
                  <a:pt x="3654" y="1446"/>
                </a:lnTo>
                <a:lnTo>
                  <a:pt x="3642" y="1446"/>
                </a:lnTo>
                <a:lnTo>
                  <a:pt x="3636" y="1452"/>
                </a:lnTo>
                <a:lnTo>
                  <a:pt x="3636" y="1470"/>
                </a:lnTo>
                <a:lnTo>
                  <a:pt x="3642" y="1482"/>
                </a:lnTo>
                <a:lnTo>
                  <a:pt x="3642" y="1488"/>
                </a:lnTo>
                <a:lnTo>
                  <a:pt x="3636" y="1500"/>
                </a:lnTo>
                <a:lnTo>
                  <a:pt x="3624" y="1506"/>
                </a:lnTo>
                <a:lnTo>
                  <a:pt x="3618" y="1512"/>
                </a:lnTo>
                <a:lnTo>
                  <a:pt x="3606" y="1512"/>
                </a:lnTo>
                <a:lnTo>
                  <a:pt x="3582" y="1524"/>
                </a:lnTo>
                <a:lnTo>
                  <a:pt x="3576" y="1536"/>
                </a:lnTo>
                <a:lnTo>
                  <a:pt x="3576" y="1548"/>
                </a:lnTo>
                <a:lnTo>
                  <a:pt x="3570" y="1548"/>
                </a:lnTo>
                <a:lnTo>
                  <a:pt x="3564" y="1554"/>
                </a:lnTo>
                <a:lnTo>
                  <a:pt x="3552" y="1554"/>
                </a:lnTo>
                <a:lnTo>
                  <a:pt x="3540" y="1560"/>
                </a:lnTo>
                <a:lnTo>
                  <a:pt x="3534" y="1566"/>
                </a:lnTo>
                <a:lnTo>
                  <a:pt x="3522" y="1572"/>
                </a:lnTo>
                <a:lnTo>
                  <a:pt x="3504" y="1590"/>
                </a:lnTo>
                <a:lnTo>
                  <a:pt x="3510" y="1596"/>
                </a:lnTo>
                <a:lnTo>
                  <a:pt x="3522" y="1602"/>
                </a:lnTo>
                <a:lnTo>
                  <a:pt x="3534" y="1614"/>
                </a:lnTo>
                <a:lnTo>
                  <a:pt x="3552" y="1620"/>
                </a:lnTo>
                <a:lnTo>
                  <a:pt x="3558" y="1632"/>
                </a:lnTo>
                <a:lnTo>
                  <a:pt x="3564" y="1638"/>
                </a:lnTo>
                <a:lnTo>
                  <a:pt x="3564" y="1662"/>
                </a:lnTo>
                <a:lnTo>
                  <a:pt x="3558" y="1698"/>
                </a:lnTo>
                <a:lnTo>
                  <a:pt x="3540" y="1746"/>
                </a:lnTo>
                <a:lnTo>
                  <a:pt x="3510" y="1776"/>
                </a:lnTo>
                <a:lnTo>
                  <a:pt x="3468" y="1800"/>
                </a:lnTo>
                <a:lnTo>
                  <a:pt x="3426" y="1830"/>
                </a:lnTo>
                <a:lnTo>
                  <a:pt x="3390" y="1854"/>
                </a:lnTo>
                <a:lnTo>
                  <a:pt x="3366" y="1860"/>
                </a:lnTo>
                <a:lnTo>
                  <a:pt x="3336" y="1860"/>
                </a:lnTo>
                <a:lnTo>
                  <a:pt x="3300" y="1866"/>
                </a:lnTo>
                <a:lnTo>
                  <a:pt x="3276" y="1872"/>
                </a:lnTo>
                <a:lnTo>
                  <a:pt x="3258" y="1878"/>
                </a:lnTo>
                <a:lnTo>
                  <a:pt x="3258" y="1902"/>
                </a:lnTo>
                <a:lnTo>
                  <a:pt x="3264" y="1914"/>
                </a:lnTo>
                <a:lnTo>
                  <a:pt x="3264" y="1926"/>
                </a:lnTo>
                <a:lnTo>
                  <a:pt x="3270" y="1938"/>
                </a:lnTo>
                <a:lnTo>
                  <a:pt x="3270" y="1950"/>
                </a:lnTo>
                <a:lnTo>
                  <a:pt x="3252" y="1968"/>
                </a:lnTo>
                <a:lnTo>
                  <a:pt x="3234" y="2004"/>
                </a:lnTo>
                <a:lnTo>
                  <a:pt x="3234" y="2076"/>
                </a:lnTo>
                <a:lnTo>
                  <a:pt x="3210" y="2088"/>
                </a:lnTo>
                <a:lnTo>
                  <a:pt x="3204" y="2094"/>
                </a:lnTo>
                <a:lnTo>
                  <a:pt x="3180" y="2106"/>
                </a:lnTo>
                <a:lnTo>
                  <a:pt x="3180" y="2142"/>
                </a:lnTo>
                <a:lnTo>
                  <a:pt x="3156" y="2166"/>
                </a:lnTo>
                <a:lnTo>
                  <a:pt x="3156" y="2154"/>
                </a:lnTo>
                <a:lnTo>
                  <a:pt x="3162" y="2148"/>
                </a:lnTo>
                <a:lnTo>
                  <a:pt x="3162" y="2142"/>
                </a:lnTo>
                <a:lnTo>
                  <a:pt x="3156" y="2130"/>
                </a:lnTo>
                <a:lnTo>
                  <a:pt x="3138" y="2130"/>
                </a:lnTo>
                <a:lnTo>
                  <a:pt x="3126" y="2136"/>
                </a:lnTo>
                <a:lnTo>
                  <a:pt x="3108" y="2154"/>
                </a:lnTo>
                <a:lnTo>
                  <a:pt x="3108" y="2166"/>
                </a:lnTo>
                <a:lnTo>
                  <a:pt x="3114" y="2178"/>
                </a:lnTo>
                <a:lnTo>
                  <a:pt x="3114" y="2190"/>
                </a:lnTo>
                <a:lnTo>
                  <a:pt x="3108" y="2196"/>
                </a:lnTo>
                <a:lnTo>
                  <a:pt x="3108" y="2178"/>
                </a:lnTo>
                <a:lnTo>
                  <a:pt x="3102" y="2166"/>
                </a:lnTo>
                <a:lnTo>
                  <a:pt x="3090" y="2154"/>
                </a:lnTo>
                <a:lnTo>
                  <a:pt x="3078" y="2154"/>
                </a:lnTo>
                <a:lnTo>
                  <a:pt x="3066" y="2160"/>
                </a:lnTo>
                <a:lnTo>
                  <a:pt x="3042" y="2160"/>
                </a:lnTo>
                <a:lnTo>
                  <a:pt x="3036" y="2166"/>
                </a:lnTo>
                <a:lnTo>
                  <a:pt x="3030" y="2166"/>
                </a:lnTo>
                <a:lnTo>
                  <a:pt x="3042" y="2160"/>
                </a:lnTo>
                <a:lnTo>
                  <a:pt x="3060" y="2142"/>
                </a:lnTo>
                <a:lnTo>
                  <a:pt x="3072" y="2136"/>
                </a:lnTo>
                <a:lnTo>
                  <a:pt x="3078" y="2124"/>
                </a:lnTo>
                <a:lnTo>
                  <a:pt x="3078" y="2118"/>
                </a:lnTo>
                <a:lnTo>
                  <a:pt x="3072" y="2106"/>
                </a:lnTo>
                <a:lnTo>
                  <a:pt x="3060" y="2100"/>
                </a:lnTo>
                <a:lnTo>
                  <a:pt x="3048" y="2088"/>
                </a:lnTo>
                <a:lnTo>
                  <a:pt x="3030" y="2088"/>
                </a:lnTo>
                <a:lnTo>
                  <a:pt x="3024" y="2082"/>
                </a:lnTo>
                <a:lnTo>
                  <a:pt x="3018" y="2082"/>
                </a:lnTo>
                <a:lnTo>
                  <a:pt x="3024" y="2082"/>
                </a:lnTo>
                <a:lnTo>
                  <a:pt x="3042" y="2064"/>
                </a:lnTo>
                <a:lnTo>
                  <a:pt x="3042" y="2058"/>
                </a:lnTo>
                <a:lnTo>
                  <a:pt x="3030" y="2034"/>
                </a:lnTo>
                <a:lnTo>
                  <a:pt x="3030" y="2028"/>
                </a:lnTo>
                <a:lnTo>
                  <a:pt x="3024" y="2016"/>
                </a:lnTo>
                <a:lnTo>
                  <a:pt x="3060" y="1992"/>
                </a:lnTo>
                <a:lnTo>
                  <a:pt x="3060" y="1968"/>
                </a:lnTo>
                <a:lnTo>
                  <a:pt x="3084" y="1956"/>
                </a:lnTo>
                <a:lnTo>
                  <a:pt x="3084" y="1914"/>
                </a:lnTo>
                <a:lnTo>
                  <a:pt x="3090" y="1914"/>
                </a:lnTo>
                <a:lnTo>
                  <a:pt x="3102" y="1902"/>
                </a:lnTo>
                <a:lnTo>
                  <a:pt x="3114" y="1896"/>
                </a:lnTo>
                <a:lnTo>
                  <a:pt x="3132" y="1878"/>
                </a:lnTo>
                <a:lnTo>
                  <a:pt x="3126" y="1866"/>
                </a:lnTo>
                <a:lnTo>
                  <a:pt x="3120" y="1860"/>
                </a:lnTo>
                <a:lnTo>
                  <a:pt x="3084" y="1848"/>
                </a:lnTo>
                <a:lnTo>
                  <a:pt x="2976" y="1848"/>
                </a:lnTo>
                <a:lnTo>
                  <a:pt x="2940" y="1860"/>
                </a:lnTo>
                <a:lnTo>
                  <a:pt x="2946" y="1848"/>
                </a:lnTo>
                <a:lnTo>
                  <a:pt x="2952" y="1842"/>
                </a:lnTo>
                <a:lnTo>
                  <a:pt x="2952" y="1830"/>
                </a:lnTo>
                <a:lnTo>
                  <a:pt x="2958" y="1824"/>
                </a:lnTo>
                <a:lnTo>
                  <a:pt x="2952" y="1818"/>
                </a:lnTo>
                <a:lnTo>
                  <a:pt x="2940" y="1812"/>
                </a:lnTo>
                <a:lnTo>
                  <a:pt x="2928" y="1812"/>
                </a:lnTo>
                <a:lnTo>
                  <a:pt x="2892" y="1800"/>
                </a:lnTo>
                <a:lnTo>
                  <a:pt x="2874" y="1800"/>
                </a:lnTo>
                <a:lnTo>
                  <a:pt x="2868" y="1794"/>
                </a:lnTo>
                <a:lnTo>
                  <a:pt x="2862" y="1794"/>
                </a:lnTo>
                <a:lnTo>
                  <a:pt x="2862" y="1770"/>
                </a:lnTo>
                <a:lnTo>
                  <a:pt x="2856" y="1752"/>
                </a:lnTo>
                <a:lnTo>
                  <a:pt x="2844" y="1740"/>
                </a:lnTo>
                <a:lnTo>
                  <a:pt x="2790" y="1722"/>
                </a:lnTo>
                <a:lnTo>
                  <a:pt x="2778" y="1722"/>
                </a:lnTo>
                <a:lnTo>
                  <a:pt x="2778" y="1716"/>
                </a:lnTo>
                <a:lnTo>
                  <a:pt x="2766" y="1704"/>
                </a:lnTo>
                <a:lnTo>
                  <a:pt x="2754" y="1704"/>
                </a:lnTo>
                <a:lnTo>
                  <a:pt x="2736" y="1698"/>
                </a:lnTo>
                <a:lnTo>
                  <a:pt x="2694" y="1698"/>
                </a:lnTo>
                <a:lnTo>
                  <a:pt x="2646" y="1704"/>
                </a:lnTo>
                <a:lnTo>
                  <a:pt x="2610" y="1716"/>
                </a:lnTo>
                <a:lnTo>
                  <a:pt x="2592" y="1716"/>
                </a:lnTo>
                <a:lnTo>
                  <a:pt x="2598" y="1716"/>
                </a:lnTo>
                <a:lnTo>
                  <a:pt x="2604" y="1710"/>
                </a:lnTo>
                <a:lnTo>
                  <a:pt x="2616" y="1710"/>
                </a:lnTo>
                <a:lnTo>
                  <a:pt x="2628" y="1704"/>
                </a:lnTo>
                <a:lnTo>
                  <a:pt x="2634" y="1692"/>
                </a:lnTo>
                <a:lnTo>
                  <a:pt x="2640" y="1686"/>
                </a:lnTo>
                <a:lnTo>
                  <a:pt x="2646" y="1662"/>
                </a:lnTo>
                <a:lnTo>
                  <a:pt x="2658" y="1632"/>
                </a:lnTo>
                <a:lnTo>
                  <a:pt x="2664" y="1602"/>
                </a:lnTo>
                <a:lnTo>
                  <a:pt x="2670" y="1590"/>
                </a:lnTo>
                <a:lnTo>
                  <a:pt x="2658" y="1590"/>
                </a:lnTo>
                <a:lnTo>
                  <a:pt x="2646" y="1584"/>
                </a:lnTo>
                <a:lnTo>
                  <a:pt x="2616" y="1584"/>
                </a:lnTo>
                <a:lnTo>
                  <a:pt x="2610" y="1590"/>
                </a:lnTo>
                <a:lnTo>
                  <a:pt x="2598" y="1596"/>
                </a:lnTo>
                <a:lnTo>
                  <a:pt x="2592" y="1602"/>
                </a:lnTo>
                <a:lnTo>
                  <a:pt x="2580" y="1608"/>
                </a:lnTo>
                <a:lnTo>
                  <a:pt x="2598" y="1578"/>
                </a:lnTo>
                <a:lnTo>
                  <a:pt x="2592" y="1560"/>
                </a:lnTo>
                <a:lnTo>
                  <a:pt x="2610" y="1542"/>
                </a:lnTo>
                <a:lnTo>
                  <a:pt x="2616" y="1530"/>
                </a:lnTo>
                <a:lnTo>
                  <a:pt x="2640" y="1506"/>
                </a:lnTo>
                <a:lnTo>
                  <a:pt x="2646" y="1494"/>
                </a:lnTo>
                <a:lnTo>
                  <a:pt x="2664" y="1476"/>
                </a:lnTo>
                <a:lnTo>
                  <a:pt x="2694" y="1452"/>
                </a:lnTo>
                <a:lnTo>
                  <a:pt x="2730" y="1428"/>
                </a:lnTo>
                <a:lnTo>
                  <a:pt x="2754" y="1410"/>
                </a:lnTo>
                <a:lnTo>
                  <a:pt x="2766" y="1404"/>
                </a:lnTo>
                <a:lnTo>
                  <a:pt x="2760" y="1392"/>
                </a:lnTo>
                <a:lnTo>
                  <a:pt x="2826" y="1368"/>
                </a:lnTo>
                <a:lnTo>
                  <a:pt x="2826" y="1350"/>
                </a:lnTo>
                <a:lnTo>
                  <a:pt x="2868" y="1344"/>
                </a:lnTo>
                <a:lnTo>
                  <a:pt x="2868" y="1326"/>
                </a:lnTo>
                <a:lnTo>
                  <a:pt x="2898" y="1320"/>
                </a:lnTo>
                <a:lnTo>
                  <a:pt x="2952" y="1284"/>
                </a:lnTo>
                <a:lnTo>
                  <a:pt x="3006" y="1284"/>
                </a:lnTo>
                <a:lnTo>
                  <a:pt x="3042" y="1278"/>
                </a:lnTo>
                <a:lnTo>
                  <a:pt x="3060" y="1266"/>
                </a:lnTo>
                <a:lnTo>
                  <a:pt x="3060" y="1254"/>
                </a:lnTo>
                <a:lnTo>
                  <a:pt x="3030" y="1224"/>
                </a:lnTo>
                <a:lnTo>
                  <a:pt x="2970" y="1230"/>
                </a:lnTo>
                <a:lnTo>
                  <a:pt x="2982" y="1218"/>
                </a:lnTo>
                <a:lnTo>
                  <a:pt x="2928" y="1194"/>
                </a:lnTo>
                <a:lnTo>
                  <a:pt x="2952" y="1188"/>
                </a:lnTo>
                <a:lnTo>
                  <a:pt x="3036" y="1212"/>
                </a:lnTo>
                <a:lnTo>
                  <a:pt x="3054" y="1230"/>
                </a:lnTo>
                <a:lnTo>
                  <a:pt x="3066" y="1236"/>
                </a:lnTo>
                <a:lnTo>
                  <a:pt x="3096" y="1236"/>
                </a:lnTo>
                <a:lnTo>
                  <a:pt x="3108" y="1230"/>
                </a:lnTo>
                <a:lnTo>
                  <a:pt x="3114" y="1218"/>
                </a:lnTo>
                <a:lnTo>
                  <a:pt x="3126" y="1206"/>
                </a:lnTo>
                <a:lnTo>
                  <a:pt x="3132" y="1194"/>
                </a:lnTo>
                <a:lnTo>
                  <a:pt x="3144" y="1188"/>
                </a:lnTo>
                <a:lnTo>
                  <a:pt x="3150" y="1182"/>
                </a:lnTo>
                <a:lnTo>
                  <a:pt x="3156" y="1182"/>
                </a:lnTo>
                <a:lnTo>
                  <a:pt x="3180" y="1194"/>
                </a:lnTo>
                <a:lnTo>
                  <a:pt x="3198" y="1200"/>
                </a:lnTo>
                <a:lnTo>
                  <a:pt x="3210" y="1200"/>
                </a:lnTo>
                <a:lnTo>
                  <a:pt x="3246" y="1182"/>
                </a:lnTo>
                <a:lnTo>
                  <a:pt x="3282" y="1170"/>
                </a:lnTo>
                <a:lnTo>
                  <a:pt x="3318" y="1152"/>
                </a:lnTo>
                <a:lnTo>
                  <a:pt x="3336" y="1146"/>
                </a:lnTo>
                <a:lnTo>
                  <a:pt x="3360" y="1134"/>
                </a:lnTo>
                <a:lnTo>
                  <a:pt x="3372" y="1122"/>
                </a:lnTo>
                <a:lnTo>
                  <a:pt x="3366" y="1116"/>
                </a:lnTo>
                <a:lnTo>
                  <a:pt x="3342" y="1110"/>
                </a:lnTo>
                <a:lnTo>
                  <a:pt x="3264" y="1110"/>
                </a:lnTo>
                <a:lnTo>
                  <a:pt x="3258" y="1086"/>
                </a:lnTo>
                <a:lnTo>
                  <a:pt x="3174" y="1056"/>
                </a:lnTo>
                <a:lnTo>
                  <a:pt x="3186" y="1056"/>
                </a:lnTo>
                <a:lnTo>
                  <a:pt x="3216" y="1050"/>
                </a:lnTo>
                <a:lnTo>
                  <a:pt x="3252" y="1050"/>
                </a:lnTo>
                <a:lnTo>
                  <a:pt x="3282" y="1056"/>
                </a:lnTo>
                <a:lnTo>
                  <a:pt x="3294" y="1062"/>
                </a:lnTo>
                <a:lnTo>
                  <a:pt x="3306" y="1074"/>
                </a:lnTo>
                <a:lnTo>
                  <a:pt x="3324" y="1086"/>
                </a:lnTo>
                <a:lnTo>
                  <a:pt x="3336" y="1098"/>
                </a:lnTo>
                <a:lnTo>
                  <a:pt x="3348" y="1104"/>
                </a:lnTo>
                <a:lnTo>
                  <a:pt x="3372" y="1098"/>
                </a:lnTo>
                <a:lnTo>
                  <a:pt x="3408" y="1080"/>
                </a:lnTo>
                <a:lnTo>
                  <a:pt x="3444" y="1068"/>
                </a:lnTo>
                <a:lnTo>
                  <a:pt x="3474" y="1050"/>
                </a:lnTo>
                <a:lnTo>
                  <a:pt x="3486" y="1044"/>
                </a:lnTo>
                <a:lnTo>
                  <a:pt x="3462" y="1032"/>
                </a:lnTo>
                <a:lnTo>
                  <a:pt x="3468" y="1026"/>
                </a:lnTo>
                <a:lnTo>
                  <a:pt x="3492" y="1014"/>
                </a:lnTo>
                <a:lnTo>
                  <a:pt x="3522" y="1014"/>
                </a:lnTo>
                <a:lnTo>
                  <a:pt x="3528" y="1020"/>
                </a:lnTo>
                <a:lnTo>
                  <a:pt x="3534" y="1032"/>
                </a:lnTo>
                <a:lnTo>
                  <a:pt x="3540" y="1038"/>
                </a:lnTo>
                <a:lnTo>
                  <a:pt x="3570" y="1050"/>
                </a:lnTo>
                <a:lnTo>
                  <a:pt x="3576" y="1026"/>
                </a:lnTo>
                <a:lnTo>
                  <a:pt x="3594" y="1044"/>
                </a:lnTo>
                <a:lnTo>
                  <a:pt x="3600" y="1038"/>
                </a:lnTo>
                <a:lnTo>
                  <a:pt x="3600" y="1026"/>
                </a:lnTo>
                <a:lnTo>
                  <a:pt x="3594" y="1014"/>
                </a:lnTo>
                <a:lnTo>
                  <a:pt x="3582" y="1002"/>
                </a:lnTo>
                <a:lnTo>
                  <a:pt x="3564" y="990"/>
                </a:lnTo>
                <a:lnTo>
                  <a:pt x="3606" y="984"/>
                </a:lnTo>
                <a:lnTo>
                  <a:pt x="3606" y="990"/>
                </a:lnTo>
                <a:lnTo>
                  <a:pt x="3612" y="996"/>
                </a:lnTo>
                <a:lnTo>
                  <a:pt x="3612" y="1008"/>
                </a:lnTo>
                <a:lnTo>
                  <a:pt x="3624" y="1032"/>
                </a:lnTo>
                <a:lnTo>
                  <a:pt x="3630" y="1038"/>
                </a:lnTo>
                <a:lnTo>
                  <a:pt x="3636" y="1038"/>
                </a:lnTo>
                <a:lnTo>
                  <a:pt x="3654" y="1032"/>
                </a:lnTo>
                <a:lnTo>
                  <a:pt x="3690" y="1026"/>
                </a:lnTo>
                <a:lnTo>
                  <a:pt x="3732" y="1008"/>
                </a:lnTo>
                <a:lnTo>
                  <a:pt x="3768" y="990"/>
                </a:lnTo>
                <a:lnTo>
                  <a:pt x="3798" y="972"/>
                </a:lnTo>
                <a:lnTo>
                  <a:pt x="3798" y="960"/>
                </a:lnTo>
                <a:lnTo>
                  <a:pt x="3786" y="942"/>
                </a:lnTo>
                <a:lnTo>
                  <a:pt x="3780" y="930"/>
                </a:lnTo>
                <a:lnTo>
                  <a:pt x="3774" y="912"/>
                </a:lnTo>
                <a:lnTo>
                  <a:pt x="3774" y="900"/>
                </a:lnTo>
                <a:lnTo>
                  <a:pt x="3780" y="894"/>
                </a:lnTo>
                <a:lnTo>
                  <a:pt x="3792" y="894"/>
                </a:lnTo>
                <a:lnTo>
                  <a:pt x="3804" y="888"/>
                </a:lnTo>
                <a:lnTo>
                  <a:pt x="3822" y="888"/>
                </a:lnTo>
                <a:lnTo>
                  <a:pt x="3840" y="882"/>
                </a:lnTo>
                <a:lnTo>
                  <a:pt x="3858" y="882"/>
                </a:lnTo>
                <a:lnTo>
                  <a:pt x="3864" y="876"/>
                </a:lnTo>
                <a:lnTo>
                  <a:pt x="3870" y="876"/>
                </a:lnTo>
                <a:lnTo>
                  <a:pt x="3870" y="858"/>
                </a:lnTo>
                <a:lnTo>
                  <a:pt x="3864" y="846"/>
                </a:lnTo>
                <a:lnTo>
                  <a:pt x="3864" y="840"/>
                </a:lnTo>
                <a:lnTo>
                  <a:pt x="3858" y="828"/>
                </a:lnTo>
                <a:lnTo>
                  <a:pt x="3840" y="804"/>
                </a:lnTo>
                <a:lnTo>
                  <a:pt x="3822" y="798"/>
                </a:lnTo>
                <a:lnTo>
                  <a:pt x="3786" y="792"/>
                </a:lnTo>
                <a:lnTo>
                  <a:pt x="3744" y="792"/>
                </a:lnTo>
                <a:lnTo>
                  <a:pt x="3708" y="804"/>
                </a:lnTo>
                <a:lnTo>
                  <a:pt x="3690" y="822"/>
                </a:lnTo>
                <a:lnTo>
                  <a:pt x="3690" y="840"/>
                </a:lnTo>
                <a:lnTo>
                  <a:pt x="3696" y="840"/>
                </a:lnTo>
                <a:lnTo>
                  <a:pt x="3702" y="846"/>
                </a:lnTo>
                <a:lnTo>
                  <a:pt x="3666" y="870"/>
                </a:lnTo>
                <a:lnTo>
                  <a:pt x="3642" y="870"/>
                </a:lnTo>
                <a:lnTo>
                  <a:pt x="3576" y="918"/>
                </a:lnTo>
                <a:lnTo>
                  <a:pt x="3552" y="930"/>
                </a:lnTo>
                <a:lnTo>
                  <a:pt x="3546" y="936"/>
                </a:lnTo>
                <a:lnTo>
                  <a:pt x="3540" y="948"/>
                </a:lnTo>
                <a:lnTo>
                  <a:pt x="3522" y="966"/>
                </a:lnTo>
                <a:lnTo>
                  <a:pt x="3492" y="966"/>
                </a:lnTo>
                <a:lnTo>
                  <a:pt x="3456" y="984"/>
                </a:lnTo>
                <a:lnTo>
                  <a:pt x="3456" y="972"/>
                </a:lnTo>
                <a:lnTo>
                  <a:pt x="3450" y="954"/>
                </a:lnTo>
                <a:lnTo>
                  <a:pt x="3450" y="918"/>
                </a:lnTo>
                <a:lnTo>
                  <a:pt x="3456" y="912"/>
                </a:lnTo>
                <a:lnTo>
                  <a:pt x="3480" y="900"/>
                </a:lnTo>
                <a:lnTo>
                  <a:pt x="3498" y="900"/>
                </a:lnTo>
                <a:lnTo>
                  <a:pt x="3510" y="894"/>
                </a:lnTo>
                <a:lnTo>
                  <a:pt x="3516" y="882"/>
                </a:lnTo>
                <a:lnTo>
                  <a:pt x="3516" y="870"/>
                </a:lnTo>
                <a:lnTo>
                  <a:pt x="3510" y="852"/>
                </a:lnTo>
                <a:lnTo>
                  <a:pt x="3504" y="846"/>
                </a:lnTo>
                <a:lnTo>
                  <a:pt x="3498" y="834"/>
                </a:lnTo>
                <a:lnTo>
                  <a:pt x="3486" y="834"/>
                </a:lnTo>
                <a:lnTo>
                  <a:pt x="3450" y="852"/>
                </a:lnTo>
                <a:lnTo>
                  <a:pt x="3432" y="858"/>
                </a:lnTo>
                <a:lnTo>
                  <a:pt x="3420" y="864"/>
                </a:lnTo>
                <a:lnTo>
                  <a:pt x="3414" y="870"/>
                </a:lnTo>
                <a:lnTo>
                  <a:pt x="3408" y="870"/>
                </a:lnTo>
                <a:lnTo>
                  <a:pt x="3378" y="900"/>
                </a:lnTo>
                <a:lnTo>
                  <a:pt x="3372" y="888"/>
                </a:lnTo>
                <a:lnTo>
                  <a:pt x="3396" y="858"/>
                </a:lnTo>
                <a:lnTo>
                  <a:pt x="3396" y="840"/>
                </a:lnTo>
                <a:lnTo>
                  <a:pt x="3438" y="822"/>
                </a:lnTo>
                <a:lnTo>
                  <a:pt x="3402" y="816"/>
                </a:lnTo>
                <a:lnTo>
                  <a:pt x="3408" y="804"/>
                </a:lnTo>
                <a:lnTo>
                  <a:pt x="3360" y="816"/>
                </a:lnTo>
                <a:lnTo>
                  <a:pt x="3336" y="804"/>
                </a:lnTo>
                <a:lnTo>
                  <a:pt x="3378" y="792"/>
                </a:lnTo>
                <a:lnTo>
                  <a:pt x="3378" y="774"/>
                </a:lnTo>
                <a:lnTo>
                  <a:pt x="3390" y="774"/>
                </a:lnTo>
                <a:lnTo>
                  <a:pt x="3396" y="780"/>
                </a:lnTo>
                <a:lnTo>
                  <a:pt x="3420" y="780"/>
                </a:lnTo>
                <a:lnTo>
                  <a:pt x="3426" y="774"/>
                </a:lnTo>
                <a:lnTo>
                  <a:pt x="3426" y="762"/>
                </a:lnTo>
                <a:lnTo>
                  <a:pt x="3420" y="756"/>
                </a:lnTo>
                <a:lnTo>
                  <a:pt x="3408" y="756"/>
                </a:lnTo>
                <a:lnTo>
                  <a:pt x="3396" y="744"/>
                </a:lnTo>
                <a:lnTo>
                  <a:pt x="3396" y="738"/>
                </a:lnTo>
                <a:lnTo>
                  <a:pt x="3420" y="690"/>
                </a:lnTo>
                <a:lnTo>
                  <a:pt x="3426" y="684"/>
                </a:lnTo>
                <a:lnTo>
                  <a:pt x="3426" y="672"/>
                </a:lnTo>
                <a:lnTo>
                  <a:pt x="3420" y="666"/>
                </a:lnTo>
                <a:lnTo>
                  <a:pt x="3414" y="666"/>
                </a:lnTo>
                <a:lnTo>
                  <a:pt x="3372" y="648"/>
                </a:lnTo>
                <a:lnTo>
                  <a:pt x="3348" y="660"/>
                </a:lnTo>
                <a:lnTo>
                  <a:pt x="3336" y="660"/>
                </a:lnTo>
                <a:lnTo>
                  <a:pt x="3318" y="666"/>
                </a:lnTo>
                <a:lnTo>
                  <a:pt x="3312" y="666"/>
                </a:lnTo>
                <a:lnTo>
                  <a:pt x="3306" y="672"/>
                </a:lnTo>
                <a:lnTo>
                  <a:pt x="3306" y="690"/>
                </a:lnTo>
                <a:lnTo>
                  <a:pt x="3240" y="690"/>
                </a:lnTo>
                <a:lnTo>
                  <a:pt x="3228" y="696"/>
                </a:lnTo>
                <a:lnTo>
                  <a:pt x="3222" y="702"/>
                </a:lnTo>
                <a:lnTo>
                  <a:pt x="3210" y="708"/>
                </a:lnTo>
                <a:lnTo>
                  <a:pt x="3198" y="720"/>
                </a:lnTo>
                <a:lnTo>
                  <a:pt x="3204" y="726"/>
                </a:lnTo>
                <a:lnTo>
                  <a:pt x="3216" y="732"/>
                </a:lnTo>
                <a:lnTo>
                  <a:pt x="3228" y="732"/>
                </a:lnTo>
                <a:lnTo>
                  <a:pt x="3234" y="738"/>
                </a:lnTo>
                <a:lnTo>
                  <a:pt x="3228" y="738"/>
                </a:lnTo>
                <a:lnTo>
                  <a:pt x="3222" y="744"/>
                </a:lnTo>
                <a:lnTo>
                  <a:pt x="3204" y="744"/>
                </a:lnTo>
                <a:lnTo>
                  <a:pt x="3180" y="756"/>
                </a:lnTo>
                <a:lnTo>
                  <a:pt x="3168" y="768"/>
                </a:lnTo>
                <a:lnTo>
                  <a:pt x="3168" y="774"/>
                </a:lnTo>
                <a:lnTo>
                  <a:pt x="3174" y="786"/>
                </a:lnTo>
                <a:lnTo>
                  <a:pt x="3186" y="798"/>
                </a:lnTo>
                <a:lnTo>
                  <a:pt x="3198" y="804"/>
                </a:lnTo>
                <a:lnTo>
                  <a:pt x="3204" y="810"/>
                </a:lnTo>
                <a:lnTo>
                  <a:pt x="3210" y="810"/>
                </a:lnTo>
                <a:lnTo>
                  <a:pt x="3234" y="798"/>
                </a:lnTo>
                <a:lnTo>
                  <a:pt x="3234" y="822"/>
                </a:lnTo>
                <a:lnTo>
                  <a:pt x="3240" y="828"/>
                </a:lnTo>
                <a:lnTo>
                  <a:pt x="3246" y="828"/>
                </a:lnTo>
                <a:lnTo>
                  <a:pt x="3258" y="822"/>
                </a:lnTo>
                <a:lnTo>
                  <a:pt x="3282" y="822"/>
                </a:lnTo>
                <a:lnTo>
                  <a:pt x="3276" y="828"/>
                </a:lnTo>
                <a:lnTo>
                  <a:pt x="3252" y="840"/>
                </a:lnTo>
                <a:lnTo>
                  <a:pt x="3246" y="840"/>
                </a:lnTo>
                <a:lnTo>
                  <a:pt x="3228" y="828"/>
                </a:lnTo>
                <a:lnTo>
                  <a:pt x="3222" y="846"/>
                </a:lnTo>
                <a:lnTo>
                  <a:pt x="3204" y="846"/>
                </a:lnTo>
                <a:lnTo>
                  <a:pt x="3192" y="852"/>
                </a:lnTo>
                <a:lnTo>
                  <a:pt x="3186" y="852"/>
                </a:lnTo>
                <a:lnTo>
                  <a:pt x="3180" y="858"/>
                </a:lnTo>
                <a:lnTo>
                  <a:pt x="3204" y="858"/>
                </a:lnTo>
                <a:lnTo>
                  <a:pt x="3228" y="846"/>
                </a:lnTo>
                <a:lnTo>
                  <a:pt x="3240" y="846"/>
                </a:lnTo>
                <a:lnTo>
                  <a:pt x="3240" y="852"/>
                </a:lnTo>
                <a:lnTo>
                  <a:pt x="3228" y="870"/>
                </a:lnTo>
                <a:lnTo>
                  <a:pt x="3210" y="882"/>
                </a:lnTo>
                <a:lnTo>
                  <a:pt x="3198" y="888"/>
                </a:lnTo>
                <a:lnTo>
                  <a:pt x="3180" y="894"/>
                </a:lnTo>
                <a:lnTo>
                  <a:pt x="3168" y="900"/>
                </a:lnTo>
                <a:lnTo>
                  <a:pt x="3162" y="906"/>
                </a:lnTo>
                <a:lnTo>
                  <a:pt x="3138" y="918"/>
                </a:lnTo>
                <a:lnTo>
                  <a:pt x="3132" y="924"/>
                </a:lnTo>
                <a:lnTo>
                  <a:pt x="3120" y="918"/>
                </a:lnTo>
                <a:lnTo>
                  <a:pt x="3114" y="918"/>
                </a:lnTo>
                <a:lnTo>
                  <a:pt x="3102" y="912"/>
                </a:lnTo>
                <a:lnTo>
                  <a:pt x="3090" y="912"/>
                </a:lnTo>
                <a:lnTo>
                  <a:pt x="3072" y="930"/>
                </a:lnTo>
                <a:lnTo>
                  <a:pt x="3060" y="936"/>
                </a:lnTo>
                <a:lnTo>
                  <a:pt x="3054" y="948"/>
                </a:lnTo>
                <a:lnTo>
                  <a:pt x="3054" y="972"/>
                </a:lnTo>
                <a:lnTo>
                  <a:pt x="3048" y="978"/>
                </a:lnTo>
                <a:lnTo>
                  <a:pt x="3042" y="966"/>
                </a:lnTo>
                <a:lnTo>
                  <a:pt x="3030" y="966"/>
                </a:lnTo>
                <a:lnTo>
                  <a:pt x="3018" y="960"/>
                </a:lnTo>
                <a:lnTo>
                  <a:pt x="3012" y="960"/>
                </a:lnTo>
                <a:lnTo>
                  <a:pt x="3006" y="954"/>
                </a:lnTo>
                <a:lnTo>
                  <a:pt x="3030" y="930"/>
                </a:lnTo>
                <a:lnTo>
                  <a:pt x="3042" y="924"/>
                </a:lnTo>
                <a:lnTo>
                  <a:pt x="3060" y="906"/>
                </a:lnTo>
                <a:lnTo>
                  <a:pt x="3072" y="900"/>
                </a:lnTo>
                <a:lnTo>
                  <a:pt x="3036" y="900"/>
                </a:lnTo>
                <a:lnTo>
                  <a:pt x="3030" y="888"/>
                </a:lnTo>
                <a:lnTo>
                  <a:pt x="3018" y="882"/>
                </a:lnTo>
                <a:lnTo>
                  <a:pt x="2994" y="882"/>
                </a:lnTo>
                <a:lnTo>
                  <a:pt x="2988" y="888"/>
                </a:lnTo>
                <a:lnTo>
                  <a:pt x="2946" y="888"/>
                </a:lnTo>
                <a:lnTo>
                  <a:pt x="2946" y="894"/>
                </a:lnTo>
                <a:lnTo>
                  <a:pt x="2940" y="906"/>
                </a:lnTo>
                <a:lnTo>
                  <a:pt x="2940" y="918"/>
                </a:lnTo>
                <a:lnTo>
                  <a:pt x="2946" y="918"/>
                </a:lnTo>
                <a:lnTo>
                  <a:pt x="2952" y="924"/>
                </a:lnTo>
                <a:lnTo>
                  <a:pt x="2964" y="924"/>
                </a:lnTo>
                <a:lnTo>
                  <a:pt x="2976" y="936"/>
                </a:lnTo>
                <a:lnTo>
                  <a:pt x="2982" y="936"/>
                </a:lnTo>
                <a:lnTo>
                  <a:pt x="2976" y="942"/>
                </a:lnTo>
                <a:lnTo>
                  <a:pt x="2958" y="942"/>
                </a:lnTo>
                <a:lnTo>
                  <a:pt x="2952" y="936"/>
                </a:lnTo>
                <a:lnTo>
                  <a:pt x="2940" y="930"/>
                </a:lnTo>
                <a:lnTo>
                  <a:pt x="2934" y="924"/>
                </a:lnTo>
                <a:lnTo>
                  <a:pt x="2916" y="912"/>
                </a:lnTo>
                <a:lnTo>
                  <a:pt x="2910" y="942"/>
                </a:lnTo>
                <a:lnTo>
                  <a:pt x="2904" y="942"/>
                </a:lnTo>
                <a:lnTo>
                  <a:pt x="2898" y="948"/>
                </a:lnTo>
                <a:lnTo>
                  <a:pt x="2862" y="948"/>
                </a:lnTo>
                <a:lnTo>
                  <a:pt x="2844" y="942"/>
                </a:lnTo>
                <a:lnTo>
                  <a:pt x="2826" y="942"/>
                </a:lnTo>
                <a:lnTo>
                  <a:pt x="2808" y="936"/>
                </a:lnTo>
                <a:lnTo>
                  <a:pt x="2718" y="936"/>
                </a:lnTo>
                <a:lnTo>
                  <a:pt x="2706" y="930"/>
                </a:lnTo>
                <a:lnTo>
                  <a:pt x="2700" y="918"/>
                </a:lnTo>
                <a:lnTo>
                  <a:pt x="2688" y="912"/>
                </a:lnTo>
                <a:lnTo>
                  <a:pt x="2628" y="918"/>
                </a:lnTo>
                <a:lnTo>
                  <a:pt x="2622" y="912"/>
                </a:lnTo>
                <a:lnTo>
                  <a:pt x="2616" y="900"/>
                </a:lnTo>
                <a:lnTo>
                  <a:pt x="2604" y="894"/>
                </a:lnTo>
                <a:lnTo>
                  <a:pt x="2598" y="894"/>
                </a:lnTo>
                <a:lnTo>
                  <a:pt x="2586" y="888"/>
                </a:lnTo>
                <a:lnTo>
                  <a:pt x="2568" y="888"/>
                </a:lnTo>
                <a:lnTo>
                  <a:pt x="2556" y="894"/>
                </a:lnTo>
                <a:lnTo>
                  <a:pt x="2538" y="900"/>
                </a:lnTo>
                <a:lnTo>
                  <a:pt x="2532" y="906"/>
                </a:lnTo>
                <a:lnTo>
                  <a:pt x="2526" y="906"/>
                </a:lnTo>
                <a:lnTo>
                  <a:pt x="2526" y="912"/>
                </a:lnTo>
                <a:lnTo>
                  <a:pt x="2484" y="912"/>
                </a:lnTo>
                <a:lnTo>
                  <a:pt x="2472" y="906"/>
                </a:lnTo>
                <a:lnTo>
                  <a:pt x="2442" y="906"/>
                </a:lnTo>
                <a:lnTo>
                  <a:pt x="2430" y="918"/>
                </a:lnTo>
                <a:lnTo>
                  <a:pt x="2430" y="930"/>
                </a:lnTo>
                <a:lnTo>
                  <a:pt x="2418" y="954"/>
                </a:lnTo>
                <a:lnTo>
                  <a:pt x="2412" y="960"/>
                </a:lnTo>
                <a:lnTo>
                  <a:pt x="2412" y="966"/>
                </a:lnTo>
                <a:lnTo>
                  <a:pt x="2400" y="996"/>
                </a:lnTo>
                <a:lnTo>
                  <a:pt x="2364" y="996"/>
                </a:lnTo>
                <a:lnTo>
                  <a:pt x="2358" y="1026"/>
                </a:lnTo>
                <a:lnTo>
                  <a:pt x="2334" y="978"/>
                </a:lnTo>
                <a:lnTo>
                  <a:pt x="2340" y="978"/>
                </a:lnTo>
                <a:lnTo>
                  <a:pt x="2352" y="984"/>
                </a:lnTo>
                <a:lnTo>
                  <a:pt x="2376" y="984"/>
                </a:lnTo>
                <a:lnTo>
                  <a:pt x="2388" y="972"/>
                </a:lnTo>
                <a:lnTo>
                  <a:pt x="2358" y="942"/>
                </a:lnTo>
                <a:lnTo>
                  <a:pt x="2340" y="942"/>
                </a:lnTo>
                <a:lnTo>
                  <a:pt x="2328" y="936"/>
                </a:lnTo>
                <a:lnTo>
                  <a:pt x="2316" y="936"/>
                </a:lnTo>
                <a:lnTo>
                  <a:pt x="2322" y="918"/>
                </a:lnTo>
                <a:lnTo>
                  <a:pt x="2304" y="924"/>
                </a:lnTo>
                <a:lnTo>
                  <a:pt x="2262" y="930"/>
                </a:lnTo>
                <a:lnTo>
                  <a:pt x="2208" y="936"/>
                </a:lnTo>
                <a:lnTo>
                  <a:pt x="2160" y="942"/>
                </a:lnTo>
                <a:lnTo>
                  <a:pt x="2112" y="942"/>
                </a:lnTo>
                <a:lnTo>
                  <a:pt x="2064" y="936"/>
                </a:lnTo>
                <a:lnTo>
                  <a:pt x="2034" y="930"/>
                </a:lnTo>
                <a:lnTo>
                  <a:pt x="2028" y="924"/>
                </a:lnTo>
                <a:lnTo>
                  <a:pt x="2052" y="918"/>
                </a:lnTo>
                <a:lnTo>
                  <a:pt x="2082" y="918"/>
                </a:lnTo>
                <a:lnTo>
                  <a:pt x="2118" y="912"/>
                </a:lnTo>
                <a:lnTo>
                  <a:pt x="2142" y="900"/>
                </a:lnTo>
                <a:lnTo>
                  <a:pt x="2142" y="888"/>
                </a:lnTo>
                <a:lnTo>
                  <a:pt x="2112" y="864"/>
                </a:lnTo>
                <a:lnTo>
                  <a:pt x="2082" y="852"/>
                </a:lnTo>
                <a:lnTo>
                  <a:pt x="2004" y="852"/>
                </a:lnTo>
                <a:lnTo>
                  <a:pt x="1968" y="840"/>
                </a:lnTo>
                <a:lnTo>
                  <a:pt x="1944" y="834"/>
                </a:lnTo>
                <a:lnTo>
                  <a:pt x="1938" y="828"/>
                </a:lnTo>
                <a:lnTo>
                  <a:pt x="1908" y="828"/>
                </a:lnTo>
                <a:lnTo>
                  <a:pt x="1896" y="822"/>
                </a:lnTo>
                <a:lnTo>
                  <a:pt x="1866" y="804"/>
                </a:lnTo>
                <a:lnTo>
                  <a:pt x="1836" y="792"/>
                </a:lnTo>
                <a:lnTo>
                  <a:pt x="1812" y="786"/>
                </a:lnTo>
                <a:lnTo>
                  <a:pt x="1800" y="792"/>
                </a:lnTo>
                <a:lnTo>
                  <a:pt x="1782" y="798"/>
                </a:lnTo>
                <a:lnTo>
                  <a:pt x="1770" y="804"/>
                </a:lnTo>
                <a:lnTo>
                  <a:pt x="1758" y="816"/>
                </a:lnTo>
                <a:lnTo>
                  <a:pt x="1734" y="828"/>
                </a:lnTo>
                <a:lnTo>
                  <a:pt x="1680" y="828"/>
                </a:lnTo>
                <a:lnTo>
                  <a:pt x="1710" y="810"/>
                </a:lnTo>
                <a:lnTo>
                  <a:pt x="1710" y="798"/>
                </a:lnTo>
                <a:lnTo>
                  <a:pt x="1734" y="768"/>
                </a:lnTo>
                <a:lnTo>
                  <a:pt x="1728" y="768"/>
                </a:lnTo>
                <a:lnTo>
                  <a:pt x="1722" y="774"/>
                </a:lnTo>
                <a:lnTo>
                  <a:pt x="1674" y="798"/>
                </a:lnTo>
                <a:lnTo>
                  <a:pt x="1650" y="822"/>
                </a:lnTo>
                <a:lnTo>
                  <a:pt x="1638" y="828"/>
                </a:lnTo>
                <a:lnTo>
                  <a:pt x="1620" y="834"/>
                </a:lnTo>
                <a:lnTo>
                  <a:pt x="1608" y="828"/>
                </a:lnTo>
                <a:lnTo>
                  <a:pt x="1602" y="816"/>
                </a:lnTo>
                <a:lnTo>
                  <a:pt x="1602" y="798"/>
                </a:lnTo>
                <a:lnTo>
                  <a:pt x="1614" y="774"/>
                </a:lnTo>
                <a:lnTo>
                  <a:pt x="1614" y="762"/>
                </a:lnTo>
                <a:lnTo>
                  <a:pt x="1608" y="750"/>
                </a:lnTo>
                <a:lnTo>
                  <a:pt x="1596" y="744"/>
                </a:lnTo>
                <a:lnTo>
                  <a:pt x="1590" y="738"/>
                </a:lnTo>
                <a:lnTo>
                  <a:pt x="1578" y="738"/>
                </a:lnTo>
                <a:lnTo>
                  <a:pt x="1572" y="744"/>
                </a:lnTo>
                <a:lnTo>
                  <a:pt x="1572" y="750"/>
                </a:lnTo>
                <a:lnTo>
                  <a:pt x="1578" y="762"/>
                </a:lnTo>
                <a:lnTo>
                  <a:pt x="1584" y="768"/>
                </a:lnTo>
                <a:lnTo>
                  <a:pt x="1542" y="768"/>
                </a:lnTo>
                <a:lnTo>
                  <a:pt x="1530" y="774"/>
                </a:lnTo>
                <a:lnTo>
                  <a:pt x="1512" y="780"/>
                </a:lnTo>
                <a:lnTo>
                  <a:pt x="1494" y="798"/>
                </a:lnTo>
                <a:lnTo>
                  <a:pt x="1446" y="798"/>
                </a:lnTo>
                <a:lnTo>
                  <a:pt x="1428" y="804"/>
                </a:lnTo>
                <a:lnTo>
                  <a:pt x="1416" y="804"/>
                </a:lnTo>
                <a:lnTo>
                  <a:pt x="1398" y="810"/>
                </a:lnTo>
                <a:lnTo>
                  <a:pt x="1380" y="810"/>
                </a:lnTo>
                <a:lnTo>
                  <a:pt x="1374" y="816"/>
                </a:lnTo>
                <a:lnTo>
                  <a:pt x="1368" y="816"/>
                </a:lnTo>
                <a:lnTo>
                  <a:pt x="1356" y="822"/>
                </a:lnTo>
                <a:lnTo>
                  <a:pt x="1350" y="828"/>
                </a:lnTo>
                <a:lnTo>
                  <a:pt x="1338" y="834"/>
                </a:lnTo>
                <a:lnTo>
                  <a:pt x="1314" y="816"/>
                </a:lnTo>
                <a:lnTo>
                  <a:pt x="1302" y="822"/>
                </a:lnTo>
                <a:lnTo>
                  <a:pt x="1296" y="828"/>
                </a:lnTo>
                <a:lnTo>
                  <a:pt x="1272" y="840"/>
                </a:lnTo>
                <a:lnTo>
                  <a:pt x="1260" y="840"/>
                </a:lnTo>
                <a:lnTo>
                  <a:pt x="1254" y="846"/>
                </a:lnTo>
                <a:lnTo>
                  <a:pt x="1242" y="846"/>
                </a:lnTo>
                <a:lnTo>
                  <a:pt x="1230" y="852"/>
                </a:lnTo>
                <a:lnTo>
                  <a:pt x="1224" y="858"/>
                </a:lnTo>
                <a:lnTo>
                  <a:pt x="1212" y="864"/>
                </a:lnTo>
                <a:lnTo>
                  <a:pt x="1176" y="864"/>
                </a:lnTo>
                <a:lnTo>
                  <a:pt x="1188" y="858"/>
                </a:lnTo>
                <a:lnTo>
                  <a:pt x="1194" y="846"/>
                </a:lnTo>
                <a:lnTo>
                  <a:pt x="1212" y="840"/>
                </a:lnTo>
                <a:lnTo>
                  <a:pt x="1236" y="828"/>
                </a:lnTo>
                <a:lnTo>
                  <a:pt x="1254" y="828"/>
                </a:lnTo>
                <a:lnTo>
                  <a:pt x="1266" y="822"/>
                </a:lnTo>
                <a:lnTo>
                  <a:pt x="1284" y="816"/>
                </a:lnTo>
                <a:lnTo>
                  <a:pt x="1290" y="810"/>
                </a:lnTo>
                <a:lnTo>
                  <a:pt x="1362" y="810"/>
                </a:lnTo>
                <a:lnTo>
                  <a:pt x="1386" y="798"/>
                </a:lnTo>
                <a:lnTo>
                  <a:pt x="1422" y="792"/>
                </a:lnTo>
                <a:lnTo>
                  <a:pt x="1458" y="780"/>
                </a:lnTo>
                <a:lnTo>
                  <a:pt x="1470" y="780"/>
                </a:lnTo>
                <a:lnTo>
                  <a:pt x="1476" y="774"/>
                </a:lnTo>
                <a:lnTo>
                  <a:pt x="1482" y="774"/>
                </a:lnTo>
                <a:lnTo>
                  <a:pt x="1476" y="768"/>
                </a:lnTo>
                <a:lnTo>
                  <a:pt x="1410" y="768"/>
                </a:lnTo>
                <a:lnTo>
                  <a:pt x="1398" y="774"/>
                </a:lnTo>
                <a:lnTo>
                  <a:pt x="1392" y="774"/>
                </a:lnTo>
                <a:lnTo>
                  <a:pt x="1380" y="780"/>
                </a:lnTo>
                <a:lnTo>
                  <a:pt x="1374" y="786"/>
                </a:lnTo>
                <a:lnTo>
                  <a:pt x="1368" y="786"/>
                </a:lnTo>
                <a:lnTo>
                  <a:pt x="1362" y="792"/>
                </a:lnTo>
                <a:lnTo>
                  <a:pt x="1278" y="792"/>
                </a:lnTo>
                <a:lnTo>
                  <a:pt x="1254" y="804"/>
                </a:lnTo>
                <a:lnTo>
                  <a:pt x="1248" y="810"/>
                </a:lnTo>
                <a:lnTo>
                  <a:pt x="1236" y="816"/>
                </a:lnTo>
                <a:lnTo>
                  <a:pt x="1230" y="822"/>
                </a:lnTo>
                <a:lnTo>
                  <a:pt x="1212" y="822"/>
                </a:lnTo>
                <a:lnTo>
                  <a:pt x="1158" y="846"/>
                </a:lnTo>
                <a:lnTo>
                  <a:pt x="1140" y="846"/>
                </a:lnTo>
                <a:lnTo>
                  <a:pt x="1128" y="858"/>
                </a:lnTo>
                <a:lnTo>
                  <a:pt x="1122" y="870"/>
                </a:lnTo>
                <a:lnTo>
                  <a:pt x="1122" y="876"/>
                </a:lnTo>
                <a:lnTo>
                  <a:pt x="1116" y="876"/>
                </a:lnTo>
                <a:lnTo>
                  <a:pt x="1110" y="870"/>
                </a:lnTo>
                <a:lnTo>
                  <a:pt x="1110" y="846"/>
                </a:lnTo>
                <a:lnTo>
                  <a:pt x="1116" y="846"/>
                </a:lnTo>
                <a:lnTo>
                  <a:pt x="1152" y="834"/>
                </a:lnTo>
                <a:lnTo>
                  <a:pt x="1176" y="822"/>
                </a:lnTo>
                <a:lnTo>
                  <a:pt x="1194" y="816"/>
                </a:lnTo>
                <a:lnTo>
                  <a:pt x="1188" y="810"/>
                </a:lnTo>
                <a:lnTo>
                  <a:pt x="1176" y="810"/>
                </a:lnTo>
                <a:lnTo>
                  <a:pt x="1164" y="804"/>
                </a:lnTo>
                <a:lnTo>
                  <a:pt x="1140" y="804"/>
                </a:lnTo>
                <a:lnTo>
                  <a:pt x="1122" y="822"/>
                </a:lnTo>
                <a:lnTo>
                  <a:pt x="1110" y="828"/>
                </a:lnTo>
                <a:lnTo>
                  <a:pt x="1092" y="828"/>
                </a:lnTo>
                <a:lnTo>
                  <a:pt x="1080" y="834"/>
                </a:lnTo>
                <a:lnTo>
                  <a:pt x="1068" y="834"/>
                </a:lnTo>
                <a:lnTo>
                  <a:pt x="1068" y="840"/>
                </a:lnTo>
                <a:lnTo>
                  <a:pt x="1062" y="846"/>
                </a:lnTo>
                <a:lnTo>
                  <a:pt x="1062" y="876"/>
                </a:lnTo>
                <a:lnTo>
                  <a:pt x="1038" y="858"/>
                </a:lnTo>
                <a:lnTo>
                  <a:pt x="972" y="852"/>
                </a:lnTo>
                <a:lnTo>
                  <a:pt x="960" y="846"/>
                </a:lnTo>
                <a:lnTo>
                  <a:pt x="948" y="834"/>
                </a:lnTo>
                <a:lnTo>
                  <a:pt x="936" y="834"/>
                </a:lnTo>
                <a:lnTo>
                  <a:pt x="936" y="828"/>
                </a:lnTo>
                <a:lnTo>
                  <a:pt x="942" y="822"/>
                </a:lnTo>
                <a:lnTo>
                  <a:pt x="942" y="810"/>
                </a:lnTo>
                <a:lnTo>
                  <a:pt x="948" y="804"/>
                </a:lnTo>
                <a:lnTo>
                  <a:pt x="834" y="804"/>
                </a:lnTo>
                <a:lnTo>
                  <a:pt x="852" y="804"/>
                </a:lnTo>
                <a:lnTo>
                  <a:pt x="78" y="1440"/>
                </a:lnTo>
                <a:lnTo>
                  <a:pt x="72" y="1446"/>
                </a:lnTo>
                <a:lnTo>
                  <a:pt x="60" y="1452"/>
                </a:lnTo>
                <a:lnTo>
                  <a:pt x="54" y="1464"/>
                </a:lnTo>
                <a:lnTo>
                  <a:pt x="54" y="1476"/>
                </a:lnTo>
                <a:lnTo>
                  <a:pt x="108" y="1476"/>
                </a:lnTo>
                <a:lnTo>
                  <a:pt x="120" y="1464"/>
                </a:lnTo>
                <a:lnTo>
                  <a:pt x="156" y="1464"/>
                </a:lnTo>
                <a:lnTo>
                  <a:pt x="132" y="1488"/>
                </a:lnTo>
                <a:lnTo>
                  <a:pt x="132" y="1494"/>
                </a:lnTo>
                <a:lnTo>
                  <a:pt x="138" y="1506"/>
                </a:lnTo>
                <a:lnTo>
                  <a:pt x="138" y="1524"/>
                </a:lnTo>
                <a:lnTo>
                  <a:pt x="144" y="1530"/>
                </a:lnTo>
                <a:lnTo>
                  <a:pt x="156" y="1536"/>
                </a:lnTo>
                <a:lnTo>
                  <a:pt x="162" y="1542"/>
                </a:lnTo>
                <a:lnTo>
                  <a:pt x="144" y="1560"/>
                </a:lnTo>
                <a:lnTo>
                  <a:pt x="144" y="1572"/>
                </a:lnTo>
                <a:lnTo>
                  <a:pt x="150" y="1572"/>
                </a:lnTo>
                <a:lnTo>
                  <a:pt x="156" y="1566"/>
                </a:lnTo>
                <a:lnTo>
                  <a:pt x="168" y="1560"/>
                </a:lnTo>
                <a:lnTo>
                  <a:pt x="174" y="1554"/>
                </a:lnTo>
                <a:lnTo>
                  <a:pt x="180" y="1554"/>
                </a:lnTo>
                <a:lnTo>
                  <a:pt x="186" y="1548"/>
                </a:lnTo>
                <a:lnTo>
                  <a:pt x="198" y="1548"/>
                </a:lnTo>
                <a:lnTo>
                  <a:pt x="210" y="1542"/>
                </a:lnTo>
                <a:lnTo>
                  <a:pt x="222" y="1542"/>
                </a:lnTo>
                <a:lnTo>
                  <a:pt x="234" y="1536"/>
                </a:lnTo>
                <a:lnTo>
                  <a:pt x="240" y="1530"/>
                </a:lnTo>
                <a:lnTo>
                  <a:pt x="258" y="1530"/>
                </a:lnTo>
                <a:lnTo>
                  <a:pt x="258" y="1518"/>
                </a:lnTo>
                <a:lnTo>
                  <a:pt x="264" y="1518"/>
                </a:lnTo>
                <a:lnTo>
                  <a:pt x="270" y="1512"/>
                </a:lnTo>
                <a:lnTo>
                  <a:pt x="282" y="1512"/>
                </a:lnTo>
                <a:lnTo>
                  <a:pt x="300" y="1506"/>
                </a:lnTo>
                <a:lnTo>
                  <a:pt x="312" y="1506"/>
                </a:lnTo>
                <a:lnTo>
                  <a:pt x="330" y="1512"/>
                </a:lnTo>
                <a:lnTo>
                  <a:pt x="336" y="1518"/>
                </a:lnTo>
                <a:lnTo>
                  <a:pt x="330" y="1524"/>
                </a:lnTo>
                <a:lnTo>
                  <a:pt x="324" y="1524"/>
                </a:lnTo>
                <a:lnTo>
                  <a:pt x="318" y="1530"/>
                </a:lnTo>
                <a:lnTo>
                  <a:pt x="318" y="1560"/>
                </a:lnTo>
                <a:lnTo>
                  <a:pt x="306" y="1572"/>
                </a:lnTo>
                <a:lnTo>
                  <a:pt x="324" y="1590"/>
                </a:lnTo>
                <a:lnTo>
                  <a:pt x="330" y="1602"/>
                </a:lnTo>
                <a:lnTo>
                  <a:pt x="330" y="1620"/>
                </a:lnTo>
                <a:lnTo>
                  <a:pt x="312" y="1656"/>
                </a:lnTo>
                <a:lnTo>
                  <a:pt x="312" y="1698"/>
                </a:lnTo>
                <a:lnTo>
                  <a:pt x="306" y="1704"/>
                </a:lnTo>
                <a:lnTo>
                  <a:pt x="300" y="1716"/>
                </a:lnTo>
                <a:lnTo>
                  <a:pt x="300" y="1728"/>
                </a:lnTo>
                <a:lnTo>
                  <a:pt x="294" y="1740"/>
                </a:lnTo>
                <a:lnTo>
                  <a:pt x="294" y="1746"/>
                </a:lnTo>
                <a:lnTo>
                  <a:pt x="300" y="1752"/>
                </a:lnTo>
                <a:lnTo>
                  <a:pt x="312" y="1758"/>
                </a:lnTo>
                <a:lnTo>
                  <a:pt x="318" y="1764"/>
                </a:lnTo>
                <a:lnTo>
                  <a:pt x="324" y="1764"/>
                </a:lnTo>
                <a:lnTo>
                  <a:pt x="330" y="1770"/>
                </a:lnTo>
                <a:lnTo>
                  <a:pt x="330" y="1776"/>
                </a:lnTo>
                <a:lnTo>
                  <a:pt x="348" y="1776"/>
                </a:lnTo>
                <a:lnTo>
                  <a:pt x="354" y="1782"/>
                </a:lnTo>
                <a:lnTo>
                  <a:pt x="354" y="1794"/>
                </a:lnTo>
                <a:lnTo>
                  <a:pt x="342" y="1800"/>
                </a:lnTo>
                <a:lnTo>
                  <a:pt x="330" y="1812"/>
                </a:lnTo>
                <a:lnTo>
                  <a:pt x="318" y="1818"/>
                </a:lnTo>
                <a:lnTo>
                  <a:pt x="318" y="1830"/>
                </a:lnTo>
                <a:lnTo>
                  <a:pt x="312" y="1842"/>
                </a:lnTo>
                <a:lnTo>
                  <a:pt x="294" y="1860"/>
                </a:lnTo>
                <a:lnTo>
                  <a:pt x="282" y="1866"/>
                </a:lnTo>
                <a:lnTo>
                  <a:pt x="270" y="1878"/>
                </a:lnTo>
                <a:lnTo>
                  <a:pt x="252" y="1884"/>
                </a:lnTo>
                <a:lnTo>
                  <a:pt x="234" y="1896"/>
                </a:lnTo>
                <a:lnTo>
                  <a:pt x="228" y="1902"/>
                </a:lnTo>
                <a:lnTo>
                  <a:pt x="222" y="1914"/>
                </a:lnTo>
                <a:lnTo>
                  <a:pt x="222" y="1926"/>
                </a:lnTo>
                <a:lnTo>
                  <a:pt x="216" y="1932"/>
                </a:lnTo>
                <a:lnTo>
                  <a:pt x="216" y="1944"/>
                </a:lnTo>
                <a:lnTo>
                  <a:pt x="204" y="1956"/>
                </a:lnTo>
                <a:lnTo>
                  <a:pt x="210" y="1962"/>
                </a:lnTo>
                <a:lnTo>
                  <a:pt x="216" y="1962"/>
                </a:lnTo>
                <a:lnTo>
                  <a:pt x="216" y="1974"/>
                </a:lnTo>
                <a:lnTo>
                  <a:pt x="228" y="1986"/>
                </a:lnTo>
                <a:lnTo>
                  <a:pt x="240" y="1980"/>
                </a:lnTo>
                <a:lnTo>
                  <a:pt x="246" y="1968"/>
                </a:lnTo>
                <a:lnTo>
                  <a:pt x="258" y="1962"/>
                </a:lnTo>
                <a:lnTo>
                  <a:pt x="276" y="1956"/>
                </a:lnTo>
                <a:lnTo>
                  <a:pt x="294" y="1938"/>
                </a:lnTo>
                <a:lnTo>
                  <a:pt x="306" y="1938"/>
                </a:lnTo>
                <a:lnTo>
                  <a:pt x="306" y="1944"/>
                </a:lnTo>
                <a:lnTo>
                  <a:pt x="300" y="1950"/>
                </a:lnTo>
                <a:lnTo>
                  <a:pt x="288" y="1956"/>
                </a:lnTo>
                <a:lnTo>
                  <a:pt x="282" y="1956"/>
                </a:lnTo>
                <a:lnTo>
                  <a:pt x="276" y="1962"/>
                </a:lnTo>
                <a:lnTo>
                  <a:pt x="276" y="1974"/>
                </a:lnTo>
                <a:lnTo>
                  <a:pt x="282" y="1986"/>
                </a:lnTo>
                <a:lnTo>
                  <a:pt x="294" y="1998"/>
                </a:lnTo>
                <a:lnTo>
                  <a:pt x="252" y="1992"/>
                </a:lnTo>
                <a:lnTo>
                  <a:pt x="246" y="1998"/>
                </a:lnTo>
                <a:lnTo>
                  <a:pt x="240" y="2010"/>
                </a:lnTo>
                <a:lnTo>
                  <a:pt x="234" y="2016"/>
                </a:lnTo>
                <a:lnTo>
                  <a:pt x="228" y="2028"/>
                </a:lnTo>
                <a:lnTo>
                  <a:pt x="228" y="2034"/>
                </a:lnTo>
                <a:lnTo>
                  <a:pt x="234" y="2034"/>
                </a:lnTo>
                <a:lnTo>
                  <a:pt x="240" y="2040"/>
                </a:lnTo>
                <a:lnTo>
                  <a:pt x="252" y="2040"/>
                </a:lnTo>
                <a:lnTo>
                  <a:pt x="258" y="2046"/>
                </a:lnTo>
                <a:lnTo>
                  <a:pt x="252" y="2052"/>
                </a:lnTo>
                <a:lnTo>
                  <a:pt x="252" y="2058"/>
                </a:lnTo>
                <a:lnTo>
                  <a:pt x="246" y="2070"/>
                </a:lnTo>
                <a:lnTo>
                  <a:pt x="246" y="2076"/>
                </a:lnTo>
                <a:lnTo>
                  <a:pt x="252" y="2070"/>
                </a:lnTo>
                <a:lnTo>
                  <a:pt x="288" y="2052"/>
                </a:lnTo>
                <a:lnTo>
                  <a:pt x="306" y="2034"/>
                </a:lnTo>
                <a:lnTo>
                  <a:pt x="318" y="2028"/>
                </a:lnTo>
                <a:lnTo>
                  <a:pt x="318" y="2040"/>
                </a:lnTo>
                <a:lnTo>
                  <a:pt x="288" y="2058"/>
                </a:lnTo>
                <a:lnTo>
                  <a:pt x="312" y="2064"/>
                </a:lnTo>
                <a:lnTo>
                  <a:pt x="312" y="2076"/>
                </a:lnTo>
                <a:lnTo>
                  <a:pt x="294" y="2094"/>
                </a:lnTo>
                <a:lnTo>
                  <a:pt x="276" y="2076"/>
                </a:lnTo>
                <a:lnTo>
                  <a:pt x="270" y="2076"/>
                </a:lnTo>
                <a:lnTo>
                  <a:pt x="264" y="2082"/>
                </a:lnTo>
                <a:lnTo>
                  <a:pt x="240" y="2094"/>
                </a:lnTo>
                <a:lnTo>
                  <a:pt x="228" y="2094"/>
                </a:lnTo>
                <a:lnTo>
                  <a:pt x="216" y="2106"/>
                </a:lnTo>
                <a:lnTo>
                  <a:pt x="210" y="2118"/>
                </a:lnTo>
                <a:lnTo>
                  <a:pt x="204" y="2124"/>
                </a:lnTo>
                <a:lnTo>
                  <a:pt x="210" y="2118"/>
                </a:lnTo>
                <a:lnTo>
                  <a:pt x="222" y="2118"/>
                </a:lnTo>
                <a:lnTo>
                  <a:pt x="228" y="2112"/>
                </a:lnTo>
                <a:lnTo>
                  <a:pt x="276" y="2112"/>
                </a:lnTo>
                <a:lnTo>
                  <a:pt x="270" y="2112"/>
                </a:lnTo>
                <a:lnTo>
                  <a:pt x="264" y="2118"/>
                </a:lnTo>
                <a:lnTo>
                  <a:pt x="252" y="2118"/>
                </a:lnTo>
                <a:lnTo>
                  <a:pt x="240" y="2124"/>
                </a:lnTo>
                <a:lnTo>
                  <a:pt x="228" y="2124"/>
                </a:lnTo>
                <a:lnTo>
                  <a:pt x="216" y="2130"/>
                </a:lnTo>
                <a:lnTo>
                  <a:pt x="210" y="2130"/>
                </a:lnTo>
                <a:lnTo>
                  <a:pt x="210" y="2148"/>
                </a:lnTo>
                <a:lnTo>
                  <a:pt x="204" y="2148"/>
                </a:lnTo>
                <a:lnTo>
                  <a:pt x="198" y="2142"/>
                </a:lnTo>
                <a:lnTo>
                  <a:pt x="174" y="2142"/>
                </a:lnTo>
                <a:lnTo>
                  <a:pt x="174" y="2154"/>
                </a:lnTo>
                <a:lnTo>
                  <a:pt x="180" y="2166"/>
                </a:lnTo>
                <a:lnTo>
                  <a:pt x="192" y="2172"/>
                </a:lnTo>
                <a:lnTo>
                  <a:pt x="198" y="2178"/>
                </a:lnTo>
                <a:lnTo>
                  <a:pt x="246" y="2160"/>
                </a:lnTo>
                <a:lnTo>
                  <a:pt x="264" y="2184"/>
                </a:lnTo>
                <a:lnTo>
                  <a:pt x="300" y="2166"/>
                </a:lnTo>
                <a:lnTo>
                  <a:pt x="294" y="2172"/>
                </a:lnTo>
                <a:lnTo>
                  <a:pt x="288" y="2184"/>
                </a:lnTo>
                <a:lnTo>
                  <a:pt x="276" y="2190"/>
                </a:lnTo>
                <a:lnTo>
                  <a:pt x="270" y="2196"/>
                </a:lnTo>
                <a:lnTo>
                  <a:pt x="264" y="2208"/>
                </a:lnTo>
                <a:lnTo>
                  <a:pt x="264" y="2214"/>
                </a:lnTo>
                <a:lnTo>
                  <a:pt x="276" y="2214"/>
                </a:lnTo>
                <a:lnTo>
                  <a:pt x="282" y="2208"/>
                </a:lnTo>
                <a:lnTo>
                  <a:pt x="300" y="2202"/>
                </a:lnTo>
                <a:lnTo>
                  <a:pt x="318" y="2184"/>
                </a:lnTo>
                <a:lnTo>
                  <a:pt x="330" y="2178"/>
                </a:lnTo>
                <a:lnTo>
                  <a:pt x="306" y="2202"/>
                </a:lnTo>
                <a:lnTo>
                  <a:pt x="300" y="2214"/>
                </a:lnTo>
                <a:lnTo>
                  <a:pt x="294" y="2220"/>
                </a:lnTo>
                <a:lnTo>
                  <a:pt x="300" y="2220"/>
                </a:lnTo>
                <a:lnTo>
                  <a:pt x="312" y="2214"/>
                </a:lnTo>
                <a:lnTo>
                  <a:pt x="324" y="2214"/>
                </a:lnTo>
                <a:lnTo>
                  <a:pt x="318" y="2220"/>
                </a:lnTo>
                <a:lnTo>
                  <a:pt x="306" y="2226"/>
                </a:lnTo>
                <a:lnTo>
                  <a:pt x="300" y="2238"/>
                </a:lnTo>
                <a:lnTo>
                  <a:pt x="282" y="2256"/>
                </a:lnTo>
                <a:lnTo>
                  <a:pt x="288" y="2262"/>
                </a:lnTo>
                <a:lnTo>
                  <a:pt x="294" y="2262"/>
                </a:lnTo>
                <a:lnTo>
                  <a:pt x="342" y="2238"/>
                </a:lnTo>
                <a:lnTo>
                  <a:pt x="348" y="2232"/>
                </a:lnTo>
                <a:lnTo>
                  <a:pt x="324" y="2256"/>
                </a:lnTo>
                <a:lnTo>
                  <a:pt x="318" y="2268"/>
                </a:lnTo>
                <a:lnTo>
                  <a:pt x="318" y="2274"/>
                </a:lnTo>
                <a:lnTo>
                  <a:pt x="330" y="2280"/>
                </a:lnTo>
                <a:lnTo>
                  <a:pt x="342" y="2280"/>
                </a:lnTo>
                <a:lnTo>
                  <a:pt x="354" y="2292"/>
                </a:lnTo>
                <a:lnTo>
                  <a:pt x="354" y="2298"/>
                </a:lnTo>
                <a:lnTo>
                  <a:pt x="348" y="2304"/>
                </a:lnTo>
                <a:lnTo>
                  <a:pt x="348" y="2340"/>
                </a:lnTo>
                <a:lnTo>
                  <a:pt x="2058" y="2340"/>
                </a:lnTo>
                <a:lnTo>
                  <a:pt x="2064" y="2328"/>
                </a:lnTo>
                <a:lnTo>
                  <a:pt x="2064" y="2322"/>
                </a:lnTo>
                <a:lnTo>
                  <a:pt x="2070" y="2310"/>
                </a:lnTo>
                <a:lnTo>
                  <a:pt x="2076" y="2304"/>
                </a:lnTo>
                <a:lnTo>
                  <a:pt x="2088" y="2298"/>
                </a:lnTo>
                <a:lnTo>
                  <a:pt x="2100" y="2310"/>
                </a:lnTo>
                <a:lnTo>
                  <a:pt x="2088" y="2322"/>
                </a:lnTo>
                <a:lnTo>
                  <a:pt x="2082" y="2334"/>
                </a:lnTo>
                <a:lnTo>
                  <a:pt x="2082" y="2346"/>
                </a:lnTo>
                <a:lnTo>
                  <a:pt x="2094" y="2352"/>
                </a:lnTo>
                <a:lnTo>
                  <a:pt x="2112" y="2358"/>
                </a:lnTo>
                <a:lnTo>
                  <a:pt x="2124" y="2358"/>
                </a:lnTo>
                <a:lnTo>
                  <a:pt x="2142" y="2376"/>
                </a:lnTo>
                <a:lnTo>
                  <a:pt x="2154" y="2376"/>
                </a:lnTo>
                <a:lnTo>
                  <a:pt x="2154" y="2370"/>
                </a:lnTo>
                <a:lnTo>
                  <a:pt x="2166" y="2358"/>
                </a:lnTo>
                <a:lnTo>
                  <a:pt x="2178" y="2358"/>
                </a:lnTo>
                <a:lnTo>
                  <a:pt x="2190" y="2364"/>
                </a:lnTo>
                <a:lnTo>
                  <a:pt x="2202" y="2376"/>
                </a:lnTo>
                <a:lnTo>
                  <a:pt x="2202" y="2382"/>
                </a:lnTo>
                <a:lnTo>
                  <a:pt x="2208" y="2388"/>
                </a:lnTo>
                <a:lnTo>
                  <a:pt x="2238" y="2388"/>
                </a:lnTo>
                <a:lnTo>
                  <a:pt x="2256" y="2406"/>
                </a:lnTo>
                <a:lnTo>
                  <a:pt x="2268" y="2406"/>
                </a:lnTo>
                <a:lnTo>
                  <a:pt x="2280" y="2394"/>
                </a:lnTo>
                <a:lnTo>
                  <a:pt x="2292" y="2388"/>
                </a:lnTo>
                <a:lnTo>
                  <a:pt x="2298" y="2382"/>
                </a:lnTo>
                <a:lnTo>
                  <a:pt x="2298" y="2400"/>
                </a:lnTo>
                <a:lnTo>
                  <a:pt x="2346" y="2394"/>
                </a:lnTo>
                <a:lnTo>
                  <a:pt x="2346" y="2400"/>
                </a:lnTo>
                <a:lnTo>
                  <a:pt x="2352" y="2400"/>
                </a:lnTo>
                <a:lnTo>
                  <a:pt x="2364" y="2406"/>
                </a:lnTo>
                <a:lnTo>
                  <a:pt x="2382" y="2406"/>
                </a:lnTo>
                <a:lnTo>
                  <a:pt x="2394" y="2394"/>
                </a:lnTo>
                <a:lnTo>
                  <a:pt x="2406" y="2388"/>
                </a:lnTo>
                <a:lnTo>
                  <a:pt x="2412" y="2376"/>
                </a:lnTo>
                <a:lnTo>
                  <a:pt x="2412" y="2370"/>
                </a:lnTo>
                <a:lnTo>
                  <a:pt x="2430" y="2370"/>
                </a:lnTo>
                <a:lnTo>
                  <a:pt x="2436" y="2376"/>
                </a:lnTo>
                <a:lnTo>
                  <a:pt x="2442" y="2376"/>
                </a:lnTo>
                <a:lnTo>
                  <a:pt x="2454" y="2364"/>
                </a:lnTo>
                <a:lnTo>
                  <a:pt x="2460" y="2352"/>
                </a:lnTo>
                <a:lnTo>
                  <a:pt x="2466" y="2346"/>
                </a:lnTo>
                <a:lnTo>
                  <a:pt x="2472" y="2346"/>
                </a:lnTo>
                <a:lnTo>
                  <a:pt x="2472" y="2352"/>
                </a:lnTo>
                <a:lnTo>
                  <a:pt x="2478" y="2358"/>
                </a:lnTo>
                <a:lnTo>
                  <a:pt x="2502" y="2352"/>
                </a:lnTo>
                <a:lnTo>
                  <a:pt x="2496" y="2346"/>
                </a:lnTo>
                <a:lnTo>
                  <a:pt x="2496" y="2334"/>
                </a:lnTo>
                <a:lnTo>
                  <a:pt x="2502" y="2328"/>
                </a:lnTo>
                <a:lnTo>
                  <a:pt x="2514" y="2322"/>
                </a:lnTo>
                <a:lnTo>
                  <a:pt x="2532" y="2340"/>
                </a:lnTo>
                <a:lnTo>
                  <a:pt x="2556" y="2340"/>
                </a:lnTo>
                <a:lnTo>
                  <a:pt x="2562" y="2346"/>
                </a:lnTo>
                <a:lnTo>
                  <a:pt x="2580" y="2346"/>
                </a:lnTo>
                <a:lnTo>
                  <a:pt x="2604" y="2358"/>
                </a:lnTo>
                <a:lnTo>
                  <a:pt x="2604" y="2370"/>
                </a:lnTo>
                <a:lnTo>
                  <a:pt x="2598" y="2382"/>
                </a:lnTo>
                <a:lnTo>
                  <a:pt x="2598" y="2388"/>
                </a:lnTo>
                <a:lnTo>
                  <a:pt x="2592" y="2400"/>
                </a:lnTo>
                <a:lnTo>
                  <a:pt x="2604" y="2412"/>
                </a:lnTo>
                <a:lnTo>
                  <a:pt x="2592" y="2436"/>
                </a:lnTo>
                <a:lnTo>
                  <a:pt x="2598" y="2436"/>
                </a:lnTo>
                <a:lnTo>
                  <a:pt x="2604" y="2430"/>
                </a:lnTo>
                <a:lnTo>
                  <a:pt x="2616" y="2424"/>
                </a:lnTo>
                <a:lnTo>
                  <a:pt x="2634" y="2418"/>
                </a:lnTo>
                <a:lnTo>
                  <a:pt x="2646" y="2412"/>
                </a:lnTo>
                <a:lnTo>
                  <a:pt x="2670" y="2412"/>
                </a:lnTo>
                <a:lnTo>
                  <a:pt x="2670" y="2424"/>
                </a:lnTo>
                <a:lnTo>
                  <a:pt x="2658" y="2430"/>
                </a:lnTo>
                <a:lnTo>
                  <a:pt x="2652" y="2436"/>
                </a:lnTo>
                <a:lnTo>
                  <a:pt x="2646" y="2436"/>
                </a:lnTo>
                <a:lnTo>
                  <a:pt x="2640" y="2442"/>
                </a:lnTo>
                <a:lnTo>
                  <a:pt x="2646" y="2448"/>
                </a:lnTo>
                <a:lnTo>
                  <a:pt x="2652" y="2448"/>
                </a:lnTo>
                <a:lnTo>
                  <a:pt x="2664" y="2460"/>
                </a:lnTo>
                <a:lnTo>
                  <a:pt x="2640" y="2484"/>
                </a:lnTo>
                <a:lnTo>
                  <a:pt x="2640" y="2490"/>
                </a:lnTo>
                <a:lnTo>
                  <a:pt x="2652" y="2490"/>
                </a:lnTo>
                <a:lnTo>
                  <a:pt x="2652" y="2502"/>
                </a:lnTo>
                <a:lnTo>
                  <a:pt x="2640" y="2514"/>
                </a:lnTo>
                <a:lnTo>
                  <a:pt x="2640" y="2526"/>
                </a:lnTo>
                <a:lnTo>
                  <a:pt x="2658" y="2526"/>
                </a:lnTo>
                <a:lnTo>
                  <a:pt x="2652" y="2544"/>
                </a:lnTo>
                <a:lnTo>
                  <a:pt x="2658" y="2544"/>
                </a:lnTo>
                <a:lnTo>
                  <a:pt x="2670" y="2550"/>
                </a:lnTo>
                <a:lnTo>
                  <a:pt x="2754" y="2550"/>
                </a:lnTo>
                <a:lnTo>
                  <a:pt x="2766" y="2556"/>
                </a:lnTo>
                <a:lnTo>
                  <a:pt x="2784" y="2568"/>
                </a:lnTo>
                <a:lnTo>
                  <a:pt x="2838" y="2568"/>
                </a:lnTo>
                <a:lnTo>
                  <a:pt x="2850" y="2574"/>
                </a:lnTo>
                <a:lnTo>
                  <a:pt x="2856" y="2580"/>
                </a:lnTo>
                <a:lnTo>
                  <a:pt x="2856" y="2610"/>
                </a:lnTo>
                <a:lnTo>
                  <a:pt x="2874" y="2610"/>
                </a:lnTo>
                <a:lnTo>
                  <a:pt x="2874" y="2628"/>
                </a:lnTo>
                <a:lnTo>
                  <a:pt x="2862" y="2640"/>
                </a:lnTo>
                <a:lnTo>
                  <a:pt x="2862" y="2652"/>
                </a:lnTo>
                <a:lnTo>
                  <a:pt x="2874" y="2664"/>
                </a:lnTo>
                <a:lnTo>
                  <a:pt x="2880" y="2664"/>
                </a:lnTo>
                <a:lnTo>
                  <a:pt x="2856" y="2658"/>
                </a:lnTo>
                <a:lnTo>
                  <a:pt x="2856" y="2670"/>
                </a:lnTo>
                <a:lnTo>
                  <a:pt x="2850" y="2676"/>
                </a:lnTo>
                <a:lnTo>
                  <a:pt x="2844" y="2688"/>
                </a:lnTo>
                <a:lnTo>
                  <a:pt x="2838" y="2694"/>
                </a:lnTo>
                <a:lnTo>
                  <a:pt x="2832" y="2688"/>
                </a:lnTo>
                <a:lnTo>
                  <a:pt x="2820" y="2682"/>
                </a:lnTo>
                <a:lnTo>
                  <a:pt x="2802" y="2670"/>
                </a:lnTo>
                <a:lnTo>
                  <a:pt x="2790" y="2664"/>
                </a:lnTo>
                <a:lnTo>
                  <a:pt x="2784" y="2652"/>
                </a:lnTo>
                <a:lnTo>
                  <a:pt x="2784" y="2628"/>
                </a:lnTo>
                <a:lnTo>
                  <a:pt x="2766" y="2622"/>
                </a:lnTo>
                <a:lnTo>
                  <a:pt x="2772" y="2640"/>
                </a:lnTo>
                <a:lnTo>
                  <a:pt x="2772" y="2646"/>
                </a:lnTo>
                <a:lnTo>
                  <a:pt x="2778" y="2652"/>
                </a:lnTo>
                <a:lnTo>
                  <a:pt x="2778" y="2664"/>
                </a:lnTo>
                <a:lnTo>
                  <a:pt x="2772" y="2676"/>
                </a:lnTo>
                <a:lnTo>
                  <a:pt x="2760" y="2688"/>
                </a:lnTo>
                <a:lnTo>
                  <a:pt x="2754" y="2700"/>
                </a:lnTo>
                <a:lnTo>
                  <a:pt x="2736" y="2706"/>
                </a:lnTo>
                <a:lnTo>
                  <a:pt x="2718" y="2724"/>
                </a:lnTo>
                <a:lnTo>
                  <a:pt x="2712" y="2742"/>
                </a:lnTo>
                <a:lnTo>
                  <a:pt x="2700" y="2760"/>
                </a:lnTo>
                <a:lnTo>
                  <a:pt x="2694" y="2778"/>
                </a:lnTo>
                <a:lnTo>
                  <a:pt x="2688" y="2784"/>
                </a:lnTo>
                <a:lnTo>
                  <a:pt x="2664" y="2796"/>
                </a:lnTo>
                <a:lnTo>
                  <a:pt x="2652" y="2796"/>
                </a:lnTo>
                <a:lnTo>
                  <a:pt x="2646" y="2790"/>
                </a:lnTo>
                <a:lnTo>
                  <a:pt x="2640" y="2802"/>
                </a:lnTo>
                <a:lnTo>
                  <a:pt x="2634" y="2808"/>
                </a:lnTo>
                <a:lnTo>
                  <a:pt x="2634" y="2832"/>
                </a:lnTo>
                <a:lnTo>
                  <a:pt x="2628" y="2838"/>
                </a:lnTo>
                <a:lnTo>
                  <a:pt x="2622" y="2838"/>
                </a:lnTo>
                <a:lnTo>
                  <a:pt x="2586" y="2856"/>
                </a:lnTo>
                <a:lnTo>
                  <a:pt x="2562" y="2880"/>
                </a:lnTo>
                <a:lnTo>
                  <a:pt x="2562" y="2886"/>
                </a:lnTo>
                <a:lnTo>
                  <a:pt x="2568" y="2886"/>
                </a:lnTo>
                <a:lnTo>
                  <a:pt x="2580" y="2880"/>
                </a:lnTo>
                <a:lnTo>
                  <a:pt x="2592" y="2880"/>
                </a:lnTo>
                <a:lnTo>
                  <a:pt x="2598" y="2886"/>
                </a:lnTo>
                <a:lnTo>
                  <a:pt x="2610" y="2880"/>
                </a:lnTo>
                <a:lnTo>
                  <a:pt x="2616" y="2868"/>
                </a:lnTo>
                <a:lnTo>
                  <a:pt x="2628" y="2862"/>
                </a:lnTo>
                <a:lnTo>
                  <a:pt x="2658" y="2862"/>
                </a:lnTo>
                <a:lnTo>
                  <a:pt x="2658" y="2856"/>
                </a:lnTo>
                <a:lnTo>
                  <a:pt x="2664" y="2844"/>
                </a:lnTo>
                <a:lnTo>
                  <a:pt x="2676" y="2838"/>
                </a:lnTo>
                <a:lnTo>
                  <a:pt x="2682" y="2832"/>
                </a:lnTo>
                <a:lnTo>
                  <a:pt x="2754" y="2832"/>
                </a:lnTo>
                <a:lnTo>
                  <a:pt x="2766" y="2838"/>
                </a:lnTo>
                <a:lnTo>
                  <a:pt x="2790" y="2820"/>
                </a:lnTo>
                <a:lnTo>
                  <a:pt x="2856" y="2820"/>
                </a:lnTo>
                <a:lnTo>
                  <a:pt x="2862" y="2814"/>
                </a:lnTo>
                <a:lnTo>
                  <a:pt x="2862" y="2790"/>
                </a:lnTo>
                <a:lnTo>
                  <a:pt x="2844" y="2796"/>
                </a:lnTo>
                <a:lnTo>
                  <a:pt x="2832" y="2796"/>
                </a:lnTo>
                <a:lnTo>
                  <a:pt x="2826" y="2790"/>
                </a:lnTo>
                <a:lnTo>
                  <a:pt x="2826" y="2784"/>
                </a:lnTo>
                <a:lnTo>
                  <a:pt x="2832" y="2772"/>
                </a:lnTo>
                <a:lnTo>
                  <a:pt x="2850" y="2754"/>
                </a:lnTo>
                <a:lnTo>
                  <a:pt x="2868" y="2742"/>
                </a:lnTo>
                <a:lnTo>
                  <a:pt x="2880" y="2736"/>
                </a:lnTo>
                <a:lnTo>
                  <a:pt x="2910" y="2736"/>
                </a:lnTo>
                <a:lnTo>
                  <a:pt x="2928" y="2730"/>
                </a:lnTo>
                <a:lnTo>
                  <a:pt x="2952" y="2730"/>
                </a:lnTo>
                <a:lnTo>
                  <a:pt x="2964" y="2724"/>
                </a:lnTo>
                <a:lnTo>
                  <a:pt x="2970" y="2724"/>
                </a:lnTo>
                <a:lnTo>
                  <a:pt x="2976" y="2718"/>
                </a:lnTo>
                <a:lnTo>
                  <a:pt x="2982" y="2718"/>
                </a:lnTo>
                <a:lnTo>
                  <a:pt x="2994" y="2724"/>
                </a:lnTo>
                <a:lnTo>
                  <a:pt x="3000" y="2724"/>
                </a:lnTo>
                <a:lnTo>
                  <a:pt x="3012" y="2730"/>
                </a:lnTo>
                <a:lnTo>
                  <a:pt x="3018" y="2736"/>
                </a:lnTo>
                <a:lnTo>
                  <a:pt x="3024" y="2736"/>
                </a:lnTo>
                <a:lnTo>
                  <a:pt x="3030" y="2730"/>
                </a:lnTo>
                <a:lnTo>
                  <a:pt x="3030" y="2712"/>
                </a:lnTo>
                <a:lnTo>
                  <a:pt x="3036" y="2706"/>
                </a:lnTo>
                <a:lnTo>
                  <a:pt x="3048" y="2700"/>
                </a:lnTo>
                <a:lnTo>
                  <a:pt x="3060" y="2700"/>
                </a:lnTo>
                <a:lnTo>
                  <a:pt x="3066" y="2706"/>
                </a:lnTo>
                <a:lnTo>
                  <a:pt x="3072" y="2706"/>
                </a:lnTo>
                <a:lnTo>
                  <a:pt x="3072" y="2700"/>
                </a:lnTo>
                <a:lnTo>
                  <a:pt x="3102" y="2700"/>
                </a:lnTo>
                <a:lnTo>
                  <a:pt x="3114" y="2688"/>
                </a:lnTo>
                <a:lnTo>
                  <a:pt x="3126" y="2682"/>
                </a:lnTo>
                <a:lnTo>
                  <a:pt x="3150" y="2658"/>
                </a:lnTo>
                <a:lnTo>
                  <a:pt x="3162" y="2652"/>
                </a:lnTo>
                <a:lnTo>
                  <a:pt x="3174" y="2640"/>
                </a:lnTo>
                <a:lnTo>
                  <a:pt x="3408" y="2640"/>
                </a:lnTo>
                <a:lnTo>
                  <a:pt x="3408" y="2634"/>
                </a:lnTo>
                <a:lnTo>
                  <a:pt x="3420" y="2622"/>
                </a:lnTo>
                <a:lnTo>
                  <a:pt x="3438" y="2622"/>
                </a:lnTo>
                <a:lnTo>
                  <a:pt x="3450" y="2616"/>
                </a:lnTo>
                <a:lnTo>
                  <a:pt x="3456" y="2616"/>
                </a:lnTo>
                <a:lnTo>
                  <a:pt x="3456" y="2610"/>
                </a:lnTo>
                <a:lnTo>
                  <a:pt x="3468" y="2598"/>
                </a:lnTo>
                <a:lnTo>
                  <a:pt x="3480" y="2592"/>
                </a:lnTo>
                <a:lnTo>
                  <a:pt x="3486" y="2586"/>
                </a:lnTo>
                <a:lnTo>
                  <a:pt x="3498" y="2586"/>
                </a:lnTo>
                <a:lnTo>
                  <a:pt x="3504" y="2592"/>
                </a:lnTo>
                <a:lnTo>
                  <a:pt x="3510" y="2592"/>
                </a:lnTo>
                <a:lnTo>
                  <a:pt x="3510" y="2568"/>
                </a:lnTo>
                <a:lnTo>
                  <a:pt x="3516" y="2556"/>
                </a:lnTo>
                <a:lnTo>
                  <a:pt x="3528" y="2544"/>
                </a:lnTo>
                <a:lnTo>
                  <a:pt x="3534" y="2544"/>
                </a:lnTo>
                <a:lnTo>
                  <a:pt x="3546" y="2532"/>
                </a:lnTo>
                <a:lnTo>
                  <a:pt x="3546" y="2508"/>
                </a:lnTo>
                <a:lnTo>
                  <a:pt x="3588" y="2484"/>
                </a:lnTo>
                <a:lnTo>
                  <a:pt x="3594" y="2472"/>
                </a:lnTo>
                <a:lnTo>
                  <a:pt x="3618" y="2448"/>
                </a:lnTo>
                <a:lnTo>
                  <a:pt x="3630" y="2448"/>
                </a:lnTo>
                <a:lnTo>
                  <a:pt x="3636" y="2454"/>
                </a:lnTo>
                <a:lnTo>
                  <a:pt x="3636" y="2460"/>
                </a:lnTo>
                <a:lnTo>
                  <a:pt x="3642" y="2466"/>
                </a:lnTo>
                <a:lnTo>
                  <a:pt x="3654" y="2466"/>
                </a:lnTo>
                <a:lnTo>
                  <a:pt x="3666" y="2460"/>
                </a:lnTo>
                <a:lnTo>
                  <a:pt x="3702" y="2460"/>
                </a:lnTo>
                <a:lnTo>
                  <a:pt x="3708" y="2466"/>
                </a:lnTo>
                <a:lnTo>
                  <a:pt x="3708" y="2472"/>
                </a:lnTo>
                <a:lnTo>
                  <a:pt x="3702" y="2496"/>
                </a:lnTo>
                <a:lnTo>
                  <a:pt x="3690" y="2520"/>
                </a:lnTo>
                <a:lnTo>
                  <a:pt x="3678" y="2550"/>
                </a:lnTo>
                <a:lnTo>
                  <a:pt x="3666" y="2574"/>
                </a:lnTo>
                <a:lnTo>
                  <a:pt x="3666" y="2586"/>
                </a:lnTo>
                <a:lnTo>
                  <a:pt x="3672" y="2592"/>
                </a:lnTo>
                <a:lnTo>
                  <a:pt x="3678" y="2592"/>
                </a:lnTo>
                <a:lnTo>
                  <a:pt x="3684" y="2598"/>
                </a:lnTo>
                <a:lnTo>
                  <a:pt x="3672" y="2610"/>
                </a:lnTo>
                <a:lnTo>
                  <a:pt x="3666" y="2622"/>
                </a:lnTo>
                <a:lnTo>
                  <a:pt x="3666" y="2628"/>
                </a:lnTo>
                <a:lnTo>
                  <a:pt x="3690" y="2628"/>
                </a:lnTo>
                <a:lnTo>
                  <a:pt x="3690" y="2634"/>
                </a:lnTo>
                <a:lnTo>
                  <a:pt x="3696" y="2640"/>
                </a:lnTo>
                <a:lnTo>
                  <a:pt x="3714" y="2640"/>
                </a:lnTo>
                <a:lnTo>
                  <a:pt x="3750" y="2622"/>
                </a:lnTo>
                <a:lnTo>
                  <a:pt x="3768" y="2604"/>
                </a:lnTo>
                <a:lnTo>
                  <a:pt x="3780" y="2622"/>
                </a:lnTo>
                <a:lnTo>
                  <a:pt x="3786" y="2622"/>
                </a:lnTo>
                <a:lnTo>
                  <a:pt x="3792" y="2616"/>
                </a:lnTo>
                <a:lnTo>
                  <a:pt x="3816" y="2604"/>
                </a:lnTo>
                <a:lnTo>
                  <a:pt x="3828" y="2604"/>
                </a:lnTo>
                <a:lnTo>
                  <a:pt x="3840" y="2592"/>
                </a:lnTo>
                <a:lnTo>
                  <a:pt x="3852" y="2592"/>
                </a:lnTo>
                <a:lnTo>
                  <a:pt x="3864" y="2580"/>
                </a:lnTo>
                <a:lnTo>
                  <a:pt x="3870" y="2580"/>
                </a:lnTo>
                <a:lnTo>
                  <a:pt x="3888" y="2586"/>
                </a:lnTo>
                <a:lnTo>
                  <a:pt x="3846" y="2616"/>
                </a:lnTo>
                <a:lnTo>
                  <a:pt x="3936" y="2610"/>
                </a:lnTo>
                <a:lnTo>
                  <a:pt x="3918" y="2610"/>
                </a:lnTo>
                <a:lnTo>
                  <a:pt x="3906" y="2616"/>
                </a:lnTo>
                <a:lnTo>
                  <a:pt x="3894" y="2616"/>
                </a:lnTo>
                <a:lnTo>
                  <a:pt x="3888" y="2622"/>
                </a:lnTo>
                <a:lnTo>
                  <a:pt x="3888" y="2634"/>
                </a:lnTo>
                <a:lnTo>
                  <a:pt x="3882" y="2640"/>
                </a:lnTo>
                <a:lnTo>
                  <a:pt x="3876" y="2640"/>
                </a:lnTo>
                <a:lnTo>
                  <a:pt x="3870" y="2634"/>
                </a:lnTo>
                <a:lnTo>
                  <a:pt x="3864" y="2634"/>
                </a:lnTo>
                <a:lnTo>
                  <a:pt x="3852" y="2628"/>
                </a:lnTo>
                <a:lnTo>
                  <a:pt x="3846" y="2628"/>
                </a:lnTo>
                <a:lnTo>
                  <a:pt x="3828" y="2634"/>
                </a:lnTo>
                <a:lnTo>
                  <a:pt x="3738" y="2688"/>
                </a:lnTo>
                <a:lnTo>
                  <a:pt x="3726" y="2700"/>
                </a:lnTo>
                <a:lnTo>
                  <a:pt x="3720" y="2712"/>
                </a:lnTo>
                <a:lnTo>
                  <a:pt x="3720" y="2748"/>
                </a:lnTo>
                <a:lnTo>
                  <a:pt x="3726" y="2748"/>
                </a:lnTo>
                <a:lnTo>
                  <a:pt x="3732" y="2742"/>
                </a:lnTo>
                <a:lnTo>
                  <a:pt x="3738" y="2742"/>
                </a:lnTo>
                <a:lnTo>
                  <a:pt x="3738" y="2754"/>
                </a:lnTo>
                <a:lnTo>
                  <a:pt x="3744" y="2760"/>
                </a:lnTo>
                <a:lnTo>
                  <a:pt x="3756" y="2760"/>
                </a:lnTo>
                <a:lnTo>
                  <a:pt x="3762" y="2754"/>
                </a:lnTo>
                <a:lnTo>
                  <a:pt x="3768" y="2742"/>
                </a:lnTo>
                <a:lnTo>
                  <a:pt x="3774" y="2736"/>
                </a:lnTo>
                <a:lnTo>
                  <a:pt x="3786" y="2736"/>
                </a:lnTo>
                <a:lnTo>
                  <a:pt x="3804" y="2730"/>
                </a:lnTo>
                <a:lnTo>
                  <a:pt x="3816" y="2724"/>
                </a:lnTo>
                <a:lnTo>
                  <a:pt x="3834" y="2718"/>
                </a:lnTo>
                <a:lnTo>
                  <a:pt x="3846" y="2706"/>
                </a:lnTo>
                <a:lnTo>
                  <a:pt x="3852" y="2694"/>
                </a:lnTo>
                <a:lnTo>
                  <a:pt x="3870" y="2676"/>
                </a:lnTo>
                <a:lnTo>
                  <a:pt x="3876" y="2664"/>
                </a:lnTo>
                <a:lnTo>
                  <a:pt x="3876" y="2670"/>
                </a:lnTo>
                <a:lnTo>
                  <a:pt x="3882" y="2682"/>
                </a:lnTo>
                <a:lnTo>
                  <a:pt x="3888" y="2688"/>
                </a:lnTo>
                <a:lnTo>
                  <a:pt x="3894" y="2688"/>
                </a:lnTo>
                <a:lnTo>
                  <a:pt x="3930" y="2676"/>
                </a:lnTo>
                <a:lnTo>
                  <a:pt x="3954" y="2664"/>
                </a:lnTo>
                <a:lnTo>
                  <a:pt x="3972" y="2658"/>
                </a:lnTo>
                <a:lnTo>
                  <a:pt x="3984" y="2652"/>
                </a:lnTo>
                <a:lnTo>
                  <a:pt x="4008" y="2646"/>
                </a:lnTo>
                <a:lnTo>
                  <a:pt x="4068" y="2634"/>
                </a:lnTo>
                <a:lnTo>
                  <a:pt x="4080" y="2628"/>
                </a:lnTo>
                <a:lnTo>
                  <a:pt x="4068" y="2616"/>
                </a:lnTo>
                <a:lnTo>
                  <a:pt x="4074" y="2598"/>
                </a:lnTo>
                <a:lnTo>
                  <a:pt x="4038" y="2604"/>
                </a:lnTo>
                <a:lnTo>
                  <a:pt x="4038" y="2580"/>
                </a:lnTo>
                <a:lnTo>
                  <a:pt x="4026" y="2586"/>
                </a:lnTo>
                <a:lnTo>
                  <a:pt x="4020" y="2586"/>
                </a:lnTo>
                <a:lnTo>
                  <a:pt x="4008" y="2592"/>
                </a:lnTo>
                <a:lnTo>
                  <a:pt x="4002" y="2598"/>
                </a:lnTo>
                <a:lnTo>
                  <a:pt x="3990" y="2598"/>
                </a:lnTo>
                <a:lnTo>
                  <a:pt x="3990" y="2580"/>
                </a:lnTo>
                <a:lnTo>
                  <a:pt x="3930" y="2580"/>
                </a:lnTo>
                <a:lnTo>
                  <a:pt x="3924" y="2574"/>
                </a:lnTo>
                <a:lnTo>
                  <a:pt x="3924" y="2568"/>
                </a:lnTo>
                <a:lnTo>
                  <a:pt x="3918" y="2562"/>
                </a:lnTo>
                <a:lnTo>
                  <a:pt x="3918" y="2556"/>
                </a:lnTo>
                <a:lnTo>
                  <a:pt x="3930" y="2556"/>
                </a:lnTo>
                <a:lnTo>
                  <a:pt x="3918" y="2544"/>
                </a:lnTo>
                <a:lnTo>
                  <a:pt x="3888" y="2544"/>
                </a:lnTo>
                <a:lnTo>
                  <a:pt x="3882" y="2532"/>
                </a:lnTo>
                <a:lnTo>
                  <a:pt x="3882" y="2526"/>
                </a:lnTo>
                <a:lnTo>
                  <a:pt x="3876" y="2514"/>
                </a:lnTo>
                <a:lnTo>
                  <a:pt x="3876" y="2502"/>
                </a:lnTo>
                <a:lnTo>
                  <a:pt x="3894" y="2484"/>
                </a:lnTo>
                <a:lnTo>
                  <a:pt x="3870" y="2484"/>
                </a:lnTo>
                <a:lnTo>
                  <a:pt x="3876" y="2478"/>
                </a:lnTo>
                <a:lnTo>
                  <a:pt x="3888" y="2472"/>
                </a:lnTo>
                <a:lnTo>
                  <a:pt x="3894" y="2460"/>
                </a:lnTo>
                <a:lnTo>
                  <a:pt x="3906" y="2454"/>
                </a:lnTo>
                <a:lnTo>
                  <a:pt x="3918" y="2442"/>
                </a:lnTo>
                <a:lnTo>
                  <a:pt x="3924" y="2430"/>
                </a:lnTo>
                <a:lnTo>
                  <a:pt x="3936" y="2424"/>
                </a:lnTo>
                <a:lnTo>
                  <a:pt x="3942" y="2412"/>
                </a:lnTo>
                <a:lnTo>
                  <a:pt x="3948" y="2406"/>
                </a:lnTo>
                <a:lnTo>
                  <a:pt x="3936" y="2400"/>
                </a:lnTo>
                <a:lnTo>
                  <a:pt x="3912" y="2430"/>
                </a:lnTo>
                <a:lnTo>
                  <a:pt x="3894" y="2418"/>
                </a:lnTo>
                <a:lnTo>
                  <a:pt x="3864" y="2436"/>
                </a:lnTo>
                <a:lnTo>
                  <a:pt x="3858" y="2418"/>
                </a:lnTo>
                <a:lnTo>
                  <a:pt x="3828" y="2406"/>
                </a:lnTo>
                <a:lnTo>
                  <a:pt x="3810" y="2412"/>
                </a:lnTo>
                <a:lnTo>
                  <a:pt x="3864" y="2394"/>
                </a:lnTo>
                <a:lnTo>
                  <a:pt x="3870" y="2400"/>
                </a:lnTo>
                <a:lnTo>
                  <a:pt x="3882" y="2406"/>
                </a:lnTo>
                <a:lnTo>
                  <a:pt x="3900" y="2406"/>
                </a:lnTo>
                <a:lnTo>
                  <a:pt x="3918" y="2388"/>
                </a:lnTo>
                <a:lnTo>
                  <a:pt x="3930" y="2382"/>
                </a:lnTo>
                <a:lnTo>
                  <a:pt x="3936" y="2376"/>
                </a:lnTo>
                <a:lnTo>
                  <a:pt x="3978" y="2376"/>
                </a:lnTo>
                <a:lnTo>
                  <a:pt x="3978" y="2364"/>
                </a:lnTo>
                <a:lnTo>
                  <a:pt x="3972" y="2358"/>
                </a:lnTo>
                <a:lnTo>
                  <a:pt x="3966" y="2346"/>
                </a:lnTo>
                <a:lnTo>
                  <a:pt x="3990" y="2346"/>
                </a:lnTo>
                <a:lnTo>
                  <a:pt x="3978" y="2334"/>
                </a:lnTo>
                <a:lnTo>
                  <a:pt x="3972" y="2322"/>
                </a:lnTo>
                <a:lnTo>
                  <a:pt x="3960" y="2316"/>
                </a:lnTo>
                <a:lnTo>
                  <a:pt x="3942" y="2310"/>
                </a:lnTo>
                <a:lnTo>
                  <a:pt x="3918" y="2310"/>
                </a:lnTo>
                <a:lnTo>
                  <a:pt x="3852" y="2316"/>
                </a:lnTo>
                <a:lnTo>
                  <a:pt x="3792" y="2334"/>
                </a:lnTo>
                <a:lnTo>
                  <a:pt x="3744" y="2352"/>
                </a:lnTo>
                <a:lnTo>
                  <a:pt x="3684" y="2376"/>
                </a:lnTo>
                <a:lnTo>
                  <a:pt x="3660" y="2388"/>
                </a:lnTo>
                <a:lnTo>
                  <a:pt x="3642" y="2400"/>
                </a:lnTo>
                <a:lnTo>
                  <a:pt x="3624" y="2418"/>
                </a:lnTo>
                <a:lnTo>
                  <a:pt x="3606" y="2430"/>
                </a:lnTo>
                <a:lnTo>
                  <a:pt x="3594" y="2442"/>
                </a:lnTo>
                <a:lnTo>
                  <a:pt x="3576" y="2454"/>
                </a:lnTo>
                <a:lnTo>
                  <a:pt x="3564" y="2466"/>
                </a:lnTo>
                <a:lnTo>
                  <a:pt x="3528" y="2484"/>
                </a:lnTo>
                <a:lnTo>
                  <a:pt x="3516" y="2484"/>
                </a:lnTo>
                <a:lnTo>
                  <a:pt x="3498" y="2490"/>
                </a:lnTo>
                <a:lnTo>
                  <a:pt x="3486" y="2490"/>
                </a:lnTo>
                <a:lnTo>
                  <a:pt x="3492" y="2490"/>
                </a:lnTo>
                <a:lnTo>
                  <a:pt x="3498" y="2484"/>
                </a:lnTo>
                <a:lnTo>
                  <a:pt x="3510" y="2478"/>
                </a:lnTo>
                <a:lnTo>
                  <a:pt x="3522" y="2466"/>
                </a:lnTo>
                <a:lnTo>
                  <a:pt x="3540" y="2460"/>
                </a:lnTo>
                <a:lnTo>
                  <a:pt x="3552" y="2448"/>
                </a:lnTo>
                <a:lnTo>
                  <a:pt x="3576" y="2436"/>
                </a:lnTo>
                <a:lnTo>
                  <a:pt x="3600" y="2412"/>
                </a:lnTo>
                <a:lnTo>
                  <a:pt x="3606" y="2400"/>
                </a:lnTo>
                <a:lnTo>
                  <a:pt x="3582" y="2388"/>
                </a:lnTo>
                <a:lnTo>
                  <a:pt x="3588" y="2388"/>
                </a:lnTo>
                <a:lnTo>
                  <a:pt x="3594" y="2394"/>
                </a:lnTo>
                <a:lnTo>
                  <a:pt x="3624" y="2394"/>
                </a:lnTo>
                <a:lnTo>
                  <a:pt x="3642" y="2382"/>
                </a:lnTo>
                <a:lnTo>
                  <a:pt x="3702" y="2334"/>
                </a:lnTo>
                <a:lnTo>
                  <a:pt x="3750" y="2310"/>
                </a:lnTo>
                <a:lnTo>
                  <a:pt x="3768" y="2304"/>
                </a:lnTo>
                <a:lnTo>
                  <a:pt x="3804" y="2304"/>
                </a:lnTo>
                <a:lnTo>
                  <a:pt x="3852" y="2256"/>
                </a:lnTo>
                <a:lnTo>
                  <a:pt x="3870" y="2244"/>
                </a:lnTo>
                <a:lnTo>
                  <a:pt x="3888" y="2238"/>
                </a:lnTo>
                <a:lnTo>
                  <a:pt x="3936" y="2232"/>
                </a:lnTo>
                <a:lnTo>
                  <a:pt x="3990" y="2232"/>
                </a:lnTo>
                <a:lnTo>
                  <a:pt x="4044" y="2226"/>
                </a:lnTo>
                <a:lnTo>
                  <a:pt x="4074" y="2226"/>
                </a:lnTo>
                <a:lnTo>
                  <a:pt x="4104" y="2232"/>
                </a:lnTo>
                <a:lnTo>
                  <a:pt x="4176" y="2244"/>
                </a:lnTo>
                <a:lnTo>
                  <a:pt x="4200" y="2250"/>
                </a:lnTo>
                <a:lnTo>
                  <a:pt x="4212" y="2244"/>
                </a:lnTo>
                <a:lnTo>
                  <a:pt x="4248" y="2232"/>
                </a:lnTo>
                <a:lnTo>
                  <a:pt x="4260" y="2226"/>
                </a:lnTo>
                <a:lnTo>
                  <a:pt x="4278" y="2226"/>
                </a:lnTo>
                <a:lnTo>
                  <a:pt x="4296" y="2220"/>
                </a:lnTo>
                <a:lnTo>
                  <a:pt x="4320" y="2214"/>
                </a:lnTo>
                <a:lnTo>
                  <a:pt x="4338" y="2208"/>
                </a:lnTo>
                <a:lnTo>
                  <a:pt x="4374" y="2172"/>
                </a:lnTo>
                <a:lnTo>
                  <a:pt x="4392" y="2166"/>
                </a:lnTo>
                <a:lnTo>
                  <a:pt x="4404" y="2154"/>
                </a:lnTo>
                <a:lnTo>
                  <a:pt x="4410" y="2154"/>
                </a:lnTo>
                <a:lnTo>
                  <a:pt x="4422" y="2148"/>
                </a:lnTo>
                <a:lnTo>
                  <a:pt x="4452" y="2148"/>
                </a:lnTo>
                <a:lnTo>
                  <a:pt x="4458" y="2142"/>
                </a:lnTo>
                <a:lnTo>
                  <a:pt x="4470" y="2136"/>
                </a:lnTo>
                <a:lnTo>
                  <a:pt x="4476" y="2130"/>
                </a:lnTo>
                <a:lnTo>
                  <a:pt x="4494" y="2130"/>
                </a:lnTo>
                <a:lnTo>
                  <a:pt x="4500" y="2136"/>
                </a:lnTo>
                <a:lnTo>
                  <a:pt x="4518" y="2136"/>
                </a:lnTo>
                <a:lnTo>
                  <a:pt x="4530" y="2130"/>
                </a:lnTo>
                <a:lnTo>
                  <a:pt x="4536" y="2130"/>
                </a:lnTo>
                <a:lnTo>
                  <a:pt x="4542" y="2124"/>
                </a:lnTo>
                <a:lnTo>
                  <a:pt x="4596" y="2106"/>
                </a:lnTo>
                <a:lnTo>
                  <a:pt x="4620" y="2094"/>
                </a:lnTo>
                <a:lnTo>
                  <a:pt x="4620" y="2088"/>
                </a:lnTo>
                <a:lnTo>
                  <a:pt x="4614" y="2076"/>
                </a:lnTo>
                <a:lnTo>
                  <a:pt x="4602" y="2070"/>
                </a:lnTo>
                <a:lnTo>
                  <a:pt x="4584" y="2052"/>
                </a:lnTo>
                <a:lnTo>
                  <a:pt x="4578" y="2052"/>
                </a:lnTo>
                <a:lnTo>
                  <a:pt x="4602" y="2052"/>
                </a:lnTo>
                <a:lnTo>
                  <a:pt x="4614" y="2046"/>
                </a:lnTo>
                <a:lnTo>
                  <a:pt x="4614" y="2028"/>
                </a:lnTo>
                <a:lnTo>
                  <a:pt x="4608" y="2022"/>
                </a:lnTo>
                <a:lnTo>
                  <a:pt x="4608" y="2010"/>
                </a:lnTo>
                <a:lnTo>
                  <a:pt x="4632" y="2010"/>
                </a:lnTo>
                <a:lnTo>
                  <a:pt x="4644" y="1998"/>
                </a:lnTo>
                <a:lnTo>
                  <a:pt x="4644" y="1992"/>
                </a:lnTo>
                <a:lnTo>
                  <a:pt x="4632" y="1980"/>
                </a:lnTo>
                <a:lnTo>
                  <a:pt x="4626" y="1968"/>
                </a:lnTo>
                <a:lnTo>
                  <a:pt x="4608" y="1962"/>
                </a:lnTo>
                <a:lnTo>
                  <a:pt x="4602" y="1956"/>
                </a:lnTo>
                <a:lnTo>
                  <a:pt x="4590" y="196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3" name="Cameroon"/>
          <p:cNvSpPr>
            <a:spLocks/>
          </p:cNvSpPr>
          <p:nvPr/>
        </p:nvSpPr>
        <p:spPr bwMode="gray">
          <a:xfrm>
            <a:off x="4261708" y="3832893"/>
            <a:ext cx="219075" cy="373062"/>
          </a:xfrm>
          <a:custGeom>
            <a:avLst/>
            <a:gdLst>
              <a:gd name="T0" fmla="*/ 2147483647 w 546"/>
              <a:gd name="T1" fmla="*/ 0 h 924"/>
              <a:gd name="T2" fmla="*/ 2147483647 w 546"/>
              <a:gd name="T3" fmla="*/ 2147483647 h 924"/>
              <a:gd name="T4" fmla="*/ 2147483647 w 546"/>
              <a:gd name="T5" fmla="*/ 2147483647 h 924"/>
              <a:gd name="T6" fmla="*/ 2147483647 w 546"/>
              <a:gd name="T7" fmla="*/ 2147483647 h 924"/>
              <a:gd name="T8" fmla="*/ 2147483647 w 546"/>
              <a:gd name="T9" fmla="*/ 2147483647 h 924"/>
              <a:gd name="T10" fmla="*/ 2147483647 w 546"/>
              <a:gd name="T11" fmla="*/ 2147483647 h 924"/>
              <a:gd name="T12" fmla="*/ 2147483647 w 546"/>
              <a:gd name="T13" fmla="*/ 2147483647 h 924"/>
              <a:gd name="T14" fmla="*/ 2147483647 w 546"/>
              <a:gd name="T15" fmla="*/ 2147483647 h 924"/>
              <a:gd name="T16" fmla="*/ 2147483647 w 546"/>
              <a:gd name="T17" fmla="*/ 2147483647 h 924"/>
              <a:gd name="T18" fmla="*/ 2147483647 w 546"/>
              <a:gd name="T19" fmla="*/ 2147483647 h 924"/>
              <a:gd name="T20" fmla="*/ 2147483647 w 546"/>
              <a:gd name="T21" fmla="*/ 2147483647 h 924"/>
              <a:gd name="T22" fmla="*/ 2147483647 w 546"/>
              <a:gd name="T23" fmla="*/ 2147483647 h 924"/>
              <a:gd name="T24" fmla="*/ 2147483647 w 546"/>
              <a:gd name="T25" fmla="*/ 2147483647 h 924"/>
              <a:gd name="T26" fmla="*/ 2147483647 w 546"/>
              <a:gd name="T27" fmla="*/ 2147483647 h 924"/>
              <a:gd name="T28" fmla="*/ 2147483647 w 546"/>
              <a:gd name="T29" fmla="*/ 2147483647 h 924"/>
              <a:gd name="T30" fmla="*/ 2147483647 w 546"/>
              <a:gd name="T31" fmla="*/ 2147483647 h 924"/>
              <a:gd name="T32" fmla="*/ 2147483647 w 546"/>
              <a:gd name="T33" fmla="*/ 2147483647 h 924"/>
              <a:gd name="T34" fmla="*/ 2147483647 w 546"/>
              <a:gd name="T35" fmla="*/ 2147483647 h 924"/>
              <a:gd name="T36" fmla="*/ 2147483647 w 546"/>
              <a:gd name="T37" fmla="*/ 2147483647 h 924"/>
              <a:gd name="T38" fmla="*/ 2147483647 w 546"/>
              <a:gd name="T39" fmla="*/ 2147483647 h 924"/>
              <a:gd name="T40" fmla="*/ 2147483647 w 546"/>
              <a:gd name="T41" fmla="*/ 2147483647 h 924"/>
              <a:gd name="T42" fmla="*/ 2147483647 w 546"/>
              <a:gd name="T43" fmla="*/ 2147483647 h 924"/>
              <a:gd name="T44" fmla="*/ 2147483647 w 546"/>
              <a:gd name="T45" fmla="*/ 2147483647 h 924"/>
              <a:gd name="T46" fmla="*/ 2147483647 w 546"/>
              <a:gd name="T47" fmla="*/ 2147483647 h 924"/>
              <a:gd name="T48" fmla="*/ 2147483647 w 546"/>
              <a:gd name="T49" fmla="*/ 2147483647 h 924"/>
              <a:gd name="T50" fmla="*/ 2147483647 w 546"/>
              <a:gd name="T51" fmla="*/ 2147483647 h 924"/>
              <a:gd name="T52" fmla="*/ 2147483647 w 546"/>
              <a:gd name="T53" fmla="*/ 2147483647 h 924"/>
              <a:gd name="T54" fmla="*/ 2147483647 w 546"/>
              <a:gd name="T55" fmla="*/ 2147483647 h 924"/>
              <a:gd name="T56" fmla="*/ 2147483647 w 546"/>
              <a:gd name="T57" fmla="*/ 2147483647 h 924"/>
              <a:gd name="T58" fmla="*/ 2147483647 w 546"/>
              <a:gd name="T59" fmla="*/ 2147483647 h 924"/>
              <a:gd name="T60" fmla="*/ 2147483647 w 546"/>
              <a:gd name="T61" fmla="*/ 2147483647 h 924"/>
              <a:gd name="T62" fmla="*/ 2147483647 w 546"/>
              <a:gd name="T63" fmla="*/ 2147483647 h 924"/>
              <a:gd name="T64" fmla="*/ 2147483647 w 546"/>
              <a:gd name="T65" fmla="*/ 2147483647 h 924"/>
              <a:gd name="T66" fmla="*/ 2147483647 w 546"/>
              <a:gd name="T67" fmla="*/ 2147483647 h 924"/>
              <a:gd name="T68" fmla="*/ 2147483647 w 546"/>
              <a:gd name="T69" fmla="*/ 2147483647 h 924"/>
              <a:gd name="T70" fmla="*/ 2147483647 w 546"/>
              <a:gd name="T71" fmla="*/ 2147483647 h 924"/>
              <a:gd name="T72" fmla="*/ 2147483647 w 546"/>
              <a:gd name="T73" fmla="*/ 2147483647 h 924"/>
              <a:gd name="T74" fmla="*/ 2147483647 w 546"/>
              <a:gd name="T75" fmla="*/ 2147483647 h 924"/>
              <a:gd name="T76" fmla="*/ 2147483647 w 546"/>
              <a:gd name="T77" fmla="*/ 2147483647 h 924"/>
              <a:gd name="T78" fmla="*/ 2147483647 w 546"/>
              <a:gd name="T79" fmla="*/ 2147483647 h 924"/>
              <a:gd name="T80" fmla="*/ 2147483647 w 546"/>
              <a:gd name="T81" fmla="*/ 2147483647 h 924"/>
              <a:gd name="T82" fmla="*/ 2147483647 w 546"/>
              <a:gd name="T83" fmla="*/ 2147483647 h 924"/>
              <a:gd name="T84" fmla="*/ 2147483647 w 546"/>
              <a:gd name="T85" fmla="*/ 2147483647 h 924"/>
              <a:gd name="T86" fmla="*/ 2147483647 w 546"/>
              <a:gd name="T87" fmla="*/ 2147483647 h 924"/>
              <a:gd name="T88" fmla="*/ 2147483647 w 546"/>
              <a:gd name="T89" fmla="*/ 2147483647 h 924"/>
              <a:gd name="T90" fmla="*/ 2147483647 w 546"/>
              <a:gd name="T91" fmla="*/ 2147483647 h 924"/>
              <a:gd name="T92" fmla="*/ 2147483647 w 546"/>
              <a:gd name="T93" fmla="*/ 2147483647 h 924"/>
              <a:gd name="T94" fmla="*/ 2147483647 w 546"/>
              <a:gd name="T95" fmla="*/ 2147483647 h 924"/>
              <a:gd name="T96" fmla="*/ 2147483647 w 546"/>
              <a:gd name="T97" fmla="*/ 2147483647 h 924"/>
              <a:gd name="T98" fmla="*/ 2147483647 w 546"/>
              <a:gd name="T99" fmla="*/ 2147483647 h 924"/>
              <a:gd name="T100" fmla="*/ 2147483647 w 546"/>
              <a:gd name="T101" fmla="*/ 2147483647 h 924"/>
              <a:gd name="T102" fmla="*/ 2147483647 w 546"/>
              <a:gd name="T103" fmla="*/ 2147483647 h 924"/>
              <a:gd name="T104" fmla="*/ 2147483647 w 546"/>
              <a:gd name="T105" fmla="*/ 2147483647 h 924"/>
              <a:gd name="T106" fmla="*/ 2147483647 w 546"/>
              <a:gd name="T107" fmla="*/ 2147483647 h 924"/>
              <a:gd name="T108" fmla="*/ 2147483647 w 546"/>
              <a:gd name="T109" fmla="*/ 2147483647 h 924"/>
              <a:gd name="T110" fmla="*/ 2147483647 w 546"/>
              <a:gd name="T111" fmla="*/ 2147483647 h 9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46"/>
              <a:gd name="T169" fmla="*/ 0 h 924"/>
              <a:gd name="T170" fmla="*/ 546 w 546"/>
              <a:gd name="T171" fmla="*/ 924 h 92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46" h="924">
                <a:moveTo>
                  <a:pt x="420" y="30"/>
                </a:moveTo>
                <a:lnTo>
                  <a:pt x="414" y="18"/>
                </a:lnTo>
                <a:lnTo>
                  <a:pt x="414" y="0"/>
                </a:lnTo>
                <a:lnTo>
                  <a:pt x="390" y="6"/>
                </a:lnTo>
                <a:lnTo>
                  <a:pt x="390" y="54"/>
                </a:lnTo>
                <a:lnTo>
                  <a:pt x="396" y="60"/>
                </a:lnTo>
                <a:lnTo>
                  <a:pt x="396" y="66"/>
                </a:lnTo>
                <a:lnTo>
                  <a:pt x="426" y="66"/>
                </a:lnTo>
                <a:lnTo>
                  <a:pt x="426" y="96"/>
                </a:lnTo>
                <a:lnTo>
                  <a:pt x="420" y="102"/>
                </a:lnTo>
                <a:lnTo>
                  <a:pt x="420" y="108"/>
                </a:lnTo>
                <a:lnTo>
                  <a:pt x="426" y="114"/>
                </a:lnTo>
                <a:lnTo>
                  <a:pt x="426" y="126"/>
                </a:lnTo>
                <a:lnTo>
                  <a:pt x="408" y="144"/>
                </a:lnTo>
                <a:lnTo>
                  <a:pt x="396" y="150"/>
                </a:lnTo>
                <a:lnTo>
                  <a:pt x="384" y="150"/>
                </a:lnTo>
                <a:lnTo>
                  <a:pt x="384" y="156"/>
                </a:lnTo>
                <a:lnTo>
                  <a:pt x="378" y="162"/>
                </a:lnTo>
                <a:lnTo>
                  <a:pt x="378" y="168"/>
                </a:lnTo>
                <a:lnTo>
                  <a:pt x="372" y="174"/>
                </a:lnTo>
                <a:lnTo>
                  <a:pt x="372" y="180"/>
                </a:lnTo>
                <a:lnTo>
                  <a:pt x="360" y="192"/>
                </a:lnTo>
                <a:lnTo>
                  <a:pt x="354" y="204"/>
                </a:lnTo>
                <a:lnTo>
                  <a:pt x="348" y="234"/>
                </a:lnTo>
                <a:lnTo>
                  <a:pt x="342" y="240"/>
                </a:lnTo>
                <a:lnTo>
                  <a:pt x="342" y="270"/>
                </a:lnTo>
                <a:lnTo>
                  <a:pt x="336" y="288"/>
                </a:lnTo>
                <a:lnTo>
                  <a:pt x="330" y="294"/>
                </a:lnTo>
                <a:lnTo>
                  <a:pt x="312" y="294"/>
                </a:lnTo>
                <a:lnTo>
                  <a:pt x="312" y="324"/>
                </a:lnTo>
                <a:lnTo>
                  <a:pt x="306" y="342"/>
                </a:lnTo>
                <a:lnTo>
                  <a:pt x="306" y="354"/>
                </a:lnTo>
                <a:lnTo>
                  <a:pt x="300" y="360"/>
                </a:lnTo>
                <a:lnTo>
                  <a:pt x="288" y="366"/>
                </a:lnTo>
                <a:lnTo>
                  <a:pt x="282" y="372"/>
                </a:lnTo>
                <a:lnTo>
                  <a:pt x="270" y="378"/>
                </a:lnTo>
                <a:lnTo>
                  <a:pt x="258" y="426"/>
                </a:lnTo>
                <a:lnTo>
                  <a:pt x="234" y="456"/>
                </a:lnTo>
                <a:lnTo>
                  <a:pt x="234" y="486"/>
                </a:lnTo>
                <a:lnTo>
                  <a:pt x="228" y="492"/>
                </a:lnTo>
                <a:lnTo>
                  <a:pt x="216" y="498"/>
                </a:lnTo>
                <a:lnTo>
                  <a:pt x="210" y="510"/>
                </a:lnTo>
                <a:lnTo>
                  <a:pt x="210" y="522"/>
                </a:lnTo>
                <a:lnTo>
                  <a:pt x="192" y="540"/>
                </a:lnTo>
                <a:lnTo>
                  <a:pt x="186" y="540"/>
                </a:lnTo>
                <a:lnTo>
                  <a:pt x="180" y="534"/>
                </a:lnTo>
                <a:lnTo>
                  <a:pt x="174" y="522"/>
                </a:lnTo>
                <a:lnTo>
                  <a:pt x="174" y="516"/>
                </a:lnTo>
                <a:lnTo>
                  <a:pt x="168" y="504"/>
                </a:lnTo>
                <a:lnTo>
                  <a:pt x="156" y="492"/>
                </a:lnTo>
                <a:lnTo>
                  <a:pt x="150" y="480"/>
                </a:lnTo>
                <a:lnTo>
                  <a:pt x="138" y="480"/>
                </a:lnTo>
                <a:lnTo>
                  <a:pt x="144" y="486"/>
                </a:lnTo>
                <a:lnTo>
                  <a:pt x="144" y="498"/>
                </a:lnTo>
                <a:lnTo>
                  <a:pt x="138" y="504"/>
                </a:lnTo>
                <a:lnTo>
                  <a:pt x="132" y="504"/>
                </a:lnTo>
                <a:lnTo>
                  <a:pt x="120" y="498"/>
                </a:lnTo>
                <a:lnTo>
                  <a:pt x="114" y="492"/>
                </a:lnTo>
                <a:lnTo>
                  <a:pt x="108" y="492"/>
                </a:lnTo>
                <a:lnTo>
                  <a:pt x="102" y="498"/>
                </a:lnTo>
                <a:lnTo>
                  <a:pt x="90" y="522"/>
                </a:lnTo>
                <a:lnTo>
                  <a:pt x="84" y="528"/>
                </a:lnTo>
                <a:lnTo>
                  <a:pt x="84" y="534"/>
                </a:lnTo>
                <a:lnTo>
                  <a:pt x="18" y="588"/>
                </a:lnTo>
                <a:lnTo>
                  <a:pt x="18" y="642"/>
                </a:lnTo>
                <a:lnTo>
                  <a:pt x="12" y="654"/>
                </a:lnTo>
                <a:lnTo>
                  <a:pt x="12" y="666"/>
                </a:lnTo>
                <a:lnTo>
                  <a:pt x="6" y="672"/>
                </a:lnTo>
                <a:lnTo>
                  <a:pt x="6" y="678"/>
                </a:lnTo>
                <a:lnTo>
                  <a:pt x="0" y="690"/>
                </a:lnTo>
                <a:lnTo>
                  <a:pt x="24" y="684"/>
                </a:lnTo>
                <a:lnTo>
                  <a:pt x="24" y="708"/>
                </a:lnTo>
                <a:lnTo>
                  <a:pt x="36" y="732"/>
                </a:lnTo>
                <a:lnTo>
                  <a:pt x="60" y="744"/>
                </a:lnTo>
                <a:lnTo>
                  <a:pt x="66" y="750"/>
                </a:lnTo>
                <a:lnTo>
                  <a:pt x="84" y="726"/>
                </a:lnTo>
                <a:lnTo>
                  <a:pt x="66" y="756"/>
                </a:lnTo>
                <a:lnTo>
                  <a:pt x="84" y="786"/>
                </a:lnTo>
                <a:lnTo>
                  <a:pt x="102" y="792"/>
                </a:lnTo>
                <a:lnTo>
                  <a:pt x="102" y="840"/>
                </a:lnTo>
                <a:lnTo>
                  <a:pt x="90" y="840"/>
                </a:lnTo>
                <a:lnTo>
                  <a:pt x="90" y="870"/>
                </a:lnTo>
                <a:lnTo>
                  <a:pt x="102" y="882"/>
                </a:lnTo>
                <a:lnTo>
                  <a:pt x="198" y="882"/>
                </a:lnTo>
                <a:lnTo>
                  <a:pt x="216" y="864"/>
                </a:lnTo>
                <a:lnTo>
                  <a:pt x="228" y="882"/>
                </a:lnTo>
                <a:lnTo>
                  <a:pt x="258" y="882"/>
                </a:lnTo>
                <a:lnTo>
                  <a:pt x="270" y="870"/>
                </a:lnTo>
                <a:lnTo>
                  <a:pt x="276" y="870"/>
                </a:lnTo>
                <a:lnTo>
                  <a:pt x="288" y="876"/>
                </a:lnTo>
                <a:lnTo>
                  <a:pt x="294" y="876"/>
                </a:lnTo>
                <a:lnTo>
                  <a:pt x="342" y="870"/>
                </a:lnTo>
                <a:lnTo>
                  <a:pt x="342" y="888"/>
                </a:lnTo>
                <a:lnTo>
                  <a:pt x="372" y="888"/>
                </a:lnTo>
                <a:lnTo>
                  <a:pt x="390" y="882"/>
                </a:lnTo>
                <a:lnTo>
                  <a:pt x="438" y="882"/>
                </a:lnTo>
                <a:lnTo>
                  <a:pt x="450" y="888"/>
                </a:lnTo>
                <a:lnTo>
                  <a:pt x="456" y="894"/>
                </a:lnTo>
                <a:lnTo>
                  <a:pt x="468" y="894"/>
                </a:lnTo>
                <a:lnTo>
                  <a:pt x="474" y="900"/>
                </a:lnTo>
                <a:lnTo>
                  <a:pt x="510" y="900"/>
                </a:lnTo>
                <a:lnTo>
                  <a:pt x="534" y="924"/>
                </a:lnTo>
                <a:lnTo>
                  <a:pt x="540" y="882"/>
                </a:lnTo>
                <a:lnTo>
                  <a:pt x="546" y="876"/>
                </a:lnTo>
                <a:lnTo>
                  <a:pt x="534" y="864"/>
                </a:lnTo>
                <a:lnTo>
                  <a:pt x="534" y="834"/>
                </a:lnTo>
                <a:lnTo>
                  <a:pt x="528" y="816"/>
                </a:lnTo>
                <a:lnTo>
                  <a:pt x="516" y="810"/>
                </a:lnTo>
                <a:lnTo>
                  <a:pt x="510" y="798"/>
                </a:lnTo>
                <a:lnTo>
                  <a:pt x="498" y="792"/>
                </a:lnTo>
                <a:lnTo>
                  <a:pt x="486" y="780"/>
                </a:lnTo>
                <a:lnTo>
                  <a:pt x="474" y="756"/>
                </a:lnTo>
                <a:lnTo>
                  <a:pt x="468" y="750"/>
                </a:lnTo>
                <a:lnTo>
                  <a:pt x="468" y="708"/>
                </a:lnTo>
                <a:lnTo>
                  <a:pt x="462" y="708"/>
                </a:lnTo>
                <a:lnTo>
                  <a:pt x="444" y="690"/>
                </a:lnTo>
                <a:lnTo>
                  <a:pt x="438" y="690"/>
                </a:lnTo>
                <a:lnTo>
                  <a:pt x="438" y="642"/>
                </a:lnTo>
                <a:lnTo>
                  <a:pt x="420" y="630"/>
                </a:lnTo>
                <a:lnTo>
                  <a:pt x="432" y="618"/>
                </a:lnTo>
                <a:lnTo>
                  <a:pt x="432" y="582"/>
                </a:lnTo>
                <a:lnTo>
                  <a:pt x="426" y="582"/>
                </a:lnTo>
                <a:lnTo>
                  <a:pt x="414" y="576"/>
                </a:lnTo>
                <a:lnTo>
                  <a:pt x="414" y="570"/>
                </a:lnTo>
                <a:lnTo>
                  <a:pt x="426" y="558"/>
                </a:lnTo>
                <a:lnTo>
                  <a:pt x="438" y="552"/>
                </a:lnTo>
                <a:lnTo>
                  <a:pt x="444" y="546"/>
                </a:lnTo>
                <a:lnTo>
                  <a:pt x="450" y="546"/>
                </a:lnTo>
                <a:lnTo>
                  <a:pt x="456" y="510"/>
                </a:lnTo>
                <a:lnTo>
                  <a:pt x="462" y="510"/>
                </a:lnTo>
                <a:lnTo>
                  <a:pt x="468" y="498"/>
                </a:lnTo>
                <a:lnTo>
                  <a:pt x="468" y="480"/>
                </a:lnTo>
                <a:lnTo>
                  <a:pt x="474" y="474"/>
                </a:lnTo>
                <a:lnTo>
                  <a:pt x="480" y="462"/>
                </a:lnTo>
                <a:lnTo>
                  <a:pt x="492" y="450"/>
                </a:lnTo>
                <a:lnTo>
                  <a:pt x="498" y="450"/>
                </a:lnTo>
                <a:lnTo>
                  <a:pt x="498" y="438"/>
                </a:lnTo>
                <a:lnTo>
                  <a:pt x="492" y="420"/>
                </a:lnTo>
                <a:lnTo>
                  <a:pt x="486" y="408"/>
                </a:lnTo>
                <a:lnTo>
                  <a:pt x="486" y="390"/>
                </a:lnTo>
                <a:lnTo>
                  <a:pt x="474" y="366"/>
                </a:lnTo>
                <a:lnTo>
                  <a:pt x="462" y="354"/>
                </a:lnTo>
                <a:lnTo>
                  <a:pt x="450" y="348"/>
                </a:lnTo>
                <a:lnTo>
                  <a:pt x="432" y="336"/>
                </a:lnTo>
                <a:lnTo>
                  <a:pt x="420" y="324"/>
                </a:lnTo>
                <a:lnTo>
                  <a:pt x="414" y="312"/>
                </a:lnTo>
                <a:lnTo>
                  <a:pt x="402" y="300"/>
                </a:lnTo>
                <a:lnTo>
                  <a:pt x="390" y="276"/>
                </a:lnTo>
                <a:lnTo>
                  <a:pt x="390" y="264"/>
                </a:lnTo>
                <a:lnTo>
                  <a:pt x="396" y="258"/>
                </a:lnTo>
                <a:lnTo>
                  <a:pt x="408" y="252"/>
                </a:lnTo>
                <a:lnTo>
                  <a:pt x="504" y="252"/>
                </a:lnTo>
                <a:lnTo>
                  <a:pt x="486" y="234"/>
                </a:lnTo>
                <a:lnTo>
                  <a:pt x="480" y="222"/>
                </a:lnTo>
                <a:lnTo>
                  <a:pt x="468" y="216"/>
                </a:lnTo>
                <a:lnTo>
                  <a:pt x="462" y="204"/>
                </a:lnTo>
                <a:lnTo>
                  <a:pt x="462" y="186"/>
                </a:lnTo>
                <a:lnTo>
                  <a:pt x="456" y="168"/>
                </a:lnTo>
                <a:lnTo>
                  <a:pt x="456" y="132"/>
                </a:lnTo>
                <a:lnTo>
                  <a:pt x="462" y="132"/>
                </a:lnTo>
                <a:lnTo>
                  <a:pt x="462" y="96"/>
                </a:lnTo>
                <a:lnTo>
                  <a:pt x="456" y="84"/>
                </a:lnTo>
                <a:lnTo>
                  <a:pt x="444" y="78"/>
                </a:lnTo>
                <a:lnTo>
                  <a:pt x="450" y="42"/>
                </a:lnTo>
                <a:lnTo>
                  <a:pt x="444" y="42"/>
                </a:lnTo>
                <a:lnTo>
                  <a:pt x="438" y="36"/>
                </a:lnTo>
                <a:lnTo>
                  <a:pt x="426" y="36"/>
                </a:lnTo>
                <a:lnTo>
                  <a:pt x="420" y="3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4" name="Cambodia"/>
          <p:cNvSpPr>
            <a:spLocks/>
          </p:cNvSpPr>
          <p:nvPr/>
        </p:nvSpPr>
        <p:spPr bwMode="gray">
          <a:xfrm>
            <a:off x="6930296" y="3788443"/>
            <a:ext cx="152400" cy="134937"/>
          </a:xfrm>
          <a:custGeom>
            <a:avLst/>
            <a:gdLst>
              <a:gd name="T0" fmla="*/ 2147483647 w 378"/>
              <a:gd name="T1" fmla="*/ 2147483647 h 336"/>
              <a:gd name="T2" fmla="*/ 2147483647 w 378"/>
              <a:gd name="T3" fmla="*/ 2147483647 h 336"/>
              <a:gd name="T4" fmla="*/ 2147483647 w 378"/>
              <a:gd name="T5" fmla="*/ 2147483647 h 336"/>
              <a:gd name="T6" fmla="*/ 2147483647 w 378"/>
              <a:gd name="T7" fmla="*/ 2147483647 h 336"/>
              <a:gd name="T8" fmla="*/ 2147483647 w 378"/>
              <a:gd name="T9" fmla="*/ 2147483647 h 336"/>
              <a:gd name="T10" fmla="*/ 2147483647 w 378"/>
              <a:gd name="T11" fmla="*/ 2147483647 h 336"/>
              <a:gd name="T12" fmla="*/ 2147483647 w 378"/>
              <a:gd name="T13" fmla="*/ 2147483647 h 336"/>
              <a:gd name="T14" fmla="*/ 2147483647 w 378"/>
              <a:gd name="T15" fmla="*/ 2147483647 h 336"/>
              <a:gd name="T16" fmla="*/ 2147483647 w 378"/>
              <a:gd name="T17" fmla="*/ 2147483647 h 336"/>
              <a:gd name="T18" fmla="*/ 2147483647 w 378"/>
              <a:gd name="T19" fmla="*/ 2147483647 h 336"/>
              <a:gd name="T20" fmla="*/ 2147483647 w 378"/>
              <a:gd name="T21" fmla="*/ 2147483647 h 336"/>
              <a:gd name="T22" fmla="*/ 2147483647 w 378"/>
              <a:gd name="T23" fmla="*/ 2147483647 h 336"/>
              <a:gd name="T24" fmla="*/ 2147483647 w 378"/>
              <a:gd name="T25" fmla="*/ 2147483647 h 336"/>
              <a:gd name="T26" fmla="*/ 2147483647 w 378"/>
              <a:gd name="T27" fmla="*/ 2147483647 h 336"/>
              <a:gd name="T28" fmla="*/ 0 w 378"/>
              <a:gd name="T29" fmla="*/ 2147483647 h 336"/>
              <a:gd name="T30" fmla="*/ 2147483647 w 378"/>
              <a:gd name="T31" fmla="*/ 2147483647 h 336"/>
              <a:gd name="T32" fmla="*/ 2147483647 w 378"/>
              <a:gd name="T33" fmla="*/ 2147483647 h 336"/>
              <a:gd name="T34" fmla="*/ 2147483647 w 378"/>
              <a:gd name="T35" fmla="*/ 2147483647 h 336"/>
              <a:gd name="T36" fmla="*/ 2147483647 w 378"/>
              <a:gd name="T37" fmla="*/ 2147483647 h 336"/>
              <a:gd name="T38" fmla="*/ 2147483647 w 378"/>
              <a:gd name="T39" fmla="*/ 2147483647 h 336"/>
              <a:gd name="T40" fmla="*/ 2147483647 w 378"/>
              <a:gd name="T41" fmla="*/ 2147483647 h 336"/>
              <a:gd name="T42" fmla="*/ 2147483647 w 378"/>
              <a:gd name="T43" fmla="*/ 2147483647 h 336"/>
              <a:gd name="T44" fmla="*/ 2147483647 w 378"/>
              <a:gd name="T45" fmla="*/ 2147483647 h 336"/>
              <a:gd name="T46" fmla="*/ 2147483647 w 378"/>
              <a:gd name="T47" fmla="*/ 2147483647 h 336"/>
              <a:gd name="T48" fmla="*/ 2147483647 w 378"/>
              <a:gd name="T49" fmla="*/ 2147483647 h 336"/>
              <a:gd name="T50" fmla="*/ 2147483647 w 378"/>
              <a:gd name="T51" fmla="*/ 2147483647 h 336"/>
              <a:gd name="T52" fmla="*/ 2147483647 w 378"/>
              <a:gd name="T53" fmla="*/ 2147483647 h 336"/>
              <a:gd name="T54" fmla="*/ 2147483647 w 378"/>
              <a:gd name="T55" fmla="*/ 2147483647 h 336"/>
              <a:gd name="T56" fmla="*/ 2147483647 w 378"/>
              <a:gd name="T57" fmla="*/ 2147483647 h 336"/>
              <a:gd name="T58" fmla="*/ 2147483647 w 378"/>
              <a:gd name="T59" fmla="*/ 2147483647 h 336"/>
              <a:gd name="T60" fmla="*/ 2147483647 w 378"/>
              <a:gd name="T61" fmla="*/ 2147483647 h 336"/>
              <a:gd name="T62" fmla="*/ 2147483647 w 378"/>
              <a:gd name="T63" fmla="*/ 2147483647 h 336"/>
              <a:gd name="T64" fmla="*/ 2147483647 w 378"/>
              <a:gd name="T65" fmla="*/ 2147483647 h 336"/>
              <a:gd name="T66" fmla="*/ 2147483647 w 378"/>
              <a:gd name="T67" fmla="*/ 2147483647 h 336"/>
              <a:gd name="T68" fmla="*/ 2147483647 w 378"/>
              <a:gd name="T69" fmla="*/ 2147483647 h 336"/>
              <a:gd name="T70" fmla="*/ 2147483647 w 378"/>
              <a:gd name="T71" fmla="*/ 2147483647 h 336"/>
              <a:gd name="T72" fmla="*/ 2147483647 w 378"/>
              <a:gd name="T73" fmla="*/ 2147483647 h 336"/>
              <a:gd name="T74" fmla="*/ 2147483647 w 378"/>
              <a:gd name="T75" fmla="*/ 2147483647 h 336"/>
              <a:gd name="T76" fmla="*/ 2147483647 w 378"/>
              <a:gd name="T77" fmla="*/ 2147483647 h 336"/>
              <a:gd name="T78" fmla="*/ 2147483647 w 378"/>
              <a:gd name="T79" fmla="*/ 2147483647 h 336"/>
              <a:gd name="T80" fmla="*/ 2147483647 w 378"/>
              <a:gd name="T81" fmla="*/ 2147483647 h 336"/>
              <a:gd name="T82" fmla="*/ 2147483647 w 378"/>
              <a:gd name="T83" fmla="*/ 2147483647 h 336"/>
              <a:gd name="T84" fmla="*/ 2147483647 w 378"/>
              <a:gd name="T85" fmla="*/ 2147483647 h 336"/>
              <a:gd name="T86" fmla="*/ 2147483647 w 378"/>
              <a:gd name="T87" fmla="*/ 2147483647 h 336"/>
              <a:gd name="T88" fmla="*/ 2147483647 w 378"/>
              <a:gd name="T89" fmla="*/ 2147483647 h 336"/>
              <a:gd name="T90" fmla="*/ 2147483647 w 378"/>
              <a:gd name="T91" fmla="*/ 2147483647 h 336"/>
              <a:gd name="T92" fmla="*/ 2147483647 w 378"/>
              <a:gd name="T93" fmla="*/ 2147483647 h 336"/>
              <a:gd name="T94" fmla="*/ 2147483647 w 378"/>
              <a:gd name="T95" fmla="*/ 0 h 3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78"/>
              <a:gd name="T145" fmla="*/ 0 h 336"/>
              <a:gd name="T146" fmla="*/ 378 w 378"/>
              <a:gd name="T147" fmla="*/ 336 h 3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78" h="336">
                <a:moveTo>
                  <a:pt x="324" y="0"/>
                </a:moveTo>
                <a:lnTo>
                  <a:pt x="312" y="12"/>
                </a:lnTo>
                <a:lnTo>
                  <a:pt x="276" y="0"/>
                </a:lnTo>
                <a:lnTo>
                  <a:pt x="264" y="12"/>
                </a:lnTo>
                <a:lnTo>
                  <a:pt x="246" y="24"/>
                </a:lnTo>
                <a:lnTo>
                  <a:pt x="258" y="36"/>
                </a:lnTo>
                <a:lnTo>
                  <a:pt x="258" y="48"/>
                </a:lnTo>
                <a:lnTo>
                  <a:pt x="252" y="54"/>
                </a:lnTo>
                <a:lnTo>
                  <a:pt x="240" y="54"/>
                </a:lnTo>
                <a:lnTo>
                  <a:pt x="228" y="42"/>
                </a:lnTo>
                <a:lnTo>
                  <a:pt x="228" y="36"/>
                </a:lnTo>
                <a:lnTo>
                  <a:pt x="222" y="36"/>
                </a:lnTo>
                <a:lnTo>
                  <a:pt x="216" y="30"/>
                </a:lnTo>
                <a:lnTo>
                  <a:pt x="192" y="30"/>
                </a:lnTo>
                <a:lnTo>
                  <a:pt x="192" y="18"/>
                </a:lnTo>
                <a:lnTo>
                  <a:pt x="186" y="18"/>
                </a:lnTo>
                <a:lnTo>
                  <a:pt x="186" y="24"/>
                </a:lnTo>
                <a:lnTo>
                  <a:pt x="180" y="18"/>
                </a:lnTo>
                <a:lnTo>
                  <a:pt x="168" y="12"/>
                </a:lnTo>
                <a:lnTo>
                  <a:pt x="138" y="12"/>
                </a:lnTo>
                <a:lnTo>
                  <a:pt x="126" y="18"/>
                </a:lnTo>
                <a:lnTo>
                  <a:pt x="114" y="18"/>
                </a:lnTo>
                <a:lnTo>
                  <a:pt x="108" y="12"/>
                </a:lnTo>
                <a:lnTo>
                  <a:pt x="72" y="12"/>
                </a:lnTo>
                <a:lnTo>
                  <a:pt x="54" y="18"/>
                </a:lnTo>
                <a:lnTo>
                  <a:pt x="42" y="24"/>
                </a:lnTo>
                <a:lnTo>
                  <a:pt x="36" y="30"/>
                </a:lnTo>
                <a:lnTo>
                  <a:pt x="30" y="42"/>
                </a:lnTo>
                <a:lnTo>
                  <a:pt x="30" y="48"/>
                </a:lnTo>
                <a:lnTo>
                  <a:pt x="0" y="78"/>
                </a:lnTo>
                <a:lnTo>
                  <a:pt x="6" y="114"/>
                </a:lnTo>
                <a:lnTo>
                  <a:pt x="18" y="126"/>
                </a:lnTo>
                <a:lnTo>
                  <a:pt x="18" y="156"/>
                </a:lnTo>
                <a:lnTo>
                  <a:pt x="30" y="168"/>
                </a:lnTo>
                <a:lnTo>
                  <a:pt x="30" y="198"/>
                </a:lnTo>
                <a:lnTo>
                  <a:pt x="42" y="210"/>
                </a:lnTo>
                <a:lnTo>
                  <a:pt x="48" y="222"/>
                </a:lnTo>
                <a:lnTo>
                  <a:pt x="54" y="228"/>
                </a:lnTo>
                <a:lnTo>
                  <a:pt x="54" y="234"/>
                </a:lnTo>
                <a:lnTo>
                  <a:pt x="42" y="246"/>
                </a:lnTo>
                <a:lnTo>
                  <a:pt x="54" y="270"/>
                </a:lnTo>
                <a:lnTo>
                  <a:pt x="60" y="276"/>
                </a:lnTo>
                <a:lnTo>
                  <a:pt x="72" y="282"/>
                </a:lnTo>
                <a:lnTo>
                  <a:pt x="78" y="282"/>
                </a:lnTo>
                <a:lnTo>
                  <a:pt x="90" y="270"/>
                </a:lnTo>
                <a:lnTo>
                  <a:pt x="90" y="264"/>
                </a:lnTo>
                <a:lnTo>
                  <a:pt x="90" y="288"/>
                </a:lnTo>
                <a:lnTo>
                  <a:pt x="96" y="300"/>
                </a:lnTo>
                <a:lnTo>
                  <a:pt x="102" y="306"/>
                </a:lnTo>
                <a:lnTo>
                  <a:pt x="114" y="306"/>
                </a:lnTo>
                <a:lnTo>
                  <a:pt x="120" y="300"/>
                </a:lnTo>
                <a:lnTo>
                  <a:pt x="132" y="300"/>
                </a:lnTo>
                <a:lnTo>
                  <a:pt x="138" y="306"/>
                </a:lnTo>
                <a:lnTo>
                  <a:pt x="138" y="312"/>
                </a:lnTo>
                <a:lnTo>
                  <a:pt x="150" y="336"/>
                </a:lnTo>
                <a:lnTo>
                  <a:pt x="168" y="336"/>
                </a:lnTo>
                <a:lnTo>
                  <a:pt x="180" y="324"/>
                </a:lnTo>
                <a:lnTo>
                  <a:pt x="192" y="318"/>
                </a:lnTo>
                <a:lnTo>
                  <a:pt x="210" y="318"/>
                </a:lnTo>
                <a:lnTo>
                  <a:pt x="222" y="312"/>
                </a:lnTo>
                <a:lnTo>
                  <a:pt x="222" y="306"/>
                </a:lnTo>
                <a:lnTo>
                  <a:pt x="216" y="300"/>
                </a:lnTo>
                <a:lnTo>
                  <a:pt x="210" y="300"/>
                </a:lnTo>
                <a:lnTo>
                  <a:pt x="204" y="294"/>
                </a:lnTo>
                <a:lnTo>
                  <a:pt x="240" y="294"/>
                </a:lnTo>
                <a:lnTo>
                  <a:pt x="240" y="288"/>
                </a:lnTo>
                <a:lnTo>
                  <a:pt x="246" y="282"/>
                </a:lnTo>
                <a:lnTo>
                  <a:pt x="258" y="282"/>
                </a:lnTo>
                <a:lnTo>
                  <a:pt x="270" y="288"/>
                </a:lnTo>
                <a:lnTo>
                  <a:pt x="276" y="294"/>
                </a:lnTo>
                <a:lnTo>
                  <a:pt x="288" y="300"/>
                </a:lnTo>
                <a:lnTo>
                  <a:pt x="294" y="306"/>
                </a:lnTo>
                <a:lnTo>
                  <a:pt x="294" y="294"/>
                </a:lnTo>
                <a:lnTo>
                  <a:pt x="276" y="276"/>
                </a:lnTo>
                <a:lnTo>
                  <a:pt x="264" y="252"/>
                </a:lnTo>
                <a:lnTo>
                  <a:pt x="264" y="228"/>
                </a:lnTo>
                <a:lnTo>
                  <a:pt x="306" y="228"/>
                </a:lnTo>
                <a:lnTo>
                  <a:pt x="306" y="204"/>
                </a:lnTo>
                <a:lnTo>
                  <a:pt x="336" y="204"/>
                </a:lnTo>
                <a:lnTo>
                  <a:pt x="336" y="186"/>
                </a:lnTo>
                <a:lnTo>
                  <a:pt x="342" y="180"/>
                </a:lnTo>
                <a:lnTo>
                  <a:pt x="360" y="180"/>
                </a:lnTo>
                <a:lnTo>
                  <a:pt x="372" y="186"/>
                </a:lnTo>
                <a:lnTo>
                  <a:pt x="372" y="156"/>
                </a:lnTo>
                <a:lnTo>
                  <a:pt x="366" y="150"/>
                </a:lnTo>
                <a:lnTo>
                  <a:pt x="366" y="120"/>
                </a:lnTo>
                <a:lnTo>
                  <a:pt x="360" y="114"/>
                </a:lnTo>
                <a:lnTo>
                  <a:pt x="360" y="102"/>
                </a:lnTo>
                <a:lnTo>
                  <a:pt x="366" y="102"/>
                </a:lnTo>
                <a:lnTo>
                  <a:pt x="378" y="90"/>
                </a:lnTo>
                <a:lnTo>
                  <a:pt x="378" y="84"/>
                </a:lnTo>
                <a:lnTo>
                  <a:pt x="366" y="60"/>
                </a:lnTo>
                <a:lnTo>
                  <a:pt x="354" y="48"/>
                </a:lnTo>
                <a:lnTo>
                  <a:pt x="348" y="48"/>
                </a:lnTo>
                <a:lnTo>
                  <a:pt x="348" y="6"/>
                </a:lnTo>
                <a:lnTo>
                  <a:pt x="324" y="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5" name="Burundi"/>
          <p:cNvSpPr>
            <a:spLocks/>
          </p:cNvSpPr>
          <p:nvPr/>
        </p:nvSpPr>
        <p:spPr bwMode="gray">
          <a:xfrm>
            <a:off x="4845908" y="4339305"/>
            <a:ext cx="53975" cy="66675"/>
          </a:xfrm>
          <a:custGeom>
            <a:avLst/>
            <a:gdLst>
              <a:gd name="T0" fmla="*/ 2147483647 w 132"/>
              <a:gd name="T1" fmla="*/ 2147483647 h 168"/>
              <a:gd name="T2" fmla="*/ 2147483647 w 132"/>
              <a:gd name="T3" fmla="*/ 2147483647 h 168"/>
              <a:gd name="T4" fmla="*/ 2147483647 w 132"/>
              <a:gd name="T5" fmla="*/ 2147483647 h 168"/>
              <a:gd name="T6" fmla="*/ 2147483647 w 132"/>
              <a:gd name="T7" fmla="*/ 2147483647 h 168"/>
              <a:gd name="T8" fmla="*/ 2147483647 w 132"/>
              <a:gd name="T9" fmla="*/ 2147483647 h 168"/>
              <a:gd name="T10" fmla="*/ 2147483647 w 132"/>
              <a:gd name="T11" fmla="*/ 2147483647 h 168"/>
              <a:gd name="T12" fmla="*/ 2147483647 w 132"/>
              <a:gd name="T13" fmla="*/ 2147483647 h 168"/>
              <a:gd name="T14" fmla="*/ 2147483647 w 132"/>
              <a:gd name="T15" fmla="*/ 2147483647 h 168"/>
              <a:gd name="T16" fmla="*/ 2147483647 w 132"/>
              <a:gd name="T17" fmla="*/ 2147483647 h 168"/>
              <a:gd name="T18" fmla="*/ 2147483647 w 132"/>
              <a:gd name="T19" fmla="*/ 2147483647 h 168"/>
              <a:gd name="T20" fmla="*/ 2147483647 w 132"/>
              <a:gd name="T21" fmla="*/ 2147483647 h 168"/>
              <a:gd name="T22" fmla="*/ 2147483647 w 132"/>
              <a:gd name="T23" fmla="*/ 2147483647 h 168"/>
              <a:gd name="T24" fmla="*/ 2147483647 w 132"/>
              <a:gd name="T25" fmla="*/ 2147483647 h 168"/>
              <a:gd name="T26" fmla="*/ 2147483647 w 132"/>
              <a:gd name="T27" fmla="*/ 2147483647 h 168"/>
              <a:gd name="T28" fmla="*/ 2147483647 w 132"/>
              <a:gd name="T29" fmla="*/ 2147483647 h 168"/>
              <a:gd name="T30" fmla="*/ 2147483647 w 132"/>
              <a:gd name="T31" fmla="*/ 2147483647 h 168"/>
              <a:gd name="T32" fmla="*/ 2147483647 w 132"/>
              <a:gd name="T33" fmla="*/ 2147483647 h 168"/>
              <a:gd name="T34" fmla="*/ 2147483647 w 132"/>
              <a:gd name="T35" fmla="*/ 2147483647 h 168"/>
              <a:gd name="T36" fmla="*/ 2147483647 w 132"/>
              <a:gd name="T37" fmla="*/ 2147483647 h 168"/>
              <a:gd name="T38" fmla="*/ 2147483647 w 132"/>
              <a:gd name="T39" fmla="*/ 2147483647 h 168"/>
              <a:gd name="T40" fmla="*/ 2147483647 w 132"/>
              <a:gd name="T41" fmla="*/ 2147483647 h 168"/>
              <a:gd name="T42" fmla="*/ 2147483647 w 132"/>
              <a:gd name="T43" fmla="*/ 2147483647 h 168"/>
              <a:gd name="T44" fmla="*/ 2147483647 w 132"/>
              <a:gd name="T45" fmla="*/ 2147483647 h 168"/>
              <a:gd name="T46" fmla="*/ 2147483647 w 132"/>
              <a:gd name="T47" fmla="*/ 0 h 168"/>
              <a:gd name="T48" fmla="*/ 2147483647 w 132"/>
              <a:gd name="T49" fmla="*/ 0 h 168"/>
              <a:gd name="T50" fmla="*/ 2147483647 w 132"/>
              <a:gd name="T51" fmla="*/ 0 h 168"/>
              <a:gd name="T52" fmla="*/ 2147483647 w 132"/>
              <a:gd name="T53" fmla="*/ 2147483647 h 168"/>
              <a:gd name="T54" fmla="*/ 2147483647 w 132"/>
              <a:gd name="T55" fmla="*/ 2147483647 h 168"/>
              <a:gd name="T56" fmla="*/ 2147483647 w 132"/>
              <a:gd name="T57" fmla="*/ 2147483647 h 168"/>
              <a:gd name="T58" fmla="*/ 2147483647 w 132"/>
              <a:gd name="T59" fmla="*/ 2147483647 h 168"/>
              <a:gd name="T60" fmla="*/ 2147483647 w 132"/>
              <a:gd name="T61" fmla="*/ 2147483647 h 168"/>
              <a:gd name="T62" fmla="*/ 2147483647 w 132"/>
              <a:gd name="T63" fmla="*/ 2147483647 h 168"/>
              <a:gd name="T64" fmla="*/ 0 w 132"/>
              <a:gd name="T65" fmla="*/ 2147483647 h 168"/>
              <a:gd name="T66" fmla="*/ 2147483647 w 132"/>
              <a:gd name="T67" fmla="*/ 2147483647 h 168"/>
              <a:gd name="T68" fmla="*/ 2147483647 w 132"/>
              <a:gd name="T69" fmla="*/ 2147483647 h 168"/>
              <a:gd name="T70" fmla="*/ 2147483647 w 132"/>
              <a:gd name="T71" fmla="*/ 2147483647 h 168"/>
              <a:gd name="T72" fmla="*/ 2147483647 w 132"/>
              <a:gd name="T73" fmla="*/ 2147483647 h 168"/>
              <a:gd name="T74" fmla="*/ 2147483647 w 132"/>
              <a:gd name="T75" fmla="*/ 2147483647 h 16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32"/>
              <a:gd name="T115" fmla="*/ 0 h 168"/>
              <a:gd name="T116" fmla="*/ 132 w 132"/>
              <a:gd name="T117" fmla="*/ 168 h 16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32" h="168">
                <a:moveTo>
                  <a:pt x="36" y="72"/>
                </a:moveTo>
                <a:lnTo>
                  <a:pt x="36" y="96"/>
                </a:lnTo>
                <a:lnTo>
                  <a:pt x="30" y="102"/>
                </a:lnTo>
                <a:lnTo>
                  <a:pt x="30" y="138"/>
                </a:lnTo>
                <a:lnTo>
                  <a:pt x="36" y="156"/>
                </a:lnTo>
                <a:lnTo>
                  <a:pt x="42" y="168"/>
                </a:lnTo>
                <a:lnTo>
                  <a:pt x="54" y="168"/>
                </a:lnTo>
                <a:lnTo>
                  <a:pt x="60" y="162"/>
                </a:lnTo>
                <a:lnTo>
                  <a:pt x="72" y="156"/>
                </a:lnTo>
                <a:lnTo>
                  <a:pt x="84" y="144"/>
                </a:lnTo>
                <a:lnTo>
                  <a:pt x="90" y="132"/>
                </a:lnTo>
                <a:lnTo>
                  <a:pt x="90" y="114"/>
                </a:lnTo>
                <a:lnTo>
                  <a:pt x="96" y="102"/>
                </a:lnTo>
                <a:lnTo>
                  <a:pt x="114" y="84"/>
                </a:lnTo>
                <a:lnTo>
                  <a:pt x="126" y="84"/>
                </a:lnTo>
                <a:lnTo>
                  <a:pt x="120" y="72"/>
                </a:lnTo>
                <a:lnTo>
                  <a:pt x="132" y="66"/>
                </a:lnTo>
                <a:lnTo>
                  <a:pt x="132" y="48"/>
                </a:lnTo>
                <a:lnTo>
                  <a:pt x="114" y="48"/>
                </a:lnTo>
                <a:lnTo>
                  <a:pt x="108" y="42"/>
                </a:lnTo>
                <a:lnTo>
                  <a:pt x="102" y="42"/>
                </a:lnTo>
                <a:lnTo>
                  <a:pt x="102" y="24"/>
                </a:lnTo>
                <a:lnTo>
                  <a:pt x="108" y="12"/>
                </a:lnTo>
                <a:lnTo>
                  <a:pt x="108" y="0"/>
                </a:lnTo>
                <a:lnTo>
                  <a:pt x="120" y="0"/>
                </a:lnTo>
                <a:lnTo>
                  <a:pt x="66" y="0"/>
                </a:lnTo>
                <a:lnTo>
                  <a:pt x="60" y="24"/>
                </a:lnTo>
                <a:lnTo>
                  <a:pt x="48" y="30"/>
                </a:lnTo>
                <a:lnTo>
                  <a:pt x="42" y="36"/>
                </a:lnTo>
                <a:lnTo>
                  <a:pt x="30" y="36"/>
                </a:lnTo>
                <a:lnTo>
                  <a:pt x="24" y="30"/>
                </a:lnTo>
                <a:lnTo>
                  <a:pt x="18" y="18"/>
                </a:lnTo>
                <a:lnTo>
                  <a:pt x="0" y="18"/>
                </a:lnTo>
                <a:lnTo>
                  <a:pt x="12" y="48"/>
                </a:lnTo>
                <a:lnTo>
                  <a:pt x="18" y="54"/>
                </a:lnTo>
                <a:lnTo>
                  <a:pt x="30" y="60"/>
                </a:lnTo>
                <a:lnTo>
                  <a:pt x="36" y="66"/>
                </a:lnTo>
                <a:lnTo>
                  <a:pt x="36" y="7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6" name="Burkina Faso"/>
          <p:cNvSpPr>
            <a:spLocks/>
          </p:cNvSpPr>
          <p:nvPr/>
        </p:nvSpPr>
        <p:spPr bwMode="gray">
          <a:xfrm>
            <a:off x="3858483" y="3772568"/>
            <a:ext cx="230188" cy="180975"/>
          </a:xfrm>
          <a:custGeom>
            <a:avLst/>
            <a:gdLst>
              <a:gd name="T0" fmla="*/ 2147483647 w 570"/>
              <a:gd name="T1" fmla="*/ 2147483647 h 450"/>
              <a:gd name="T2" fmla="*/ 2147483647 w 570"/>
              <a:gd name="T3" fmla="*/ 2147483647 h 450"/>
              <a:gd name="T4" fmla="*/ 2147483647 w 570"/>
              <a:gd name="T5" fmla="*/ 2147483647 h 450"/>
              <a:gd name="T6" fmla="*/ 2147483647 w 570"/>
              <a:gd name="T7" fmla="*/ 2147483647 h 450"/>
              <a:gd name="T8" fmla="*/ 2147483647 w 570"/>
              <a:gd name="T9" fmla="*/ 2147483647 h 450"/>
              <a:gd name="T10" fmla="*/ 2147483647 w 570"/>
              <a:gd name="T11" fmla="*/ 2147483647 h 450"/>
              <a:gd name="T12" fmla="*/ 2147483647 w 570"/>
              <a:gd name="T13" fmla="*/ 2147483647 h 450"/>
              <a:gd name="T14" fmla="*/ 2147483647 w 570"/>
              <a:gd name="T15" fmla="*/ 2147483647 h 450"/>
              <a:gd name="T16" fmla="*/ 2147483647 w 570"/>
              <a:gd name="T17" fmla="*/ 2147483647 h 450"/>
              <a:gd name="T18" fmla="*/ 2147483647 w 570"/>
              <a:gd name="T19" fmla="*/ 2147483647 h 450"/>
              <a:gd name="T20" fmla="*/ 2147483647 w 570"/>
              <a:gd name="T21" fmla="*/ 2147483647 h 450"/>
              <a:gd name="T22" fmla="*/ 2147483647 w 570"/>
              <a:gd name="T23" fmla="*/ 2147483647 h 450"/>
              <a:gd name="T24" fmla="*/ 2147483647 w 570"/>
              <a:gd name="T25" fmla="*/ 2147483647 h 450"/>
              <a:gd name="T26" fmla="*/ 2147483647 w 570"/>
              <a:gd name="T27" fmla="*/ 2147483647 h 450"/>
              <a:gd name="T28" fmla="*/ 2147483647 w 570"/>
              <a:gd name="T29" fmla="*/ 2147483647 h 450"/>
              <a:gd name="T30" fmla="*/ 2147483647 w 570"/>
              <a:gd name="T31" fmla="*/ 2147483647 h 450"/>
              <a:gd name="T32" fmla="*/ 2147483647 w 570"/>
              <a:gd name="T33" fmla="*/ 2147483647 h 450"/>
              <a:gd name="T34" fmla="*/ 2147483647 w 570"/>
              <a:gd name="T35" fmla="*/ 2147483647 h 450"/>
              <a:gd name="T36" fmla="*/ 2147483647 w 570"/>
              <a:gd name="T37" fmla="*/ 2147483647 h 450"/>
              <a:gd name="T38" fmla="*/ 2147483647 w 570"/>
              <a:gd name="T39" fmla="*/ 2147483647 h 450"/>
              <a:gd name="T40" fmla="*/ 2147483647 w 570"/>
              <a:gd name="T41" fmla="*/ 2147483647 h 450"/>
              <a:gd name="T42" fmla="*/ 2147483647 w 570"/>
              <a:gd name="T43" fmla="*/ 2147483647 h 450"/>
              <a:gd name="T44" fmla="*/ 2147483647 w 570"/>
              <a:gd name="T45" fmla="*/ 2147483647 h 450"/>
              <a:gd name="T46" fmla="*/ 2147483647 w 570"/>
              <a:gd name="T47" fmla="*/ 2147483647 h 450"/>
              <a:gd name="T48" fmla="*/ 2147483647 w 570"/>
              <a:gd name="T49" fmla="*/ 2147483647 h 450"/>
              <a:gd name="T50" fmla="*/ 2147483647 w 570"/>
              <a:gd name="T51" fmla="*/ 2147483647 h 450"/>
              <a:gd name="T52" fmla="*/ 2147483647 w 570"/>
              <a:gd name="T53" fmla="*/ 2147483647 h 450"/>
              <a:gd name="T54" fmla="*/ 2147483647 w 570"/>
              <a:gd name="T55" fmla="*/ 2147483647 h 450"/>
              <a:gd name="T56" fmla="*/ 2147483647 w 570"/>
              <a:gd name="T57" fmla="*/ 2147483647 h 450"/>
              <a:gd name="T58" fmla="*/ 2147483647 w 570"/>
              <a:gd name="T59" fmla="*/ 2147483647 h 450"/>
              <a:gd name="T60" fmla="*/ 2147483647 w 570"/>
              <a:gd name="T61" fmla="*/ 2147483647 h 450"/>
              <a:gd name="T62" fmla="*/ 2147483647 w 570"/>
              <a:gd name="T63" fmla="*/ 2147483647 h 450"/>
              <a:gd name="T64" fmla="*/ 2147483647 w 570"/>
              <a:gd name="T65" fmla="*/ 2147483647 h 450"/>
              <a:gd name="T66" fmla="*/ 2147483647 w 570"/>
              <a:gd name="T67" fmla="*/ 0 h 450"/>
              <a:gd name="T68" fmla="*/ 2147483647 w 570"/>
              <a:gd name="T69" fmla="*/ 2147483647 h 450"/>
              <a:gd name="T70" fmla="*/ 2147483647 w 570"/>
              <a:gd name="T71" fmla="*/ 2147483647 h 450"/>
              <a:gd name="T72" fmla="*/ 2147483647 w 570"/>
              <a:gd name="T73" fmla="*/ 2147483647 h 450"/>
              <a:gd name="T74" fmla="*/ 2147483647 w 570"/>
              <a:gd name="T75" fmla="*/ 2147483647 h 450"/>
              <a:gd name="T76" fmla="*/ 2147483647 w 570"/>
              <a:gd name="T77" fmla="*/ 2147483647 h 450"/>
              <a:gd name="T78" fmla="*/ 2147483647 w 570"/>
              <a:gd name="T79" fmla="*/ 2147483647 h 450"/>
              <a:gd name="T80" fmla="*/ 2147483647 w 570"/>
              <a:gd name="T81" fmla="*/ 2147483647 h 450"/>
              <a:gd name="T82" fmla="*/ 2147483647 w 570"/>
              <a:gd name="T83" fmla="*/ 2147483647 h 450"/>
              <a:gd name="T84" fmla="*/ 2147483647 w 570"/>
              <a:gd name="T85" fmla="*/ 2147483647 h 450"/>
              <a:gd name="T86" fmla="*/ 2147483647 w 570"/>
              <a:gd name="T87" fmla="*/ 2147483647 h 450"/>
              <a:gd name="T88" fmla="*/ 2147483647 w 570"/>
              <a:gd name="T89" fmla="*/ 2147483647 h 450"/>
              <a:gd name="T90" fmla="*/ 2147483647 w 570"/>
              <a:gd name="T91" fmla="*/ 2147483647 h 450"/>
              <a:gd name="T92" fmla="*/ 2147483647 w 570"/>
              <a:gd name="T93" fmla="*/ 2147483647 h 450"/>
              <a:gd name="T94" fmla="*/ 2147483647 w 570"/>
              <a:gd name="T95" fmla="*/ 2147483647 h 450"/>
              <a:gd name="T96" fmla="*/ 2147483647 w 570"/>
              <a:gd name="T97" fmla="*/ 2147483647 h 450"/>
              <a:gd name="T98" fmla="*/ 2147483647 w 570"/>
              <a:gd name="T99" fmla="*/ 2147483647 h 450"/>
              <a:gd name="T100" fmla="*/ 2147483647 w 570"/>
              <a:gd name="T101" fmla="*/ 2147483647 h 450"/>
              <a:gd name="T102" fmla="*/ 2147483647 w 570"/>
              <a:gd name="T103" fmla="*/ 2147483647 h 45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70"/>
              <a:gd name="T157" fmla="*/ 0 h 450"/>
              <a:gd name="T158" fmla="*/ 570 w 570"/>
              <a:gd name="T159" fmla="*/ 450 h 45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70" h="450">
                <a:moveTo>
                  <a:pt x="0" y="312"/>
                </a:moveTo>
                <a:lnTo>
                  <a:pt x="6" y="366"/>
                </a:lnTo>
                <a:lnTo>
                  <a:pt x="6" y="390"/>
                </a:lnTo>
                <a:lnTo>
                  <a:pt x="30" y="384"/>
                </a:lnTo>
                <a:lnTo>
                  <a:pt x="30" y="390"/>
                </a:lnTo>
                <a:lnTo>
                  <a:pt x="36" y="396"/>
                </a:lnTo>
                <a:lnTo>
                  <a:pt x="36" y="408"/>
                </a:lnTo>
                <a:lnTo>
                  <a:pt x="42" y="420"/>
                </a:lnTo>
                <a:lnTo>
                  <a:pt x="54" y="426"/>
                </a:lnTo>
                <a:lnTo>
                  <a:pt x="60" y="432"/>
                </a:lnTo>
                <a:lnTo>
                  <a:pt x="72" y="432"/>
                </a:lnTo>
                <a:lnTo>
                  <a:pt x="78" y="438"/>
                </a:lnTo>
                <a:lnTo>
                  <a:pt x="90" y="438"/>
                </a:lnTo>
                <a:lnTo>
                  <a:pt x="96" y="432"/>
                </a:lnTo>
                <a:lnTo>
                  <a:pt x="96" y="426"/>
                </a:lnTo>
                <a:lnTo>
                  <a:pt x="120" y="414"/>
                </a:lnTo>
                <a:lnTo>
                  <a:pt x="150" y="414"/>
                </a:lnTo>
                <a:lnTo>
                  <a:pt x="168" y="420"/>
                </a:lnTo>
                <a:lnTo>
                  <a:pt x="186" y="438"/>
                </a:lnTo>
                <a:lnTo>
                  <a:pt x="186" y="450"/>
                </a:lnTo>
                <a:lnTo>
                  <a:pt x="204" y="444"/>
                </a:lnTo>
                <a:lnTo>
                  <a:pt x="198" y="450"/>
                </a:lnTo>
                <a:lnTo>
                  <a:pt x="198" y="396"/>
                </a:lnTo>
                <a:lnTo>
                  <a:pt x="192" y="366"/>
                </a:lnTo>
                <a:lnTo>
                  <a:pt x="186" y="366"/>
                </a:lnTo>
                <a:lnTo>
                  <a:pt x="186" y="348"/>
                </a:lnTo>
                <a:lnTo>
                  <a:pt x="192" y="336"/>
                </a:lnTo>
                <a:lnTo>
                  <a:pt x="198" y="330"/>
                </a:lnTo>
                <a:lnTo>
                  <a:pt x="354" y="330"/>
                </a:lnTo>
                <a:lnTo>
                  <a:pt x="378" y="318"/>
                </a:lnTo>
                <a:lnTo>
                  <a:pt x="396" y="324"/>
                </a:lnTo>
                <a:lnTo>
                  <a:pt x="414" y="324"/>
                </a:lnTo>
                <a:lnTo>
                  <a:pt x="438" y="330"/>
                </a:lnTo>
                <a:lnTo>
                  <a:pt x="456" y="330"/>
                </a:lnTo>
                <a:lnTo>
                  <a:pt x="462" y="318"/>
                </a:lnTo>
                <a:lnTo>
                  <a:pt x="474" y="318"/>
                </a:lnTo>
                <a:lnTo>
                  <a:pt x="480" y="306"/>
                </a:lnTo>
                <a:lnTo>
                  <a:pt x="498" y="288"/>
                </a:lnTo>
                <a:lnTo>
                  <a:pt x="528" y="288"/>
                </a:lnTo>
                <a:lnTo>
                  <a:pt x="534" y="294"/>
                </a:lnTo>
                <a:lnTo>
                  <a:pt x="534" y="282"/>
                </a:lnTo>
                <a:lnTo>
                  <a:pt x="540" y="282"/>
                </a:lnTo>
                <a:lnTo>
                  <a:pt x="546" y="276"/>
                </a:lnTo>
                <a:lnTo>
                  <a:pt x="558" y="276"/>
                </a:lnTo>
                <a:lnTo>
                  <a:pt x="564" y="258"/>
                </a:lnTo>
                <a:lnTo>
                  <a:pt x="570" y="252"/>
                </a:lnTo>
                <a:lnTo>
                  <a:pt x="564" y="252"/>
                </a:lnTo>
                <a:lnTo>
                  <a:pt x="540" y="216"/>
                </a:lnTo>
                <a:lnTo>
                  <a:pt x="564" y="210"/>
                </a:lnTo>
                <a:lnTo>
                  <a:pt x="558" y="198"/>
                </a:lnTo>
                <a:lnTo>
                  <a:pt x="546" y="186"/>
                </a:lnTo>
                <a:lnTo>
                  <a:pt x="534" y="186"/>
                </a:lnTo>
                <a:lnTo>
                  <a:pt x="522" y="198"/>
                </a:lnTo>
                <a:lnTo>
                  <a:pt x="504" y="198"/>
                </a:lnTo>
                <a:lnTo>
                  <a:pt x="498" y="186"/>
                </a:lnTo>
                <a:lnTo>
                  <a:pt x="486" y="180"/>
                </a:lnTo>
                <a:lnTo>
                  <a:pt x="462" y="156"/>
                </a:lnTo>
                <a:lnTo>
                  <a:pt x="462" y="150"/>
                </a:lnTo>
                <a:lnTo>
                  <a:pt x="480" y="132"/>
                </a:lnTo>
                <a:lnTo>
                  <a:pt x="468" y="132"/>
                </a:lnTo>
                <a:lnTo>
                  <a:pt x="468" y="114"/>
                </a:lnTo>
                <a:lnTo>
                  <a:pt x="444" y="114"/>
                </a:lnTo>
                <a:lnTo>
                  <a:pt x="432" y="108"/>
                </a:lnTo>
                <a:lnTo>
                  <a:pt x="420" y="84"/>
                </a:lnTo>
                <a:lnTo>
                  <a:pt x="420" y="60"/>
                </a:lnTo>
                <a:lnTo>
                  <a:pt x="414" y="48"/>
                </a:lnTo>
                <a:lnTo>
                  <a:pt x="414" y="12"/>
                </a:lnTo>
                <a:lnTo>
                  <a:pt x="390" y="0"/>
                </a:lnTo>
                <a:lnTo>
                  <a:pt x="342" y="0"/>
                </a:lnTo>
                <a:lnTo>
                  <a:pt x="324" y="18"/>
                </a:lnTo>
                <a:lnTo>
                  <a:pt x="300" y="18"/>
                </a:lnTo>
                <a:lnTo>
                  <a:pt x="282" y="42"/>
                </a:lnTo>
                <a:lnTo>
                  <a:pt x="258" y="42"/>
                </a:lnTo>
                <a:lnTo>
                  <a:pt x="258" y="60"/>
                </a:lnTo>
                <a:lnTo>
                  <a:pt x="252" y="66"/>
                </a:lnTo>
                <a:lnTo>
                  <a:pt x="252" y="72"/>
                </a:lnTo>
                <a:lnTo>
                  <a:pt x="240" y="72"/>
                </a:lnTo>
                <a:lnTo>
                  <a:pt x="228" y="60"/>
                </a:lnTo>
                <a:lnTo>
                  <a:pt x="222" y="60"/>
                </a:lnTo>
                <a:lnTo>
                  <a:pt x="216" y="66"/>
                </a:lnTo>
                <a:lnTo>
                  <a:pt x="210" y="78"/>
                </a:lnTo>
                <a:lnTo>
                  <a:pt x="198" y="84"/>
                </a:lnTo>
                <a:lnTo>
                  <a:pt x="192" y="96"/>
                </a:lnTo>
                <a:lnTo>
                  <a:pt x="186" y="102"/>
                </a:lnTo>
                <a:lnTo>
                  <a:pt x="186" y="108"/>
                </a:lnTo>
                <a:lnTo>
                  <a:pt x="168" y="108"/>
                </a:lnTo>
                <a:lnTo>
                  <a:pt x="168" y="144"/>
                </a:lnTo>
                <a:lnTo>
                  <a:pt x="144" y="150"/>
                </a:lnTo>
                <a:lnTo>
                  <a:pt x="114" y="120"/>
                </a:lnTo>
                <a:lnTo>
                  <a:pt x="96" y="150"/>
                </a:lnTo>
                <a:lnTo>
                  <a:pt x="102" y="156"/>
                </a:lnTo>
                <a:lnTo>
                  <a:pt x="102" y="186"/>
                </a:lnTo>
                <a:lnTo>
                  <a:pt x="84" y="186"/>
                </a:lnTo>
                <a:lnTo>
                  <a:pt x="84" y="216"/>
                </a:lnTo>
                <a:lnTo>
                  <a:pt x="78" y="222"/>
                </a:lnTo>
                <a:lnTo>
                  <a:pt x="72" y="222"/>
                </a:lnTo>
                <a:lnTo>
                  <a:pt x="78" y="228"/>
                </a:lnTo>
                <a:lnTo>
                  <a:pt x="78" y="240"/>
                </a:lnTo>
                <a:lnTo>
                  <a:pt x="42" y="240"/>
                </a:lnTo>
                <a:lnTo>
                  <a:pt x="36" y="246"/>
                </a:lnTo>
                <a:lnTo>
                  <a:pt x="30" y="246"/>
                </a:lnTo>
                <a:lnTo>
                  <a:pt x="12" y="258"/>
                </a:lnTo>
                <a:lnTo>
                  <a:pt x="36" y="288"/>
                </a:lnTo>
                <a:lnTo>
                  <a:pt x="24" y="312"/>
                </a:lnTo>
                <a:lnTo>
                  <a:pt x="0" y="31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7" name="Bulgaria"/>
          <p:cNvSpPr>
            <a:spLocks/>
          </p:cNvSpPr>
          <p:nvPr/>
        </p:nvSpPr>
        <p:spPr bwMode="gray">
          <a:xfrm>
            <a:off x="4625246" y="2829593"/>
            <a:ext cx="158750" cy="90487"/>
          </a:xfrm>
          <a:custGeom>
            <a:avLst/>
            <a:gdLst>
              <a:gd name="T0" fmla="*/ 2147483647 w 396"/>
              <a:gd name="T1" fmla="*/ 2147483647 h 228"/>
              <a:gd name="T2" fmla="*/ 2147483647 w 396"/>
              <a:gd name="T3" fmla="*/ 2147483647 h 228"/>
              <a:gd name="T4" fmla="*/ 2147483647 w 396"/>
              <a:gd name="T5" fmla="*/ 2147483647 h 228"/>
              <a:gd name="T6" fmla="*/ 2147483647 w 396"/>
              <a:gd name="T7" fmla="*/ 2147483647 h 228"/>
              <a:gd name="T8" fmla="*/ 2147483647 w 396"/>
              <a:gd name="T9" fmla="*/ 2147483647 h 228"/>
              <a:gd name="T10" fmla="*/ 2147483647 w 396"/>
              <a:gd name="T11" fmla="*/ 2147483647 h 228"/>
              <a:gd name="T12" fmla="*/ 2147483647 w 396"/>
              <a:gd name="T13" fmla="*/ 2147483647 h 228"/>
              <a:gd name="T14" fmla="*/ 2147483647 w 396"/>
              <a:gd name="T15" fmla="*/ 0 h 228"/>
              <a:gd name="T16" fmla="*/ 2147483647 w 396"/>
              <a:gd name="T17" fmla="*/ 2147483647 h 228"/>
              <a:gd name="T18" fmla="*/ 2147483647 w 396"/>
              <a:gd name="T19" fmla="*/ 2147483647 h 228"/>
              <a:gd name="T20" fmla="*/ 2147483647 w 396"/>
              <a:gd name="T21" fmla="*/ 2147483647 h 228"/>
              <a:gd name="T22" fmla="*/ 2147483647 w 396"/>
              <a:gd name="T23" fmla="*/ 2147483647 h 228"/>
              <a:gd name="T24" fmla="*/ 2147483647 w 396"/>
              <a:gd name="T25" fmla="*/ 2147483647 h 228"/>
              <a:gd name="T26" fmla="*/ 2147483647 w 396"/>
              <a:gd name="T27" fmla="*/ 2147483647 h 228"/>
              <a:gd name="T28" fmla="*/ 2147483647 w 396"/>
              <a:gd name="T29" fmla="*/ 2147483647 h 228"/>
              <a:gd name="T30" fmla="*/ 2147483647 w 396"/>
              <a:gd name="T31" fmla="*/ 2147483647 h 228"/>
              <a:gd name="T32" fmla="*/ 2147483647 w 396"/>
              <a:gd name="T33" fmla="*/ 2147483647 h 228"/>
              <a:gd name="T34" fmla="*/ 2147483647 w 396"/>
              <a:gd name="T35" fmla="*/ 2147483647 h 228"/>
              <a:gd name="T36" fmla="*/ 2147483647 w 396"/>
              <a:gd name="T37" fmla="*/ 2147483647 h 228"/>
              <a:gd name="T38" fmla="*/ 2147483647 w 396"/>
              <a:gd name="T39" fmla="*/ 2147483647 h 228"/>
              <a:gd name="T40" fmla="*/ 2147483647 w 396"/>
              <a:gd name="T41" fmla="*/ 2147483647 h 228"/>
              <a:gd name="T42" fmla="*/ 2147483647 w 396"/>
              <a:gd name="T43" fmla="*/ 0 h 228"/>
              <a:gd name="T44" fmla="*/ 0 w 396"/>
              <a:gd name="T45" fmla="*/ 2147483647 h 228"/>
              <a:gd name="T46" fmla="*/ 2147483647 w 396"/>
              <a:gd name="T47" fmla="*/ 2147483647 h 228"/>
              <a:gd name="T48" fmla="*/ 2147483647 w 396"/>
              <a:gd name="T49" fmla="*/ 2147483647 h 228"/>
              <a:gd name="T50" fmla="*/ 2147483647 w 396"/>
              <a:gd name="T51" fmla="*/ 2147483647 h 228"/>
              <a:gd name="T52" fmla="*/ 2147483647 w 396"/>
              <a:gd name="T53" fmla="*/ 2147483647 h 228"/>
              <a:gd name="T54" fmla="*/ 2147483647 w 396"/>
              <a:gd name="T55" fmla="*/ 2147483647 h 228"/>
              <a:gd name="T56" fmla="*/ 0 w 396"/>
              <a:gd name="T57" fmla="*/ 2147483647 h 228"/>
              <a:gd name="T58" fmla="*/ 2147483647 w 396"/>
              <a:gd name="T59" fmla="*/ 2147483647 h 228"/>
              <a:gd name="T60" fmla="*/ 2147483647 w 396"/>
              <a:gd name="T61" fmla="*/ 2147483647 h 228"/>
              <a:gd name="T62" fmla="*/ 2147483647 w 396"/>
              <a:gd name="T63" fmla="*/ 2147483647 h 228"/>
              <a:gd name="T64" fmla="*/ 2147483647 w 396"/>
              <a:gd name="T65" fmla="*/ 2147483647 h 228"/>
              <a:gd name="T66" fmla="*/ 2147483647 w 396"/>
              <a:gd name="T67" fmla="*/ 2147483647 h 228"/>
              <a:gd name="T68" fmla="*/ 2147483647 w 396"/>
              <a:gd name="T69" fmla="*/ 2147483647 h 228"/>
              <a:gd name="T70" fmla="*/ 2147483647 w 396"/>
              <a:gd name="T71" fmla="*/ 2147483647 h 228"/>
              <a:gd name="T72" fmla="*/ 2147483647 w 396"/>
              <a:gd name="T73" fmla="*/ 2147483647 h 228"/>
              <a:gd name="T74" fmla="*/ 2147483647 w 396"/>
              <a:gd name="T75" fmla="*/ 2147483647 h 228"/>
              <a:gd name="T76" fmla="*/ 2147483647 w 396"/>
              <a:gd name="T77" fmla="*/ 2147483647 h 228"/>
              <a:gd name="T78" fmla="*/ 2147483647 w 396"/>
              <a:gd name="T79" fmla="*/ 2147483647 h 228"/>
              <a:gd name="T80" fmla="*/ 2147483647 w 396"/>
              <a:gd name="T81" fmla="*/ 2147483647 h 228"/>
              <a:gd name="T82" fmla="*/ 2147483647 w 396"/>
              <a:gd name="T83" fmla="*/ 2147483647 h 228"/>
              <a:gd name="T84" fmla="*/ 2147483647 w 396"/>
              <a:gd name="T85" fmla="*/ 2147483647 h 228"/>
              <a:gd name="T86" fmla="*/ 2147483647 w 396"/>
              <a:gd name="T87" fmla="*/ 2147483647 h 228"/>
              <a:gd name="T88" fmla="*/ 2147483647 w 396"/>
              <a:gd name="T89" fmla="*/ 2147483647 h 228"/>
              <a:gd name="T90" fmla="*/ 2147483647 w 396"/>
              <a:gd name="T91" fmla="*/ 2147483647 h 228"/>
              <a:gd name="T92" fmla="*/ 2147483647 w 396"/>
              <a:gd name="T93" fmla="*/ 2147483647 h 22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396"/>
              <a:gd name="T142" fmla="*/ 0 h 228"/>
              <a:gd name="T143" fmla="*/ 396 w 396"/>
              <a:gd name="T144" fmla="*/ 228 h 22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396" h="228">
                <a:moveTo>
                  <a:pt x="372" y="168"/>
                </a:moveTo>
                <a:lnTo>
                  <a:pt x="336" y="126"/>
                </a:lnTo>
                <a:lnTo>
                  <a:pt x="354" y="108"/>
                </a:lnTo>
                <a:lnTo>
                  <a:pt x="354" y="78"/>
                </a:lnTo>
                <a:lnTo>
                  <a:pt x="360" y="72"/>
                </a:lnTo>
                <a:lnTo>
                  <a:pt x="372" y="66"/>
                </a:lnTo>
                <a:lnTo>
                  <a:pt x="396" y="66"/>
                </a:lnTo>
                <a:lnTo>
                  <a:pt x="396" y="48"/>
                </a:lnTo>
                <a:lnTo>
                  <a:pt x="390" y="36"/>
                </a:lnTo>
                <a:lnTo>
                  <a:pt x="372" y="36"/>
                </a:lnTo>
                <a:lnTo>
                  <a:pt x="348" y="12"/>
                </a:lnTo>
                <a:lnTo>
                  <a:pt x="324" y="12"/>
                </a:lnTo>
                <a:lnTo>
                  <a:pt x="312" y="6"/>
                </a:lnTo>
                <a:lnTo>
                  <a:pt x="300" y="6"/>
                </a:lnTo>
                <a:lnTo>
                  <a:pt x="288" y="0"/>
                </a:lnTo>
                <a:lnTo>
                  <a:pt x="282" y="0"/>
                </a:lnTo>
                <a:lnTo>
                  <a:pt x="282" y="12"/>
                </a:lnTo>
                <a:lnTo>
                  <a:pt x="252" y="6"/>
                </a:lnTo>
                <a:lnTo>
                  <a:pt x="252" y="12"/>
                </a:lnTo>
                <a:lnTo>
                  <a:pt x="246" y="12"/>
                </a:lnTo>
                <a:lnTo>
                  <a:pt x="234" y="18"/>
                </a:lnTo>
                <a:lnTo>
                  <a:pt x="228" y="18"/>
                </a:lnTo>
                <a:lnTo>
                  <a:pt x="222" y="24"/>
                </a:lnTo>
                <a:lnTo>
                  <a:pt x="222" y="36"/>
                </a:lnTo>
                <a:lnTo>
                  <a:pt x="216" y="42"/>
                </a:lnTo>
                <a:lnTo>
                  <a:pt x="198" y="42"/>
                </a:lnTo>
                <a:lnTo>
                  <a:pt x="186" y="36"/>
                </a:lnTo>
                <a:lnTo>
                  <a:pt x="180" y="30"/>
                </a:lnTo>
                <a:lnTo>
                  <a:pt x="156" y="30"/>
                </a:lnTo>
                <a:lnTo>
                  <a:pt x="138" y="24"/>
                </a:lnTo>
                <a:lnTo>
                  <a:pt x="138" y="30"/>
                </a:lnTo>
                <a:lnTo>
                  <a:pt x="132" y="36"/>
                </a:lnTo>
                <a:lnTo>
                  <a:pt x="108" y="36"/>
                </a:lnTo>
                <a:lnTo>
                  <a:pt x="102" y="30"/>
                </a:lnTo>
                <a:lnTo>
                  <a:pt x="90" y="30"/>
                </a:lnTo>
                <a:lnTo>
                  <a:pt x="66" y="18"/>
                </a:lnTo>
                <a:lnTo>
                  <a:pt x="54" y="30"/>
                </a:lnTo>
                <a:lnTo>
                  <a:pt x="36" y="30"/>
                </a:lnTo>
                <a:lnTo>
                  <a:pt x="30" y="24"/>
                </a:lnTo>
                <a:lnTo>
                  <a:pt x="36" y="18"/>
                </a:lnTo>
                <a:lnTo>
                  <a:pt x="36" y="12"/>
                </a:lnTo>
                <a:lnTo>
                  <a:pt x="42" y="6"/>
                </a:lnTo>
                <a:lnTo>
                  <a:pt x="36" y="0"/>
                </a:lnTo>
                <a:lnTo>
                  <a:pt x="12" y="0"/>
                </a:lnTo>
                <a:lnTo>
                  <a:pt x="12" y="12"/>
                </a:lnTo>
                <a:lnTo>
                  <a:pt x="0" y="24"/>
                </a:lnTo>
                <a:lnTo>
                  <a:pt x="0" y="42"/>
                </a:lnTo>
                <a:lnTo>
                  <a:pt x="18" y="48"/>
                </a:lnTo>
                <a:lnTo>
                  <a:pt x="12" y="60"/>
                </a:lnTo>
                <a:lnTo>
                  <a:pt x="30" y="66"/>
                </a:lnTo>
                <a:lnTo>
                  <a:pt x="36" y="72"/>
                </a:lnTo>
                <a:lnTo>
                  <a:pt x="36" y="96"/>
                </a:lnTo>
                <a:lnTo>
                  <a:pt x="30" y="102"/>
                </a:lnTo>
                <a:lnTo>
                  <a:pt x="6" y="102"/>
                </a:lnTo>
                <a:lnTo>
                  <a:pt x="6" y="108"/>
                </a:lnTo>
                <a:lnTo>
                  <a:pt x="12" y="114"/>
                </a:lnTo>
                <a:lnTo>
                  <a:pt x="12" y="138"/>
                </a:lnTo>
                <a:lnTo>
                  <a:pt x="0" y="138"/>
                </a:lnTo>
                <a:lnTo>
                  <a:pt x="12" y="156"/>
                </a:lnTo>
                <a:lnTo>
                  <a:pt x="18" y="156"/>
                </a:lnTo>
                <a:lnTo>
                  <a:pt x="18" y="168"/>
                </a:lnTo>
                <a:lnTo>
                  <a:pt x="36" y="180"/>
                </a:lnTo>
                <a:lnTo>
                  <a:pt x="42" y="186"/>
                </a:lnTo>
                <a:lnTo>
                  <a:pt x="48" y="198"/>
                </a:lnTo>
                <a:lnTo>
                  <a:pt x="48" y="210"/>
                </a:lnTo>
                <a:lnTo>
                  <a:pt x="42" y="222"/>
                </a:lnTo>
                <a:lnTo>
                  <a:pt x="48" y="222"/>
                </a:lnTo>
                <a:lnTo>
                  <a:pt x="54" y="228"/>
                </a:lnTo>
                <a:lnTo>
                  <a:pt x="66" y="228"/>
                </a:lnTo>
                <a:lnTo>
                  <a:pt x="78" y="222"/>
                </a:lnTo>
                <a:lnTo>
                  <a:pt x="84" y="216"/>
                </a:lnTo>
                <a:lnTo>
                  <a:pt x="108" y="222"/>
                </a:lnTo>
                <a:lnTo>
                  <a:pt x="114" y="204"/>
                </a:lnTo>
                <a:lnTo>
                  <a:pt x="144" y="198"/>
                </a:lnTo>
                <a:lnTo>
                  <a:pt x="144" y="204"/>
                </a:lnTo>
                <a:lnTo>
                  <a:pt x="162" y="222"/>
                </a:lnTo>
                <a:lnTo>
                  <a:pt x="174" y="222"/>
                </a:lnTo>
                <a:lnTo>
                  <a:pt x="180" y="216"/>
                </a:lnTo>
                <a:lnTo>
                  <a:pt x="192" y="228"/>
                </a:lnTo>
                <a:lnTo>
                  <a:pt x="204" y="228"/>
                </a:lnTo>
                <a:lnTo>
                  <a:pt x="216" y="216"/>
                </a:lnTo>
                <a:lnTo>
                  <a:pt x="228" y="228"/>
                </a:lnTo>
                <a:lnTo>
                  <a:pt x="246" y="228"/>
                </a:lnTo>
                <a:lnTo>
                  <a:pt x="252" y="222"/>
                </a:lnTo>
                <a:lnTo>
                  <a:pt x="252" y="204"/>
                </a:lnTo>
                <a:lnTo>
                  <a:pt x="246" y="198"/>
                </a:lnTo>
                <a:lnTo>
                  <a:pt x="264" y="192"/>
                </a:lnTo>
                <a:lnTo>
                  <a:pt x="282" y="168"/>
                </a:lnTo>
                <a:lnTo>
                  <a:pt x="312" y="174"/>
                </a:lnTo>
                <a:lnTo>
                  <a:pt x="324" y="156"/>
                </a:lnTo>
                <a:lnTo>
                  <a:pt x="336" y="174"/>
                </a:lnTo>
                <a:lnTo>
                  <a:pt x="348" y="174"/>
                </a:lnTo>
                <a:lnTo>
                  <a:pt x="360" y="180"/>
                </a:lnTo>
                <a:lnTo>
                  <a:pt x="372" y="180"/>
                </a:lnTo>
                <a:lnTo>
                  <a:pt x="372" y="16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8" name="Brazil"/>
          <p:cNvSpPr>
            <a:spLocks noEditPoints="1"/>
          </p:cNvSpPr>
          <p:nvPr/>
        </p:nvSpPr>
        <p:spPr bwMode="gray">
          <a:xfrm>
            <a:off x="1901096" y="4088480"/>
            <a:ext cx="1120775" cy="1266825"/>
          </a:xfrm>
          <a:custGeom>
            <a:avLst/>
            <a:gdLst>
              <a:gd name="T0" fmla="*/ 2147483647 w 2784"/>
              <a:gd name="T1" fmla="*/ 2147483647 h 3150"/>
              <a:gd name="T2" fmla="*/ 2147483647 w 2784"/>
              <a:gd name="T3" fmla="*/ 2147483647 h 3150"/>
              <a:gd name="T4" fmla="*/ 2147483647 w 2784"/>
              <a:gd name="T5" fmla="*/ 2147483647 h 3150"/>
              <a:gd name="T6" fmla="*/ 2147483647 w 2784"/>
              <a:gd name="T7" fmla="*/ 2147483647 h 3150"/>
              <a:gd name="T8" fmla="*/ 2147483647 w 2784"/>
              <a:gd name="T9" fmla="*/ 2147483647 h 3150"/>
              <a:gd name="T10" fmla="*/ 2147483647 w 2784"/>
              <a:gd name="T11" fmla="*/ 2147483647 h 3150"/>
              <a:gd name="T12" fmla="*/ 2147483647 w 2784"/>
              <a:gd name="T13" fmla="*/ 2147483647 h 3150"/>
              <a:gd name="T14" fmla="*/ 2147483647 w 2784"/>
              <a:gd name="T15" fmla="*/ 2147483647 h 3150"/>
              <a:gd name="T16" fmla="*/ 2147483647 w 2784"/>
              <a:gd name="T17" fmla="*/ 2147483647 h 3150"/>
              <a:gd name="T18" fmla="*/ 2147483647 w 2784"/>
              <a:gd name="T19" fmla="*/ 2147483647 h 3150"/>
              <a:gd name="T20" fmla="*/ 2147483647 w 2784"/>
              <a:gd name="T21" fmla="*/ 2147483647 h 3150"/>
              <a:gd name="T22" fmla="*/ 2147483647 w 2784"/>
              <a:gd name="T23" fmla="*/ 2147483647 h 3150"/>
              <a:gd name="T24" fmla="*/ 2147483647 w 2784"/>
              <a:gd name="T25" fmla="*/ 2147483647 h 3150"/>
              <a:gd name="T26" fmla="*/ 2147483647 w 2784"/>
              <a:gd name="T27" fmla="*/ 2147483647 h 3150"/>
              <a:gd name="T28" fmla="*/ 2147483647 w 2784"/>
              <a:gd name="T29" fmla="*/ 2147483647 h 3150"/>
              <a:gd name="T30" fmla="*/ 2147483647 w 2784"/>
              <a:gd name="T31" fmla="*/ 2147483647 h 3150"/>
              <a:gd name="T32" fmla="*/ 2147483647 w 2784"/>
              <a:gd name="T33" fmla="*/ 2147483647 h 3150"/>
              <a:gd name="T34" fmla="*/ 2147483647 w 2784"/>
              <a:gd name="T35" fmla="*/ 2147483647 h 3150"/>
              <a:gd name="T36" fmla="*/ 2147483647 w 2784"/>
              <a:gd name="T37" fmla="*/ 2147483647 h 3150"/>
              <a:gd name="T38" fmla="*/ 2147483647 w 2784"/>
              <a:gd name="T39" fmla="*/ 2147483647 h 3150"/>
              <a:gd name="T40" fmla="*/ 2147483647 w 2784"/>
              <a:gd name="T41" fmla="*/ 2147483647 h 3150"/>
              <a:gd name="T42" fmla="*/ 2147483647 w 2784"/>
              <a:gd name="T43" fmla="*/ 2147483647 h 3150"/>
              <a:gd name="T44" fmla="*/ 2147483647 w 2784"/>
              <a:gd name="T45" fmla="*/ 2147483647 h 3150"/>
              <a:gd name="T46" fmla="*/ 2147483647 w 2784"/>
              <a:gd name="T47" fmla="*/ 2147483647 h 3150"/>
              <a:gd name="T48" fmla="*/ 2147483647 w 2784"/>
              <a:gd name="T49" fmla="*/ 2147483647 h 3150"/>
              <a:gd name="T50" fmla="*/ 2147483647 w 2784"/>
              <a:gd name="T51" fmla="*/ 2147483647 h 3150"/>
              <a:gd name="T52" fmla="*/ 2147483647 w 2784"/>
              <a:gd name="T53" fmla="*/ 2147483647 h 3150"/>
              <a:gd name="T54" fmla="*/ 2147483647 w 2784"/>
              <a:gd name="T55" fmla="*/ 2147483647 h 3150"/>
              <a:gd name="T56" fmla="*/ 2147483647 w 2784"/>
              <a:gd name="T57" fmla="*/ 2147483647 h 3150"/>
              <a:gd name="T58" fmla="*/ 2147483647 w 2784"/>
              <a:gd name="T59" fmla="*/ 2147483647 h 3150"/>
              <a:gd name="T60" fmla="*/ 2147483647 w 2784"/>
              <a:gd name="T61" fmla="*/ 2147483647 h 3150"/>
              <a:gd name="T62" fmla="*/ 2147483647 w 2784"/>
              <a:gd name="T63" fmla="*/ 2147483647 h 3150"/>
              <a:gd name="T64" fmla="*/ 2147483647 w 2784"/>
              <a:gd name="T65" fmla="*/ 2147483647 h 3150"/>
              <a:gd name="T66" fmla="*/ 2147483647 w 2784"/>
              <a:gd name="T67" fmla="*/ 2147483647 h 3150"/>
              <a:gd name="T68" fmla="*/ 2147483647 w 2784"/>
              <a:gd name="T69" fmla="*/ 2147483647 h 3150"/>
              <a:gd name="T70" fmla="*/ 2147483647 w 2784"/>
              <a:gd name="T71" fmla="*/ 2147483647 h 3150"/>
              <a:gd name="T72" fmla="*/ 2147483647 w 2784"/>
              <a:gd name="T73" fmla="*/ 2147483647 h 3150"/>
              <a:gd name="T74" fmla="*/ 2147483647 w 2784"/>
              <a:gd name="T75" fmla="*/ 2147483647 h 3150"/>
              <a:gd name="T76" fmla="*/ 2147483647 w 2784"/>
              <a:gd name="T77" fmla="*/ 2147483647 h 3150"/>
              <a:gd name="T78" fmla="*/ 2147483647 w 2784"/>
              <a:gd name="T79" fmla="*/ 2147483647 h 3150"/>
              <a:gd name="T80" fmla="*/ 2147483647 w 2784"/>
              <a:gd name="T81" fmla="*/ 2147483647 h 3150"/>
              <a:gd name="T82" fmla="*/ 2147483647 w 2784"/>
              <a:gd name="T83" fmla="*/ 2147483647 h 3150"/>
              <a:gd name="T84" fmla="*/ 2147483647 w 2784"/>
              <a:gd name="T85" fmla="*/ 2147483647 h 3150"/>
              <a:gd name="T86" fmla="*/ 2147483647 w 2784"/>
              <a:gd name="T87" fmla="*/ 2147483647 h 3150"/>
              <a:gd name="T88" fmla="*/ 2147483647 w 2784"/>
              <a:gd name="T89" fmla="*/ 2147483647 h 3150"/>
              <a:gd name="T90" fmla="*/ 2147483647 w 2784"/>
              <a:gd name="T91" fmla="*/ 2147483647 h 3150"/>
              <a:gd name="T92" fmla="*/ 2147483647 w 2784"/>
              <a:gd name="T93" fmla="*/ 2147483647 h 3150"/>
              <a:gd name="T94" fmla="*/ 2147483647 w 2784"/>
              <a:gd name="T95" fmla="*/ 2147483647 h 3150"/>
              <a:gd name="T96" fmla="*/ 2147483647 w 2784"/>
              <a:gd name="T97" fmla="*/ 2147483647 h 3150"/>
              <a:gd name="T98" fmla="*/ 2147483647 w 2784"/>
              <a:gd name="T99" fmla="*/ 2147483647 h 3150"/>
              <a:gd name="T100" fmla="*/ 2147483647 w 2784"/>
              <a:gd name="T101" fmla="*/ 2147483647 h 3150"/>
              <a:gd name="T102" fmla="*/ 2147483647 w 2784"/>
              <a:gd name="T103" fmla="*/ 2147483647 h 3150"/>
              <a:gd name="T104" fmla="*/ 2147483647 w 2784"/>
              <a:gd name="T105" fmla="*/ 2147483647 h 3150"/>
              <a:gd name="T106" fmla="*/ 2147483647 w 2784"/>
              <a:gd name="T107" fmla="*/ 2147483647 h 3150"/>
              <a:gd name="T108" fmla="*/ 2147483647 w 2784"/>
              <a:gd name="T109" fmla="*/ 2147483647 h 3150"/>
              <a:gd name="T110" fmla="*/ 2147483647 w 2784"/>
              <a:gd name="T111" fmla="*/ 2147483647 h 3150"/>
              <a:gd name="T112" fmla="*/ 2147483647 w 2784"/>
              <a:gd name="T113" fmla="*/ 2147483647 h 3150"/>
              <a:gd name="T114" fmla="*/ 2147483647 w 2784"/>
              <a:gd name="T115" fmla="*/ 2147483647 h 3150"/>
              <a:gd name="T116" fmla="*/ 2147483647 w 2784"/>
              <a:gd name="T117" fmla="*/ 2147483647 h 3150"/>
              <a:gd name="T118" fmla="*/ 2147483647 w 2784"/>
              <a:gd name="T119" fmla="*/ 2147483647 h 31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784"/>
              <a:gd name="T181" fmla="*/ 0 h 3150"/>
              <a:gd name="T182" fmla="*/ 2784 w 2784"/>
              <a:gd name="T183" fmla="*/ 3150 h 315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784" h="3150">
                <a:moveTo>
                  <a:pt x="1716" y="450"/>
                </a:moveTo>
                <a:lnTo>
                  <a:pt x="1710" y="450"/>
                </a:lnTo>
                <a:lnTo>
                  <a:pt x="1698" y="444"/>
                </a:lnTo>
                <a:lnTo>
                  <a:pt x="1680" y="444"/>
                </a:lnTo>
                <a:lnTo>
                  <a:pt x="1662" y="438"/>
                </a:lnTo>
                <a:lnTo>
                  <a:pt x="1650" y="438"/>
                </a:lnTo>
                <a:lnTo>
                  <a:pt x="1644" y="444"/>
                </a:lnTo>
                <a:lnTo>
                  <a:pt x="1644" y="450"/>
                </a:lnTo>
                <a:lnTo>
                  <a:pt x="1650" y="462"/>
                </a:lnTo>
                <a:lnTo>
                  <a:pt x="1650" y="468"/>
                </a:lnTo>
                <a:lnTo>
                  <a:pt x="1656" y="480"/>
                </a:lnTo>
                <a:lnTo>
                  <a:pt x="1638" y="480"/>
                </a:lnTo>
                <a:lnTo>
                  <a:pt x="1638" y="504"/>
                </a:lnTo>
                <a:lnTo>
                  <a:pt x="1656" y="516"/>
                </a:lnTo>
                <a:lnTo>
                  <a:pt x="1644" y="528"/>
                </a:lnTo>
                <a:lnTo>
                  <a:pt x="1644" y="540"/>
                </a:lnTo>
                <a:lnTo>
                  <a:pt x="1656" y="564"/>
                </a:lnTo>
                <a:lnTo>
                  <a:pt x="1668" y="570"/>
                </a:lnTo>
                <a:lnTo>
                  <a:pt x="1674" y="576"/>
                </a:lnTo>
                <a:lnTo>
                  <a:pt x="1686" y="576"/>
                </a:lnTo>
                <a:lnTo>
                  <a:pt x="1698" y="570"/>
                </a:lnTo>
                <a:lnTo>
                  <a:pt x="1710" y="570"/>
                </a:lnTo>
                <a:lnTo>
                  <a:pt x="1716" y="564"/>
                </a:lnTo>
                <a:lnTo>
                  <a:pt x="1716" y="558"/>
                </a:lnTo>
                <a:lnTo>
                  <a:pt x="1728" y="558"/>
                </a:lnTo>
                <a:lnTo>
                  <a:pt x="1740" y="552"/>
                </a:lnTo>
                <a:lnTo>
                  <a:pt x="1758" y="552"/>
                </a:lnTo>
                <a:lnTo>
                  <a:pt x="1770" y="546"/>
                </a:lnTo>
                <a:lnTo>
                  <a:pt x="1776" y="534"/>
                </a:lnTo>
                <a:lnTo>
                  <a:pt x="1788" y="492"/>
                </a:lnTo>
                <a:lnTo>
                  <a:pt x="1794" y="480"/>
                </a:lnTo>
                <a:lnTo>
                  <a:pt x="1794" y="474"/>
                </a:lnTo>
                <a:lnTo>
                  <a:pt x="1800" y="462"/>
                </a:lnTo>
                <a:lnTo>
                  <a:pt x="1800" y="444"/>
                </a:lnTo>
                <a:lnTo>
                  <a:pt x="1794" y="438"/>
                </a:lnTo>
                <a:lnTo>
                  <a:pt x="1752" y="438"/>
                </a:lnTo>
                <a:lnTo>
                  <a:pt x="1740" y="444"/>
                </a:lnTo>
                <a:lnTo>
                  <a:pt x="1734" y="444"/>
                </a:lnTo>
                <a:lnTo>
                  <a:pt x="1722" y="450"/>
                </a:lnTo>
                <a:lnTo>
                  <a:pt x="1716" y="450"/>
                </a:lnTo>
                <a:close/>
                <a:moveTo>
                  <a:pt x="1716" y="438"/>
                </a:moveTo>
                <a:lnTo>
                  <a:pt x="1740" y="432"/>
                </a:lnTo>
                <a:lnTo>
                  <a:pt x="1722" y="414"/>
                </a:lnTo>
                <a:lnTo>
                  <a:pt x="1698" y="438"/>
                </a:lnTo>
                <a:lnTo>
                  <a:pt x="1716" y="438"/>
                </a:lnTo>
                <a:close/>
                <a:moveTo>
                  <a:pt x="1686" y="408"/>
                </a:moveTo>
                <a:lnTo>
                  <a:pt x="1662" y="408"/>
                </a:lnTo>
                <a:lnTo>
                  <a:pt x="1662" y="426"/>
                </a:lnTo>
                <a:lnTo>
                  <a:pt x="1698" y="426"/>
                </a:lnTo>
                <a:lnTo>
                  <a:pt x="1716" y="402"/>
                </a:lnTo>
                <a:lnTo>
                  <a:pt x="1698" y="384"/>
                </a:lnTo>
                <a:lnTo>
                  <a:pt x="1686" y="408"/>
                </a:lnTo>
                <a:close/>
                <a:moveTo>
                  <a:pt x="1572" y="492"/>
                </a:moveTo>
                <a:lnTo>
                  <a:pt x="1572" y="510"/>
                </a:lnTo>
                <a:lnTo>
                  <a:pt x="1554" y="546"/>
                </a:lnTo>
                <a:lnTo>
                  <a:pt x="1584" y="528"/>
                </a:lnTo>
                <a:lnTo>
                  <a:pt x="1590" y="516"/>
                </a:lnTo>
                <a:lnTo>
                  <a:pt x="1596" y="510"/>
                </a:lnTo>
                <a:lnTo>
                  <a:pt x="1608" y="486"/>
                </a:lnTo>
                <a:lnTo>
                  <a:pt x="1608" y="480"/>
                </a:lnTo>
                <a:lnTo>
                  <a:pt x="1602" y="474"/>
                </a:lnTo>
                <a:lnTo>
                  <a:pt x="1596" y="474"/>
                </a:lnTo>
                <a:lnTo>
                  <a:pt x="1584" y="480"/>
                </a:lnTo>
                <a:lnTo>
                  <a:pt x="1572" y="492"/>
                </a:lnTo>
                <a:close/>
                <a:moveTo>
                  <a:pt x="1632" y="426"/>
                </a:moveTo>
                <a:lnTo>
                  <a:pt x="1608" y="450"/>
                </a:lnTo>
                <a:lnTo>
                  <a:pt x="1626" y="456"/>
                </a:lnTo>
                <a:lnTo>
                  <a:pt x="1644" y="432"/>
                </a:lnTo>
                <a:lnTo>
                  <a:pt x="1632" y="426"/>
                </a:lnTo>
                <a:close/>
                <a:moveTo>
                  <a:pt x="2778" y="1002"/>
                </a:moveTo>
                <a:lnTo>
                  <a:pt x="2778" y="984"/>
                </a:lnTo>
                <a:lnTo>
                  <a:pt x="2772" y="972"/>
                </a:lnTo>
                <a:lnTo>
                  <a:pt x="2760" y="954"/>
                </a:lnTo>
                <a:lnTo>
                  <a:pt x="2754" y="936"/>
                </a:lnTo>
                <a:lnTo>
                  <a:pt x="2754" y="870"/>
                </a:lnTo>
                <a:lnTo>
                  <a:pt x="2724" y="840"/>
                </a:lnTo>
                <a:lnTo>
                  <a:pt x="2694" y="834"/>
                </a:lnTo>
                <a:lnTo>
                  <a:pt x="2646" y="840"/>
                </a:lnTo>
                <a:lnTo>
                  <a:pt x="2628" y="822"/>
                </a:lnTo>
                <a:lnTo>
                  <a:pt x="2610" y="822"/>
                </a:lnTo>
                <a:lnTo>
                  <a:pt x="2592" y="798"/>
                </a:lnTo>
                <a:lnTo>
                  <a:pt x="2568" y="798"/>
                </a:lnTo>
                <a:lnTo>
                  <a:pt x="2538" y="768"/>
                </a:lnTo>
                <a:lnTo>
                  <a:pt x="2526" y="750"/>
                </a:lnTo>
                <a:lnTo>
                  <a:pt x="2490" y="714"/>
                </a:lnTo>
                <a:lnTo>
                  <a:pt x="2418" y="666"/>
                </a:lnTo>
                <a:lnTo>
                  <a:pt x="2394" y="660"/>
                </a:lnTo>
                <a:lnTo>
                  <a:pt x="2316" y="660"/>
                </a:lnTo>
                <a:lnTo>
                  <a:pt x="2316" y="672"/>
                </a:lnTo>
                <a:lnTo>
                  <a:pt x="2310" y="672"/>
                </a:lnTo>
                <a:lnTo>
                  <a:pt x="2298" y="660"/>
                </a:lnTo>
                <a:lnTo>
                  <a:pt x="2286" y="654"/>
                </a:lnTo>
                <a:lnTo>
                  <a:pt x="2274" y="654"/>
                </a:lnTo>
                <a:lnTo>
                  <a:pt x="2262" y="648"/>
                </a:lnTo>
                <a:lnTo>
                  <a:pt x="2232" y="648"/>
                </a:lnTo>
                <a:lnTo>
                  <a:pt x="2226" y="642"/>
                </a:lnTo>
                <a:lnTo>
                  <a:pt x="2214" y="636"/>
                </a:lnTo>
                <a:lnTo>
                  <a:pt x="2196" y="630"/>
                </a:lnTo>
                <a:lnTo>
                  <a:pt x="2184" y="624"/>
                </a:lnTo>
                <a:lnTo>
                  <a:pt x="2166" y="618"/>
                </a:lnTo>
                <a:lnTo>
                  <a:pt x="2154" y="618"/>
                </a:lnTo>
                <a:lnTo>
                  <a:pt x="2142" y="624"/>
                </a:lnTo>
                <a:lnTo>
                  <a:pt x="2112" y="654"/>
                </a:lnTo>
                <a:lnTo>
                  <a:pt x="2106" y="666"/>
                </a:lnTo>
                <a:lnTo>
                  <a:pt x="2088" y="642"/>
                </a:lnTo>
                <a:lnTo>
                  <a:pt x="2088" y="678"/>
                </a:lnTo>
                <a:lnTo>
                  <a:pt x="2058" y="702"/>
                </a:lnTo>
                <a:lnTo>
                  <a:pt x="2076" y="636"/>
                </a:lnTo>
                <a:lnTo>
                  <a:pt x="2082" y="636"/>
                </a:lnTo>
                <a:lnTo>
                  <a:pt x="2094" y="624"/>
                </a:lnTo>
                <a:lnTo>
                  <a:pt x="2094" y="606"/>
                </a:lnTo>
                <a:lnTo>
                  <a:pt x="2088" y="600"/>
                </a:lnTo>
                <a:lnTo>
                  <a:pt x="2082" y="600"/>
                </a:lnTo>
                <a:lnTo>
                  <a:pt x="2064" y="618"/>
                </a:lnTo>
                <a:lnTo>
                  <a:pt x="2076" y="582"/>
                </a:lnTo>
                <a:lnTo>
                  <a:pt x="2070" y="582"/>
                </a:lnTo>
                <a:lnTo>
                  <a:pt x="2064" y="576"/>
                </a:lnTo>
                <a:lnTo>
                  <a:pt x="2064" y="570"/>
                </a:lnTo>
                <a:lnTo>
                  <a:pt x="2040" y="546"/>
                </a:lnTo>
                <a:lnTo>
                  <a:pt x="2034" y="546"/>
                </a:lnTo>
                <a:lnTo>
                  <a:pt x="2022" y="564"/>
                </a:lnTo>
                <a:lnTo>
                  <a:pt x="2016" y="552"/>
                </a:lnTo>
                <a:lnTo>
                  <a:pt x="2004" y="546"/>
                </a:lnTo>
                <a:lnTo>
                  <a:pt x="1998" y="534"/>
                </a:lnTo>
                <a:lnTo>
                  <a:pt x="1986" y="528"/>
                </a:lnTo>
                <a:lnTo>
                  <a:pt x="1980" y="522"/>
                </a:lnTo>
                <a:lnTo>
                  <a:pt x="1968" y="516"/>
                </a:lnTo>
                <a:lnTo>
                  <a:pt x="1944" y="516"/>
                </a:lnTo>
                <a:lnTo>
                  <a:pt x="1932" y="510"/>
                </a:lnTo>
                <a:lnTo>
                  <a:pt x="1926" y="510"/>
                </a:lnTo>
                <a:lnTo>
                  <a:pt x="1914" y="498"/>
                </a:lnTo>
                <a:lnTo>
                  <a:pt x="1902" y="492"/>
                </a:lnTo>
                <a:lnTo>
                  <a:pt x="1896" y="480"/>
                </a:lnTo>
                <a:lnTo>
                  <a:pt x="1884" y="474"/>
                </a:lnTo>
                <a:lnTo>
                  <a:pt x="1878" y="486"/>
                </a:lnTo>
                <a:lnTo>
                  <a:pt x="1824" y="486"/>
                </a:lnTo>
                <a:lnTo>
                  <a:pt x="1812" y="498"/>
                </a:lnTo>
                <a:lnTo>
                  <a:pt x="1806" y="510"/>
                </a:lnTo>
                <a:lnTo>
                  <a:pt x="1806" y="522"/>
                </a:lnTo>
                <a:lnTo>
                  <a:pt x="1800" y="528"/>
                </a:lnTo>
                <a:lnTo>
                  <a:pt x="1800" y="534"/>
                </a:lnTo>
                <a:lnTo>
                  <a:pt x="1812" y="552"/>
                </a:lnTo>
                <a:lnTo>
                  <a:pt x="1776" y="552"/>
                </a:lnTo>
                <a:lnTo>
                  <a:pt x="1770" y="564"/>
                </a:lnTo>
                <a:lnTo>
                  <a:pt x="1758" y="576"/>
                </a:lnTo>
                <a:lnTo>
                  <a:pt x="1752" y="588"/>
                </a:lnTo>
                <a:lnTo>
                  <a:pt x="1752" y="594"/>
                </a:lnTo>
                <a:lnTo>
                  <a:pt x="1746" y="600"/>
                </a:lnTo>
                <a:lnTo>
                  <a:pt x="1746" y="612"/>
                </a:lnTo>
                <a:lnTo>
                  <a:pt x="1740" y="624"/>
                </a:lnTo>
                <a:lnTo>
                  <a:pt x="1728" y="636"/>
                </a:lnTo>
                <a:lnTo>
                  <a:pt x="1722" y="636"/>
                </a:lnTo>
                <a:lnTo>
                  <a:pt x="1728" y="630"/>
                </a:lnTo>
                <a:lnTo>
                  <a:pt x="1728" y="618"/>
                </a:lnTo>
                <a:lnTo>
                  <a:pt x="1734" y="606"/>
                </a:lnTo>
                <a:lnTo>
                  <a:pt x="1734" y="600"/>
                </a:lnTo>
                <a:lnTo>
                  <a:pt x="1740" y="588"/>
                </a:lnTo>
                <a:lnTo>
                  <a:pt x="1740" y="582"/>
                </a:lnTo>
                <a:lnTo>
                  <a:pt x="1734" y="576"/>
                </a:lnTo>
                <a:lnTo>
                  <a:pt x="1728" y="576"/>
                </a:lnTo>
                <a:lnTo>
                  <a:pt x="1722" y="582"/>
                </a:lnTo>
                <a:lnTo>
                  <a:pt x="1716" y="582"/>
                </a:lnTo>
                <a:lnTo>
                  <a:pt x="1704" y="594"/>
                </a:lnTo>
                <a:lnTo>
                  <a:pt x="1692" y="588"/>
                </a:lnTo>
                <a:lnTo>
                  <a:pt x="1656" y="588"/>
                </a:lnTo>
                <a:lnTo>
                  <a:pt x="1644" y="582"/>
                </a:lnTo>
                <a:lnTo>
                  <a:pt x="1632" y="570"/>
                </a:lnTo>
                <a:lnTo>
                  <a:pt x="1632" y="522"/>
                </a:lnTo>
                <a:lnTo>
                  <a:pt x="1626" y="516"/>
                </a:lnTo>
                <a:lnTo>
                  <a:pt x="1626" y="504"/>
                </a:lnTo>
                <a:lnTo>
                  <a:pt x="1620" y="504"/>
                </a:lnTo>
                <a:lnTo>
                  <a:pt x="1614" y="510"/>
                </a:lnTo>
                <a:lnTo>
                  <a:pt x="1602" y="516"/>
                </a:lnTo>
                <a:lnTo>
                  <a:pt x="1596" y="522"/>
                </a:lnTo>
                <a:lnTo>
                  <a:pt x="1590" y="534"/>
                </a:lnTo>
                <a:lnTo>
                  <a:pt x="1584" y="540"/>
                </a:lnTo>
                <a:lnTo>
                  <a:pt x="1560" y="552"/>
                </a:lnTo>
                <a:lnTo>
                  <a:pt x="1554" y="558"/>
                </a:lnTo>
                <a:lnTo>
                  <a:pt x="1512" y="558"/>
                </a:lnTo>
                <a:lnTo>
                  <a:pt x="1500" y="552"/>
                </a:lnTo>
                <a:lnTo>
                  <a:pt x="1542" y="540"/>
                </a:lnTo>
                <a:lnTo>
                  <a:pt x="1548" y="528"/>
                </a:lnTo>
                <a:lnTo>
                  <a:pt x="1566" y="510"/>
                </a:lnTo>
                <a:lnTo>
                  <a:pt x="1566" y="492"/>
                </a:lnTo>
                <a:lnTo>
                  <a:pt x="1572" y="486"/>
                </a:lnTo>
                <a:lnTo>
                  <a:pt x="1590" y="450"/>
                </a:lnTo>
                <a:lnTo>
                  <a:pt x="1626" y="414"/>
                </a:lnTo>
                <a:lnTo>
                  <a:pt x="1638" y="408"/>
                </a:lnTo>
                <a:lnTo>
                  <a:pt x="1656" y="390"/>
                </a:lnTo>
                <a:lnTo>
                  <a:pt x="1656" y="378"/>
                </a:lnTo>
                <a:lnTo>
                  <a:pt x="1662" y="366"/>
                </a:lnTo>
                <a:lnTo>
                  <a:pt x="1674" y="354"/>
                </a:lnTo>
                <a:lnTo>
                  <a:pt x="1686" y="348"/>
                </a:lnTo>
                <a:lnTo>
                  <a:pt x="1692" y="342"/>
                </a:lnTo>
                <a:lnTo>
                  <a:pt x="1704" y="336"/>
                </a:lnTo>
                <a:lnTo>
                  <a:pt x="1680" y="330"/>
                </a:lnTo>
                <a:lnTo>
                  <a:pt x="1698" y="312"/>
                </a:lnTo>
                <a:lnTo>
                  <a:pt x="1698" y="294"/>
                </a:lnTo>
                <a:lnTo>
                  <a:pt x="1692" y="288"/>
                </a:lnTo>
                <a:lnTo>
                  <a:pt x="1680" y="282"/>
                </a:lnTo>
                <a:lnTo>
                  <a:pt x="1662" y="282"/>
                </a:lnTo>
                <a:lnTo>
                  <a:pt x="1650" y="276"/>
                </a:lnTo>
                <a:lnTo>
                  <a:pt x="1644" y="270"/>
                </a:lnTo>
                <a:lnTo>
                  <a:pt x="1638" y="252"/>
                </a:lnTo>
                <a:lnTo>
                  <a:pt x="1632" y="216"/>
                </a:lnTo>
                <a:lnTo>
                  <a:pt x="1626" y="168"/>
                </a:lnTo>
                <a:lnTo>
                  <a:pt x="1620" y="138"/>
                </a:lnTo>
                <a:lnTo>
                  <a:pt x="1614" y="114"/>
                </a:lnTo>
                <a:lnTo>
                  <a:pt x="1608" y="96"/>
                </a:lnTo>
                <a:lnTo>
                  <a:pt x="1602" y="84"/>
                </a:lnTo>
                <a:lnTo>
                  <a:pt x="1590" y="78"/>
                </a:lnTo>
                <a:lnTo>
                  <a:pt x="1584" y="78"/>
                </a:lnTo>
                <a:lnTo>
                  <a:pt x="1584" y="90"/>
                </a:lnTo>
                <a:lnTo>
                  <a:pt x="1590" y="96"/>
                </a:lnTo>
                <a:lnTo>
                  <a:pt x="1590" y="108"/>
                </a:lnTo>
                <a:lnTo>
                  <a:pt x="1572" y="108"/>
                </a:lnTo>
                <a:lnTo>
                  <a:pt x="1572" y="102"/>
                </a:lnTo>
                <a:lnTo>
                  <a:pt x="1566" y="108"/>
                </a:lnTo>
                <a:lnTo>
                  <a:pt x="1560" y="120"/>
                </a:lnTo>
                <a:lnTo>
                  <a:pt x="1560" y="126"/>
                </a:lnTo>
                <a:lnTo>
                  <a:pt x="1554" y="132"/>
                </a:lnTo>
                <a:lnTo>
                  <a:pt x="1548" y="144"/>
                </a:lnTo>
                <a:lnTo>
                  <a:pt x="1536" y="156"/>
                </a:lnTo>
                <a:lnTo>
                  <a:pt x="1518" y="192"/>
                </a:lnTo>
                <a:lnTo>
                  <a:pt x="1518" y="210"/>
                </a:lnTo>
                <a:lnTo>
                  <a:pt x="1494" y="246"/>
                </a:lnTo>
                <a:lnTo>
                  <a:pt x="1488" y="246"/>
                </a:lnTo>
                <a:lnTo>
                  <a:pt x="1482" y="252"/>
                </a:lnTo>
                <a:lnTo>
                  <a:pt x="1464" y="252"/>
                </a:lnTo>
                <a:lnTo>
                  <a:pt x="1452" y="240"/>
                </a:lnTo>
                <a:lnTo>
                  <a:pt x="1446" y="246"/>
                </a:lnTo>
                <a:lnTo>
                  <a:pt x="1434" y="246"/>
                </a:lnTo>
                <a:lnTo>
                  <a:pt x="1428" y="240"/>
                </a:lnTo>
                <a:lnTo>
                  <a:pt x="1416" y="240"/>
                </a:lnTo>
                <a:lnTo>
                  <a:pt x="1410" y="246"/>
                </a:lnTo>
                <a:lnTo>
                  <a:pt x="1410" y="252"/>
                </a:lnTo>
                <a:lnTo>
                  <a:pt x="1404" y="258"/>
                </a:lnTo>
                <a:lnTo>
                  <a:pt x="1380" y="258"/>
                </a:lnTo>
                <a:lnTo>
                  <a:pt x="1368" y="246"/>
                </a:lnTo>
                <a:lnTo>
                  <a:pt x="1368" y="240"/>
                </a:lnTo>
                <a:lnTo>
                  <a:pt x="1350" y="234"/>
                </a:lnTo>
                <a:lnTo>
                  <a:pt x="1344" y="228"/>
                </a:lnTo>
                <a:lnTo>
                  <a:pt x="1338" y="216"/>
                </a:lnTo>
                <a:lnTo>
                  <a:pt x="1332" y="216"/>
                </a:lnTo>
                <a:lnTo>
                  <a:pt x="1320" y="222"/>
                </a:lnTo>
                <a:lnTo>
                  <a:pt x="1314" y="228"/>
                </a:lnTo>
                <a:lnTo>
                  <a:pt x="1302" y="234"/>
                </a:lnTo>
                <a:lnTo>
                  <a:pt x="1278" y="234"/>
                </a:lnTo>
                <a:lnTo>
                  <a:pt x="1278" y="222"/>
                </a:lnTo>
                <a:lnTo>
                  <a:pt x="1272" y="222"/>
                </a:lnTo>
                <a:lnTo>
                  <a:pt x="1260" y="228"/>
                </a:lnTo>
                <a:lnTo>
                  <a:pt x="1260" y="252"/>
                </a:lnTo>
                <a:lnTo>
                  <a:pt x="1272" y="264"/>
                </a:lnTo>
                <a:lnTo>
                  <a:pt x="1272" y="270"/>
                </a:lnTo>
                <a:lnTo>
                  <a:pt x="1278" y="276"/>
                </a:lnTo>
                <a:lnTo>
                  <a:pt x="1272" y="282"/>
                </a:lnTo>
                <a:lnTo>
                  <a:pt x="1254" y="282"/>
                </a:lnTo>
                <a:lnTo>
                  <a:pt x="1230" y="270"/>
                </a:lnTo>
                <a:lnTo>
                  <a:pt x="1224" y="270"/>
                </a:lnTo>
                <a:lnTo>
                  <a:pt x="1212" y="264"/>
                </a:lnTo>
                <a:lnTo>
                  <a:pt x="1212" y="270"/>
                </a:lnTo>
                <a:lnTo>
                  <a:pt x="1206" y="276"/>
                </a:lnTo>
                <a:lnTo>
                  <a:pt x="1200" y="276"/>
                </a:lnTo>
                <a:lnTo>
                  <a:pt x="1188" y="264"/>
                </a:lnTo>
                <a:lnTo>
                  <a:pt x="1176" y="264"/>
                </a:lnTo>
                <a:lnTo>
                  <a:pt x="1158" y="282"/>
                </a:lnTo>
                <a:lnTo>
                  <a:pt x="1158" y="288"/>
                </a:lnTo>
                <a:lnTo>
                  <a:pt x="1128" y="288"/>
                </a:lnTo>
                <a:lnTo>
                  <a:pt x="1122" y="300"/>
                </a:lnTo>
                <a:lnTo>
                  <a:pt x="1104" y="300"/>
                </a:lnTo>
                <a:lnTo>
                  <a:pt x="1092" y="312"/>
                </a:lnTo>
                <a:lnTo>
                  <a:pt x="1092" y="324"/>
                </a:lnTo>
                <a:lnTo>
                  <a:pt x="1086" y="330"/>
                </a:lnTo>
                <a:lnTo>
                  <a:pt x="1050" y="330"/>
                </a:lnTo>
                <a:lnTo>
                  <a:pt x="1044" y="318"/>
                </a:lnTo>
                <a:lnTo>
                  <a:pt x="1032" y="318"/>
                </a:lnTo>
                <a:lnTo>
                  <a:pt x="1002" y="282"/>
                </a:lnTo>
                <a:lnTo>
                  <a:pt x="1002" y="252"/>
                </a:lnTo>
                <a:lnTo>
                  <a:pt x="978" y="228"/>
                </a:lnTo>
                <a:lnTo>
                  <a:pt x="972" y="216"/>
                </a:lnTo>
                <a:lnTo>
                  <a:pt x="972" y="210"/>
                </a:lnTo>
                <a:lnTo>
                  <a:pt x="978" y="198"/>
                </a:lnTo>
                <a:lnTo>
                  <a:pt x="978" y="192"/>
                </a:lnTo>
                <a:lnTo>
                  <a:pt x="984" y="180"/>
                </a:lnTo>
                <a:lnTo>
                  <a:pt x="996" y="138"/>
                </a:lnTo>
                <a:lnTo>
                  <a:pt x="1008" y="126"/>
                </a:lnTo>
                <a:lnTo>
                  <a:pt x="1014" y="114"/>
                </a:lnTo>
                <a:lnTo>
                  <a:pt x="1014" y="102"/>
                </a:lnTo>
                <a:lnTo>
                  <a:pt x="1008" y="102"/>
                </a:lnTo>
                <a:lnTo>
                  <a:pt x="1002" y="96"/>
                </a:lnTo>
                <a:lnTo>
                  <a:pt x="1002" y="66"/>
                </a:lnTo>
                <a:lnTo>
                  <a:pt x="996" y="66"/>
                </a:lnTo>
                <a:lnTo>
                  <a:pt x="984" y="72"/>
                </a:lnTo>
                <a:lnTo>
                  <a:pt x="978" y="72"/>
                </a:lnTo>
                <a:lnTo>
                  <a:pt x="972" y="66"/>
                </a:lnTo>
                <a:lnTo>
                  <a:pt x="972" y="60"/>
                </a:lnTo>
                <a:lnTo>
                  <a:pt x="978" y="54"/>
                </a:lnTo>
                <a:lnTo>
                  <a:pt x="984" y="42"/>
                </a:lnTo>
                <a:lnTo>
                  <a:pt x="984" y="24"/>
                </a:lnTo>
                <a:lnTo>
                  <a:pt x="978" y="12"/>
                </a:lnTo>
                <a:lnTo>
                  <a:pt x="966" y="0"/>
                </a:lnTo>
                <a:lnTo>
                  <a:pt x="960" y="12"/>
                </a:lnTo>
                <a:lnTo>
                  <a:pt x="936" y="6"/>
                </a:lnTo>
                <a:lnTo>
                  <a:pt x="936" y="42"/>
                </a:lnTo>
                <a:lnTo>
                  <a:pt x="930" y="48"/>
                </a:lnTo>
                <a:lnTo>
                  <a:pt x="918" y="48"/>
                </a:lnTo>
                <a:lnTo>
                  <a:pt x="918" y="60"/>
                </a:lnTo>
                <a:lnTo>
                  <a:pt x="894" y="60"/>
                </a:lnTo>
                <a:lnTo>
                  <a:pt x="882" y="66"/>
                </a:lnTo>
                <a:lnTo>
                  <a:pt x="858" y="90"/>
                </a:lnTo>
                <a:lnTo>
                  <a:pt x="846" y="96"/>
                </a:lnTo>
                <a:lnTo>
                  <a:pt x="828" y="96"/>
                </a:lnTo>
                <a:lnTo>
                  <a:pt x="822" y="90"/>
                </a:lnTo>
                <a:lnTo>
                  <a:pt x="804" y="90"/>
                </a:lnTo>
                <a:lnTo>
                  <a:pt x="798" y="96"/>
                </a:lnTo>
                <a:lnTo>
                  <a:pt x="798" y="108"/>
                </a:lnTo>
                <a:lnTo>
                  <a:pt x="792" y="120"/>
                </a:lnTo>
                <a:lnTo>
                  <a:pt x="792" y="138"/>
                </a:lnTo>
                <a:lnTo>
                  <a:pt x="786" y="144"/>
                </a:lnTo>
                <a:lnTo>
                  <a:pt x="774" y="138"/>
                </a:lnTo>
                <a:lnTo>
                  <a:pt x="762" y="126"/>
                </a:lnTo>
                <a:lnTo>
                  <a:pt x="756" y="114"/>
                </a:lnTo>
                <a:lnTo>
                  <a:pt x="750" y="108"/>
                </a:lnTo>
                <a:lnTo>
                  <a:pt x="738" y="108"/>
                </a:lnTo>
                <a:lnTo>
                  <a:pt x="732" y="114"/>
                </a:lnTo>
                <a:lnTo>
                  <a:pt x="720" y="108"/>
                </a:lnTo>
                <a:lnTo>
                  <a:pt x="708" y="114"/>
                </a:lnTo>
                <a:lnTo>
                  <a:pt x="696" y="114"/>
                </a:lnTo>
                <a:lnTo>
                  <a:pt x="696" y="96"/>
                </a:lnTo>
                <a:lnTo>
                  <a:pt x="690" y="90"/>
                </a:lnTo>
                <a:lnTo>
                  <a:pt x="648" y="90"/>
                </a:lnTo>
                <a:lnTo>
                  <a:pt x="648" y="84"/>
                </a:lnTo>
                <a:lnTo>
                  <a:pt x="642" y="78"/>
                </a:lnTo>
                <a:lnTo>
                  <a:pt x="642" y="108"/>
                </a:lnTo>
                <a:lnTo>
                  <a:pt x="660" y="126"/>
                </a:lnTo>
                <a:lnTo>
                  <a:pt x="672" y="132"/>
                </a:lnTo>
                <a:lnTo>
                  <a:pt x="678" y="138"/>
                </a:lnTo>
                <a:lnTo>
                  <a:pt x="678" y="168"/>
                </a:lnTo>
                <a:lnTo>
                  <a:pt x="672" y="174"/>
                </a:lnTo>
                <a:lnTo>
                  <a:pt x="684" y="186"/>
                </a:lnTo>
                <a:lnTo>
                  <a:pt x="690" y="198"/>
                </a:lnTo>
                <a:lnTo>
                  <a:pt x="690" y="228"/>
                </a:lnTo>
                <a:lnTo>
                  <a:pt x="738" y="234"/>
                </a:lnTo>
                <a:lnTo>
                  <a:pt x="744" y="240"/>
                </a:lnTo>
                <a:lnTo>
                  <a:pt x="744" y="246"/>
                </a:lnTo>
                <a:lnTo>
                  <a:pt x="738" y="258"/>
                </a:lnTo>
                <a:lnTo>
                  <a:pt x="732" y="264"/>
                </a:lnTo>
                <a:lnTo>
                  <a:pt x="690" y="264"/>
                </a:lnTo>
                <a:lnTo>
                  <a:pt x="690" y="294"/>
                </a:lnTo>
                <a:lnTo>
                  <a:pt x="684" y="306"/>
                </a:lnTo>
                <a:lnTo>
                  <a:pt x="648" y="324"/>
                </a:lnTo>
                <a:lnTo>
                  <a:pt x="642" y="330"/>
                </a:lnTo>
                <a:lnTo>
                  <a:pt x="624" y="330"/>
                </a:lnTo>
                <a:lnTo>
                  <a:pt x="612" y="342"/>
                </a:lnTo>
                <a:lnTo>
                  <a:pt x="600" y="366"/>
                </a:lnTo>
                <a:lnTo>
                  <a:pt x="588" y="378"/>
                </a:lnTo>
                <a:lnTo>
                  <a:pt x="582" y="378"/>
                </a:lnTo>
                <a:lnTo>
                  <a:pt x="582" y="354"/>
                </a:lnTo>
                <a:lnTo>
                  <a:pt x="576" y="348"/>
                </a:lnTo>
                <a:lnTo>
                  <a:pt x="570" y="354"/>
                </a:lnTo>
                <a:lnTo>
                  <a:pt x="558" y="360"/>
                </a:lnTo>
                <a:lnTo>
                  <a:pt x="552" y="366"/>
                </a:lnTo>
                <a:lnTo>
                  <a:pt x="540" y="372"/>
                </a:lnTo>
                <a:lnTo>
                  <a:pt x="534" y="372"/>
                </a:lnTo>
                <a:lnTo>
                  <a:pt x="522" y="366"/>
                </a:lnTo>
                <a:lnTo>
                  <a:pt x="516" y="366"/>
                </a:lnTo>
                <a:lnTo>
                  <a:pt x="504" y="354"/>
                </a:lnTo>
                <a:lnTo>
                  <a:pt x="504" y="348"/>
                </a:lnTo>
                <a:lnTo>
                  <a:pt x="498" y="336"/>
                </a:lnTo>
                <a:lnTo>
                  <a:pt x="492" y="330"/>
                </a:lnTo>
                <a:lnTo>
                  <a:pt x="468" y="330"/>
                </a:lnTo>
                <a:lnTo>
                  <a:pt x="468" y="300"/>
                </a:lnTo>
                <a:lnTo>
                  <a:pt x="462" y="288"/>
                </a:lnTo>
                <a:lnTo>
                  <a:pt x="462" y="276"/>
                </a:lnTo>
                <a:lnTo>
                  <a:pt x="456" y="270"/>
                </a:lnTo>
                <a:lnTo>
                  <a:pt x="456" y="258"/>
                </a:lnTo>
                <a:lnTo>
                  <a:pt x="450" y="258"/>
                </a:lnTo>
                <a:lnTo>
                  <a:pt x="420" y="288"/>
                </a:lnTo>
                <a:lnTo>
                  <a:pt x="396" y="264"/>
                </a:lnTo>
                <a:lnTo>
                  <a:pt x="390" y="264"/>
                </a:lnTo>
                <a:lnTo>
                  <a:pt x="384" y="270"/>
                </a:lnTo>
                <a:lnTo>
                  <a:pt x="384" y="288"/>
                </a:lnTo>
                <a:lnTo>
                  <a:pt x="318" y="294"/>
                </a:lnTo>
                <a:lnTo>
                  <a:pt x="306" y="282"/>
                </a:lnTo>
                <a:lnTo>
                  <a:pt x="288" y="282"/>
                </a:lnTo>
                <a:lnTo>
                  <a:pt x="282" y="288"/>
                </a:lnTo>
                <a:lnTo>
                  <a:pt x="276" y="300"/>
                </a:lnTo>
                <a:lnTo>
                  <a:pt x="276" y="312"/>
                </a:lnTo>
                <a:lnTo>
                  <a:pt x="282" y="324"/>
                </a:lnTo>
                <a:lnTo>
                  <a:pt x="282" y="336"/>
                </a:lnTo>
                <a:lnTo>
                  <a:pt x="306" y="348"/>
                </a:lnTo>
                <a:lnTo>
                  <a:pt x="318" y="342"/>
                </a:lnTo>
                <a:lnTo>
                  <a:pt x="330" y="354"/>
                </a:lnTo>
                <a:lnTo>
                  <a:pt x="330" y="360"/>
                </a:lnTo>
                <a:lnTo>
                  <a:pt x="336" y="366"/>
                </a:lnTo>
                <a:lnTo>
                  <a:pt x="336" y="372"/>
                </a:lnTo>
                <a:lnTo>
                  <a:pt x="330" y="378"/>
                </a:lnTo>
                <a:lnTo>
                  <a:pt x="300" y="378"/>
                </a:lnTo>
                <a:lnTo>
                  <a:pt x="294" y="372"/>
                </a:lnTo>
                <a:lnTo>
                  <a:pt x="264" y="378"/>
                </a:lnTo>
                <a:lnTo>
                  <a:pt x="258" y="444"/>
                </a:lnTo>
                <a:lnTo>
                  <a:pt x="264" y="444"/>
                </a:lnTo>
                <a:lnTo>
                  <a:pt x="276" y="456"/>
                </a:lnTo>
                <a:lnTo>
                  <a:pt x="288" y="462"/>
                </a:lnTo>
                <a:lnTo>
                  <a:pt x="294" y="468"/>
                </a:lnTo>
                <a:lnTo>
                  <a:pt x="294" y="492"/>
                </a:lnTo>
                <a:lnTo>
                  <a:pt x="300" y="498"/>
                </a:lnTo>
                <a:lnTo>
                  <a:pt x="300" y="504"/>
                </a:lnTo>
                <a:lnTo>
                  <a:pt x="312" y="516"/>
                </a:lnTo>
                <a:lnTo>
                  <a:pt x="318" y="528"/>
                </a:lnTo>
                <a:lnTo>
                  <a:pt x="318" y="540"/>
                </a:lnTo>
                <a:lnTo>
                  <a:pt x="312" y="552"/>
                </a:lnTo>
                <a:lnTo>
                  <a:pt x="300" y="564"/>
                </a:lnTo>
                <a:lnTo>
                  <a:pt x="306" y="612"/>
                </a:lnTo>
                <a:lnTo>
                  <a:pt x="288" y="660"/>
                </a:lnTo>
                <a:lnTo>
                  <a:pt x="282" y="732"/>
                </a:lnTo>
                <a:lnTo>
                  <a:pt x="282" y="762"/>
                </a:lnTo>
                <a:lnTo>
                  <a:pt x="276" y="774"/>
                </a:lnTo>
                <a:lnTo>
                  <a:pt x="270" y="780"/>
                </a:lnTo>
                <a:lnTo>
                  <a:pt x="252" y="780"/>
                </a:lnTo>
                <a:lnTo>
                  <a:pt x="252" y="774"/>
                </a:lnTo>
                <a:lnTo>
                  <a:pt x="240" y="762"/>
                </a:lnTo>
                <a:lnTo>
                  <a:pt x="222" y="762"/>
                </a:lnTo>
                <a:lnTo>
                  <a:pt x="216" y="768"/>
                </a:lnTo>
                <a:lnTo>
                  <a:pt x="210" y="780"/>
                </a:lnTo>
                <a:lnTo>
                  <a:pt x="204" y="786"/>
                </a:lnTo>
                <a:lnTo>
                  <a:pt x="174" y="780"/>
                </a:lnTo>
                <a:lnTo>
                  <a:pt x="168" y="792"/>
                </a:lnTo>
                <a:lnTo>
                  <a:pt x="138" y="792"/>
                </a:lnTo>
                <a:lnTo>
                  <a:pt x="126" y="798"/>
                </a:lnTo>
                <a:lnTo>
                  <a:pt x="120" y="804"/>
                </a:lnTo>
                <a:lnTo>
                  <a:pt x="108" y="810"/>
                </a:lnTo>
                <a:lnTo>
                  <a:pt x="96" y="822"/>
                </a:lnTo>
                <a:lnTo>
                  <a:pt x="96" y="828"/>
                </a:lnTo>
                <a:lnTo>
                  <a:pt x="90" y="834"/>
                </a:lnTo>
                <a:lnTo>
                  <a:pt x="90" y="840"/>
                </a:lnTo>
                <a:lnTo>
                  <a:pt x="66" y="840"/>
                </a:lnTo>
                <a:lnTo>
                  <a:pt x="66" y="894"/>
                </a:lnTo>
                <a:lnTo>
                  <a:pt x="48" y="912"/>
                </a:lnTo>
                <a:lnTo>
                  <a:pt x="48" y="924"/>
                </a:lnTo>
                <a:lnTo>
                  <a:pt x="54" y="930"/>
                </a:lnTo>
                <a:lnTo>
                  <a:pt x="54" y="948"/>
                </a:lnTo>
                <a:lnTo>
                  <a:pt x="60" y="954"/>
                </a:lnTo>
                <a:lnTo>
                  <a:pt x="54" y="954"/>
                </a:lnTo>
                <a:lnTo>
                  <a:pt x="48" y="948"/>
                </a:lnTo>
                <a:lnTo>
                  <a:pt x="18" y="978"/>
                </a:lnTo>
                <a:lnTo>
                  <a:pt x="12" y="990"/>
                </a:lnTo>
                <a:lnTo>
                  <a:pt x="12" y="1014"/>
                </a:lnTo>
                <a:lnTo>
                  <a:pt x="18" y="1020"/>
                </a:lnTo>
                <a:lnTo>
                  <a:pt x="6" y="1026"/>
                </a:lnTo>
                <a:lnTo>
                  <a:pt x="0" y="1032"/>
                </a:lnTo>
                <a:lnTo>
                  <a:pt x="0" y="1044"/>
                </a:lnTo>
                <a:lnTo>
                  <a:pt x="6" y="1050"/>
                </a:lnTo>
                <a:lnTo>
                  <a:pt x="18" y="1056"/>
                </a:lnTo>
                <a:lnTo>
                  <a:pt x="24" y="1080"/>
                </a:lnTo>
                <a:lnTo>
                  <a:pt x="24" y="1086"/>
                </a:lnTo>
                <a:lnTo>
                  <a:pt x="30" y="1092"/>
                </a:lnTo>
                <a:lnTo>
                  <a:pt x="42" y="1116"/>
                </a:lnTo>
                <a:lnTo>
                  <a:pt x="54" y="1128"/>
                </a:lnTo>
                <a:lnTo>
                  <a:pt x="66" y="1134"/>
                </a:lnTo>
                <a:lnTo>
                  <a:pt x="90" y="1158"/>
                </a:lnTo>
                <a:lnTo>
                  <a:pt x="84" y="1164"/>
                </a:lnTo>
                <a:lnTo>
                  <a:pt x="78" y="1176"/>
                </a:lnTo>
                <a:lnTo>
                  <a:pt x="66" y="1182"/>
                </a:lnTo>
                <a:lnTo>
                  <a:pt x="60" y="1188"/>
                </a:lnTo>
                <a:lnTo>
                  <a:pt x="102" y="1188"/>
                </a:lnTo>
                <a:lnTo>
                  <a:pt x="114" y="1194"/>
                </a:lnTo>
                <a:lnTo>
                  <a:pt x="120" y="1194"/>
                </a:lnTo>
                <a:lnTo>
                  <a:pt x="126" y="1200"/>
                </a:lnTo>
                <a:lnTo>
                  <a:pt x="126" y="1212"/>
                </a:lnTo>
                <a:lnTo>
                  <a:pt x="132" y="1224"/>
                </a:lnTo>
                <a:lnTo>
                  <a:pt x="138" y="1230"/>
                </a:lnTo>
                <a:lnTo>
                  <a:pt x="138" y="1236"/>
                </a:lnTo>
                <a:lnTo>
                  <a:pt x="198" y="1230"/>
                </a:lnTo>
                <a:lnTo>
                  <a:pt x="252" y="1182"/>
                </a:lnTo>
                <a:lnTo>
                  <a:pt x="252" y="1194"/>
                </a:lnTo>
                <a:lnTo>
                  <a:pt x="258" y="1206"/>
                </a:lnTo>
                <a:lnTo>
                  <a:pt x="258" y="1224"/>
                </a:lnTo>
                <a:lnTo>
                  <a:pt x="252" y="1230"/>
                </a:lnTo>
                <a:lnTo>
                  <a:pt x="252" y="1242"/>
                </a:lnTo>
                <a:lnTo>
                  <a:pt x="246" y="1254"/>
                </a:lnTo>
                <a:lnTo>
                  <a:pt x="246" y="1266"/>
                </a:lnTo>
                <a:lnTo>
                  <a:pt x="252" y="1284"/>
                </a:lnTo>
                <a:lnTo>
                  <a:pt x="252" y="1314"/>
                </a:lnTo>
                <a:lnTo>
                  <a:pt x="264" y="1308"/>
                </a:lnTo>
                <a:lnTo>
                  <a:pt x="264" y="1314"/>
                </a:lnTo>
                <a:lnTo>
                  <a:pt x="270" y="1320"/>
                </a:lnTo>
                <a:lnTo>
                  <a:pt x="282" y="1320"/>
                </a:lnTo>
                <a:lnTo>
                  <a:pt x="282" y="1314"/>
                </a:lnTo>
                <a:lnTo>
                  <a:pt x="288" y="1314"/>
                </a:lnTo>
                <a:lnTo>
                  <a:pt x="294" y="1308"/>
                </a:lnTo>
                <a:lnTo>
                  <a:pt x="324" y="1308"/>
                </a:lnTo>
                <a:lnTo>
                  <a:pt x="336" y="1314"/>
                </a:lnTo>
                <a:lnTo>
                  <a:pt x="366" y="1314"/>
                </a:lnTo>
                <a:lnTo>
                  <a:pt x="372" y="1320"/>
                </a:lnTo>
                <a:lnTo>
                  <a:pt x="372" y="1326"/>
                </a:lnTo>
                <a:lnTo>
                  <a:pt x="390" y="1326"/>
                </a:lnTo>
                <a:lnTo>
                  <a:pt x="414" y="1314"/>
                </a:lnTo>
                <a:lnTo>
                  <a:pt x="420" y="1308"/>
                </a:lnTo>
                <a:lnTo>
                  <a:pt x="432" y="1290"/>
                </a:lnTo>
                <a:lnTo>
                  <a:pt x="468" y="1290"/>
                </a:lnTo>
                <a:lnTo>
                  <a:pt x="474" y="1260"/>
                </a:lnTo>
                <a:lnTo>
                  <a:pt x="510" y="1260"/>
                </a:lnTo>
                <a:lnTo>
                  <a:pt x="510" y="1254"/>
                </a:lnTo>
                <a:lnTo>
                  <a:pt x="516" y="1248"/>
                </a:lnTo>
                <a:lnTo>
                  <a:pt x="522" y="1236"/>
                </a:lnTo>
                <a:lnTo>
                  <a:pt x="528" y="1230"/>
                </a:lnTo>
                <a:lnTo>
                  <a:pt x="540" y="1224"/>
                </a:lnTo>
                <a:lnTo>
                  <a:pt x="576" y="1224"/>
                </a:lnTo>
                <a:lnTo>
                  <a:pt x="588" y="1212"/>
                </a:lnTo>
                <a:lnTo>
                  <a:pt x="600" y="1224"/>
                </a:lnTo>
                <a:lnTo>
                  <a:pt x="606" y="1224"/>
                </a:lnTo>
                <a:lnTo>
                  <a:pt x="606" y="1218"/>
                </a:lnTo>
                <a:lnTo>
                  <a:pt x="618" y="1212"/>
                </a:lnTo>
                <a:lnTo>
                  <a:pt x="630" y="1212"/>
                </a:lnTo>
                <a:lnTo>
                  <a:pt x="630" y="1242"/>
                </a:lnTo>
                <a:lnTo>
                  <a:pt x="624" y="1248"/>
                </a:lnTo>
                <a:lnTo>
                  <a:pt x="624" y="1254"/>
                </a:lnTo>
                <a:lnTo>
                  <a:pt x="618" y="1260"/>
                </a:lnTo>
                <a:lnTo>
                  <a:pt x="618" y="1290"/>
                </a:lnTo>
                <a:lnTo>
                  <a:pt x="624" y="1296"/>
                </a:lnTo>
                <a:lnTo>
                  <a:pt x="630" y="1308"/>
                </a:lnTo>
                <a:lnTo>
                  <a:pt x="630" y="1326"/>
                </a:lnTo>
                <a:lnTo>
                  <a:pt x="624" y="1332"/>
                </a:lnTo>
                <a:lnTo>
                  <a:pt x="624" y="1344"/>
                </a:lnTo>
                <a:lnTo>
                  <a:pt x="636" y="1356"/>
                </a:lnTo>
                <a:lnTo>
                  <a:pt x="648" y="1362"/>
                </a:lnTo>
                <a:lnTo>
                  <a:pt x="654" y="1368"/>
                </a:lnTo>
                <a:lnTo>
                  <a:pt x="660" y="1398"/>
                </a:lnTo>
                <a:lnTo>
                  <a:pt x="684" y="1398"/>
                </a:lnTo>
                <a:lnTo>
                  <a:pt x="690" y="1404"/>
                </a:lnTo>
                <a:lnTo>
                  <a:pt x="690" y="1410"/>
                </a:lnTo>
                <a:lnTo>
                  <a:pt x="696" y="1422"/>
                </a:lnTo>
                <a:lnTo>
                  <a:pt x="696" y="1428"/>
                </a:lnTo>
                <a:lnTo>
                  <a:pt x="702" y="1434"/>
                </a:lnTo>
                <a:lnTo>
                  <a:pt x="714" y="1440"/>
                </a:lnTo>
                <a:lnTo>
                  <a:pt x="744" y="1440"/>
                </a:lnTo>
                <a:lnTo>
                  <a:pt x="750" y="1434"/>
                </a:lnTo>
                <a:lnTo>
                  <a:pt x="756" y="1446"/>
                </a:lnTo>
                <a:lnTo>
                  <a:pt x="768" y="1452"/>
                </a:lnTo>
                <a:lnTo>
                  <a:pt x="780" y="1452"/>
                </a:lnTo>
                <a:lnTo>
                  <a:pt x="786" y="1446"/>
                </a:lnTo>
                <a:lnTo>
                  <a:pt x="798" y="1446"/>
                </a:lnTo>
                <a:lnTo>
                  <a:pt x="798" y="1452"/>
                </a:lnTo>
                <a:lnTo>
                  <a:pt x="804" y="1464"/>
                </a:lnTo>
                <a:lnTo>
                  <a:pt x="816" y="1470"/>
                </a:lnTo>
                <a:lnTo>
                  <a:pt x="828" y="1482"/>
                </a:lnTo>
                <a:lnTo>
                  <a:pt x="840" y="1488"/>
                </a:lnTo>
                <a:lnTo>
                  <a:pt x="864" y="1488"/>
                </a:lnTo>
                <a:lnTo>
                  <a:pt x="864" y="1494"/>
                </a:lnTo>
                <a:lnTo>
                  <a:pt x="876" y="1506"/>
                </a:lnTo>
                <a:lnTo>
                  <a:pt x="888" y="1512"/>
                </a:lnTo>
                <a:lnTo>
                  <a:pt x="894" y="1518"/>
                </a:lnTo>
                <a:lnTo>
                  <a:pt x="954" y="1518"/>
                </a:lnTo>
                <a:lnTo>
                  <a:pt x="978" y="1530"/>
                </a:lnTo>
                <a:lnTo>
                  <a:pt x="984" y="1542"/>
                </a:lnTo>
                <a:lnTo>
                  <a:pt x="990" y="1548"/>
                </a:lnTo>
                <a:lnTo>
                  <a:pt x="990" y="1578"/>
                </a:lnTo>
                <a:lnTo>
                  <a:pt x="996" y="1590"/>
                </a:lnTo>
                <a:lnTo>
                  <a:pt x="1002" y="1596"/>
                </a:lnTo>
                <a:lnTo>
                  <a:pt x="1008" y="1608"/>
                </a:lnTo>
                <a:lnTo>
                  <a:pt x="1008" y="1638"/>
                </a:lnTo>
                <a:lnTo>
                  <a:pt x="990" y="1638"/>
                </a:lnTo>
                <a:lnTo>
                  <a:pt x="990" y="1644"/>
                </a:lnTo>
                <a:lnTo>
                  <a:pt x="996" y="1650"/>
                </a:lnTo>
                <a:lnTo>
                  <a:pt x="1002" y="1662"/>
                </a:lnTo>
                <a:lnTo>
                  <a:pt x="1014" y="1668"/>
                </a:lnTo>
                <a:lnTo>
                  <a:pt x="1020" y="1674"/>
                </a:lnTo>
                <a:lnTo>
                  <a:pt x="1014" y="1686"/>
                </a:lnTo>
                <a:lnTo>
                  <a:pt x="1014" y="1728"/>
                </a:lnTo>
                <a:lnTo>
                  <a:pt x="1020" y="1734"/>
                </a:lnTo>
                <a:lnTo>
                  <a:pt x="1050" y="1740"/>
                </a:lnTo>
                <a:lnTo>
                  <a:pt x="1098" y="1746"/>
                </a:lnTo>
                <a:lnTo>
                  <a:pt x="1158" y="1746"/>
                </a:lnTo>
                <a:lnTo>
                  <a:pt x="1158" y="1752"/>
                </a:lnTo>
                <a:lnTo>
                  <a:pt x="1152" y="1758"/>
                </a:lnTo>
                <a:lnTo>
                  <a:pt x="1152" y="1770"/>
                </a:lnTo>
                <a:lnTo>
                  <a:pt x="1146" y="1788"/>
                </a:lnTo>
                <a:lnTo>
                  <a:pt x="1146" y="1800"/>
                </a:lnTo>
                <a:lnTo>
                  <a:pt x="1152" y="1812"/>
                </a:lnTo>
                <a:lnTo>
                  <a:pt x="1164" y="1818"/>
                </a:lnTo>
                <a:lnTo>
                  <a:pt x="1170" y="1824"/>
                </a:lnTo>
                <a:lnTo>
                  <a:pt x="1194" y="1836"/>
                </a:lnTo>
                <a:lnTo>
                  <a:pt x="1206" y="1848"/>
                </a:lnTo>
                <a:lnTo>
                  <a:pt x="1212" y="1860"/>
                </a:lnTo>
                <a:lnTo>
                  <a:pt x="1224" y="1896"/>
                </a:lnTo>
                <a:lnTo>
                  <a:pt x="1224" y="1908"/>
                </a:lnTo>
                <a:lnTo>
                  <a:pt x="1218" y="1920"/>
                </a:lnTo>
                <a:lnTo>
                  <a:pt x="1218" y="1944"/>
                </a:lnTo>
                <a:lnTo>
                  <a:pt x="1212" y="1950"/>
                </a:lnTo>
                <a:lnTo>
                  <a:pt x="1212" y="1956"/>
                </a:lnTo>
                <a:lnTo>
                  <a:pt x="1218" y="1968"/>
                </a:lnTo>
                <a:lnTo>
                  <a:pt x="1212" y="1980"/>
                </a:lnTo>
                <a:lnTo>
                  <a:pt x="1206" y="1986"/>
                </a:lnTo>
                <a:lnTo>
                  <a:pt x="1200" y="1998"/>
                </a:lnTo>
                <a:lnTo>
                  <a:pt x="1200" y="2022"/>
                </a:lnTo>
                <a:lnTo>
                  <a:pt x="1206" y="2028"/>
                </a:lnTo>
                <a:lnTo>
                  <a:pt x="1218" y="2034"/>
                </a:lnTo>
                <a:lnTo>
                  <a:pt x="1212" y="2040"/>
                </a:lnTo>
                <a:lnTo>
                  <a:pt x="1200" y="2046"/>
                </a:lnTo>
                <a:lnTo>
                  <a:pt x="1194" y="2052"/>
                </a:lnTo>
                <a:lnTo>
                  <a:pt x="1194" y="2064"/>
                </a:lnTo>
                <a:lnTo>
                  <a:pt x="1200" y="2070"/>
                </a:lnTo>
                <a:lnTo>
                  <a:pt x="1212" y="2076"/>
                </a:lnTo>
                <a:lnTo>
                  <a:pt x="1212" y="2112"/>
                </a:lnTo>
                <a:lnTo>
                  <a:pt x="1224" y="2112"/>
                </a:lnTo>
                <a:lnTo>
                  <a:pt x="1224" y="2130"/>
                </a:lnTo>
                <a:lnTo>
                  <a:pt x="1218" y="2142"/>
                </a:lnTo>
                <a:lnTo>
                  <a:pt x="1218" y="2184"/>
                </a:lnTo>
                <a:lnTo>
                  <a:pt x="1224" y="2196"/>
                </a:lnTo>
                <a:lnTo>
                  <a:pt x="1230" y="2202"/>
                </a:lnTo>
                <a:lnTo>
                  <a:pt x="1266" y="2214"/>
                </a:lnTo>
                <a:lnTo>
                  <a:pt x="1308" y="2220"/>
                </a:lnTo>
                <a:lnTo>
                  <a:pt x="1380" y="2220"/>
                </a:lnTo>
                <a:lnTo>
                  <a:pt x="1392" y="2226"/>
                </a:lnTo>
                <a:lnTo>
                  <a:pt x="1398" y="2232"/>
                </a:lnTo>
                <a:lnTo>
                  <a:pt x="1398" y="2256"/>
                </a:lnTo>
                <a:lnTo>
                  <a:pt x="1404" y="2274"/>
                </a:lnTo>
                <a:lnTo>
                  <a:pt x="1404" y="2298"/>
                </a:lnTo>
                <a:lnTo>
                  <a:pt x="1410" y="2316"/>
                </a:lnTo>
                <a:lnTo>
                  <a:pt x="1410" y="2334"/>
                </a:lnTo>
                <a:lnTo>
                  <a:pt x="1422" y="2358"/>
                </a:lnTo>
                <a:lnTo>
                  <a:pt x="1434" y="2364"/>
                </a:lnTo>
                <a:lnTo>
                  <a:pt x="1446" y="2364"/>
                </a:lnTo>
                <a:lnTo>
                  <a:pt x="1464" y="2346"/>
                </a:lnTo>
                <a:lnTo>
                  <a:pt x="1476" y="2346"/>
                </a:lnTo>
                <a:lnTo>
                  <a:pt x="1488" y="2352"/>
                </a:lnTo>
                <a:lnTo>
                  <a:pt x="1500" y="2364"/>
                </a:lnTo>
                <a:lnTo>
                  <a:pt x="1506" y="2376"/>
                </a:lnTo>
                <a:lnTo>
                  <a:pt x="1506" y="2394"/>
                </a:lnTo>
                <a:lnTo>
                  <a:pt x="1500" y="2412"/>
                </a:lnTo>
                <a:lnTo>
                  <a:pt x="1500" y="2442"/>
                </a:lnTo>
                <a:lnTo>
                  <a:pt x="1494" y="2448"/>
                </a:lnTo>
                <a:lnTo>
                  <a:pt x="1494" y="2454"/>
                </a:lnTo>
                <a:lnTo>
                  <a:pt x="1488" y="2466"/>
                </a:lnTo>
                <a:lnTo>
                  <a:pt x="1488" y="2478"/>
                </a:lnTo>
                <a:lnTo>
                  <a:pt x="1494" y="2496"/>
                </a:lnTo>
                <a:lnTo>
                  <a:pt x="1506" y="2490"/>
                </a:lnTo>
                <a:lnTo>
                  <a:pt x="1512" y="2484"/>
                </a:lnTo>
                <a:lnTo>
                  <a:pt x="1530" y="2484"/>
                </a:lnTo>
                <a:lnTo>
                  <a:pt x="1536" y="2490"/>
                </a:lnTo>
                <a:lnTo>
                  <a:pt x="1548" y="2514"/>
                </a:lnTo>
                <a:lnTo>
                  <a:pt x="1548" y="2526"/>
                </a:lnTo>
                <a:lnTo>
                  <a:pt x="1554" y="2526"/>
                </a:lnTo>
                <a:lnTo>
                  <a:pt x="1560" y="2532"/>
                </a:lnTo>
                <a:lnTo>
                  <a:pt x="1560" y="2562"/>
                </a:lnTo>
                <a:lnTo>
                  <a:pt x="1566" y="2580"/>
                </a:lnTo>
                <a:lnTo>
                  <a:pt x="1566" y="2616"/>
                </a:lnTo>
                <a:lnTo>
                  <a:pt x="1512" y="2634"/>
                </a:lnTo>
                <a:lnTo>
                  <a:pt x="1506" y="2640"/>
                </a:lnTo>
                <a:lnTo>
                  <a:pt x="1500" y="2652"/>
                </a:lnTo>
                <a:lnTo>
                  <a:pt x="1500" y="2670"/>
                </a:lnTo>
                <a:lnTo>
                  <a:pt x="1464" y="2670"/>
                </a:lnTo>
                <a:lnTo>
                  <a:pt x="1464" y="2688"/>
                </a:lnTo>
                <a:lnTo>
                  <a:pt x="1458" y="2694"/>
                </a:lnTo>
                <a:lnTo>
                  <a:pt x="1452" y="2718"/>
                </a:lnTo>
                <a:lnTo>
                  <a:pt x="1428" y="2724"/>
                </a:lnTo>
                <a:lnTo>
                  <a:pt x="1428" y="2736"/>
                </a:lnTo>
                <a:lnTo>
                  <a:pt x="1422" y="2748"/>
                </a:lnTo>
                <a:lnTo>
                  <a:pt x="1422" y="2760"/>
                </a:lnTo>
                <a:lnTo>
                  <a:pt x="1404" y="2778"/>
                </a:lnTo>
                <a:lnTo>
                  <a:pt x="1392" y="2778"/>
                </a:lnTo>
                <a:lnTo>
                  <a:pt x="1392" y="2802"/>
                </a:lnTo>
                <a:lnTo>
                  <a:pt x="1386" y="2808"/>
                </a:lnTo>
                <a:lnTo>
                  <a:pt x="1380" y="2820"/>
                </a:lnTo>
                <a:lnTo>
                  <a:pt x="1374" y="2826"/>
                </a:lnTo>
                <a:lnTo>
                  <a:pt x="1356" y="2826"/>
                </a:lnTo>
                <a:lnTo>
                  <a:pt x="1350" y="2832"/>
                </a:lnTo>
                <a:lnTo>
                  <a:pt x="1350" y="2844"/>
                </a:lnTo>
                <a:lnTo>
                  <a:pt x="1344" y="2856"/>
                </a:lnTo>
                <a:lnTo>
                  <a:pt x="1344" y="2868"/>
                </a:lnTo>
                <a:lnTo>
                  <a:pt x="1368" y="2868"/>
                </a:lnTo>
                <a:lnTo>
                  <a:pt x="1374" y="2862"/>
                </a:lnTo>
                <a:lnTo>
                  <a:pt x="1386" y="2856"/>
                </a:lnTo>
                <a:lnTo>
                  <a:pt x="1398" y="2856"/>
                </a:lnTo>
                <a:lnTo>
                  <a:pt x="1404" y="2862"/>
                </a:lnTo>
                <a:lnTo>
                  <a:pt x="1428" y="2874"/>
                </a:lnTo>
                <a:lnTo>
                  <a:pt x="1434" y="2886"/>
                </a:lnTo>
                <a:lnTo>
                  <a:pt x="1446" y="2892"/>
                </a:lnTo>
                <a:lnTo>
                  <a:pt x="1452" y="2898"/>
                </a:lnTo>
                <a:lnTo>
                  <a:pt x="1458" y="2910"/>
                </a:lnTo>
                <a:lnTo>
                  <a:pt x="1470" y="2922"/>
                </a:lnTo>
                <a:lnTo>
                  <a:pt x="1470" y="2934"/>
                </a:lnTo>
                <a:lnTo>
                  <a:pt x="1482" y="2934"/>
                </a:lnTo>
                <a:lnTo>
                  <a:pt x="1482" y="2928"/>
                </a:lnTo>
                <a:lnTo>
                  <a:pt x="1494" y="2916"/>
                </a:lnTo>
                <a:lnTo>
                  <a:pt x="1500" y="2916"/>
                </a:lnTo>
                <a:lnTo>
                  <a:pt x="1512" y="2922"/>
                </a:lnTo>
                <a:lnTo>
                  <a:pt x="1518" y="2934"/>
                </a:lnTo>
                <a:lnTo>
                  <a:pt x="1536" y="2952"/>
                </a:lnTo>
                <a:lnTo>
                  <a:pt x="1554" y="2952"/>
                </a:lnTo>
                <a:lnTo>
                  <a:pt x="1572" y="2970"/>
                </a:lnTo>
                <a:lnTo>
                  <a:pt x="1578" y="2970"/>
                </a:lnTo>
                <a:lnTo>
                  <a:pt x="1578" y="2982"/>
                </a:lnTo>
                <a:lnTo>
                  <a:pt x="1584" y="2988"/>
                </a:lnTo>
                <a:lnTo>
                  <a:pt x="1596" y="2994"/>
                </a:lnTo>
                <a:lnTo>
                  <a:pt x="1614" y="3000"/>
                </a:lnTo>
                <a:lnTo>
                  <a:pt x="1626" y="3000"/>
                </a:lnTo>
                <a:lnTo>
                  <a:pt x="1632" y="3012"/>
                </a:lnTo>
                <a:lnTo>
                  <a:pt x="1638" y="3018"/>
                </a:lnTo>
                <a:lnTo>
                  <a:pt x="1644" y="3030"/>
                </a:lnTo>
                <a:lnTo>
                  <a:pt x="1662" y="3048"/>
                </a:lnTo>
                <a:lnTo>
                  <a:pt x="1668" y="3048"/>
                </a:lnTo>
                <a:lnTo>
                  <a:pt x="1680" y="3054"/>
                </a:lnTo>
                <a:lnTo>
                  <a:pt x="1686" y="3054"/>
                </a:lnTo>
                <a:lnTo>
                  <a:pt x="1686" y="3066"/>
                </a:lnTo>
                <a:lnTo>
                  <a:pt x="1674" y="3090"/>
                </a:lnTo>
                <a:lnTo>
                  <a:pt x="1668" y="3096"/>
                </a:lnTo>
                <a:lnTo>
                  <a:pt x="1668" y="3120"/>
                </a:lnTo>
                <a:lnTo>
                  <a:pt x="1674" y="3120"/>
                </a:lnTo>
                <a:lnTo>
                  <a:pt x="1674" y="3150"/>
                </a:lnTo>
                <a:lnTo>
                  <a:pt x="1692" y="3150"/>
                </a:lnTo>
                <a:lnTo>
                  <a:pt x="1692" y="3144"/>
                </a:lnTo>
                <a:lnTo>
                  <a:pt x="1698" y="3132"/>
                </a:lnTo>
                <a:lnTo>
                  <a:pt x="1710" y="3126"/>
                </a:lnTo>
                <a:lnTo>
                  <a:pt x="1716" y="3114"/>
                </a:lnTo>
                <a:lnTo>
                  <a:pt x="1728" y="3102"/>
                </a:lnTo>
                <a:lnTo>
                  <a:pt x="1734" y="3090"/>
                </a:lnTo>
                <a:lnTo>
                  <a:pt x="1734" y="3060"/>
                </a:lnTo>
                <a:lnTo>
                  <a:pt x="1728" y="3054"/>
                </a:lnTo>
                <a:lnTo>
                  <a:pt x="1728" y="3048"/>
                </a:lnTo>
                <a:lnTo>
                  <a:pt x="1746" y="3018"/>
                </a:lnTo>
                <a:lnTo>
                  <a:pt x="1734" y="3012"/>
                </a:lnTo>
                <a:lnTo>
                  <a:pt x="1728" y="3000"/>
                </a:lnTo>
                <a:lnTo>
                  <a:pt x="1728" y="2988"/>
                </a:lnTo>
                <a:lnTo>
                  <a:pt x="1740" y="2976"/>
                </a:lnTo>
                <a:lnTo>
                  <a:pt x="1746" y="2976"/>
                </a:lnTo>
                <a:lnTo>
                  <a:pt x="1746" y="2952"/>
                </a:lnTo>
                <a:lnTo>
                  <a:pt x="1764" y="2952"/>
                </a:lnTo>
                <a:lnTo>
                  <a:pt x="1776" y="2940"/>
                </a:lnTo>
                <a:lnTo>
                  <a:pt x="1776" y="2904"/>
                </a:lnTo>
                <a:lnTo>
                  <a:pt x="1782" y="2898"/>
                </a:lnTo>
                <a:lnTo>
                  <a:pt x="1788" y="2886"/>
                </a:lnTo>
                <a:lnTo>
                  <a:pt x="1800" y="2874"/>
                </a:lnTo>
                <a:lnTo>
                  <a:pt x="1812" y="2868"/>
                </a:lnTo>
                <a:lnTo>
                  <a:pt x="1818" y="2862"/>
                </a:lnTo>
                <a:lnTo>
                  <a:pt x="1824" y="2862"/>
                </a:lnTo>
                <a:lnTo>
                  <a:pt x="1824" y="2898"/>
                </a:lnTo>
                <a:lnTo>
                  <a:pt x="1818" y="2904"/>
                </a:lnTo>
                <a:lnTo>
                  <a:pt x="1818" y="2910"/>
                </a:lnTo>
                <a:lnTo>
                  <a:pt x="1812" y="2916"/>
                </a:lnTo>
                <a:lnTo>
                  <a:pt x="1812" y="2934"/>
                </a:lnTo>
                <a:lnTo>
                  <a:pt x="1800" y="2940"/>
                </a:lnTo>
                <a:lnTo>
                  <a:pt x="1800" y="2952"/>
                </a:lnTo>
                <a:lnTo>
                  <a:pt x="1776" y="2982"/>
                </a:lnTo>
                <a:lnTo>
                  <a:pt x="1746" y="3006"/>
                </a:lnTo>
                <a:lnTo>
                  <a:pt x="1752" y="3012"/>
                </a:lnTo>
                <a:lnTo>
                  <a:pt x="1770" y="3012"/>
                </a:lnTo>
                <a:lnTo>
                  <a:pt x="1770" y="2994"/>
                </a:lnTo>
                <a:lnTo>
                  <a:pt x="1776" y="2988"/>
                </a:lnTo>
                <a:lnTo>
                  <a:pt x="1788" y="2988"/>
                </a:lnTo>
                <a:lnTo>
                  <a:pt x="1794" y="2982"/>
                </a:lnTo>
                <a:lnTo>
                  <a:pt x="1800" y="2982"/>
                </a:lnTo>
                <a:lnTo>
                  <a:pt x="1812" y="2964"/>
                </a:lnTo>
                <a:lnTo>
                  <a:pt x="1824" y="2940"/>
                </a:lnTo>
                <a:lnTo>
                  <a:pt x="1848" y="2880"/>
                </a:lnTo>
                <a:lnTo>
                  <a:pt x="1860" y="2832"/>
                </a:lnTo>
                <a:lnTo>
                  <a:pt x="1872" y="2808"/>
                </a:lnTo>
                <a:lnTo>
                  <a:pt x="1878" y="2790"/>
                </a:lnTo>
                <a:lnTo>
                  <a:pt x="1884" y="2778"/>
                </a:lnTo>
                <a:lnTo>
                  <a:pt x="1896" y="2772"/>
                </a:lnTo>
                <a:lnTo>
                  <a:pt x="1902" y="2760"/>
                </a:lnTo>
                <a:lnTo>
                  <a:pt x="1926" y="2736"/>
                </a:lnTo>
                <a:lnTo>
                  <a:pt x="1926" y="2724"/>
                </a:lnTo>
                <a:lnTo>
                  <a:pt x="1920" y="2718"/>
                </a:lnTo>
                <a:lnTo>
                  <a:pt x="1938" y="2706"/>
                </a:lnTo>
                <a:lnTo>
                  <a:pt x="1932" y="2670"/>
                </a:lnTo>
                <a:lnTo>
                  <a:pt x="1938" y="2646"/>
                </a:lnTo>
                <a:lnTo>
                  <a:pt x="1926" y="2640"/>
                </a:lnTo>
                <a:lnTo>
                  <a:pt x="1932" y="2634"/>
                </a:lnTo>
                <a:lnTo>
                  <a:pt x="1938" y="2622"/>
                </a:lnTo>
                <a:lnTo>
                  <a:pt x="1938" y="2610"/>
                </a:lnTo>
                <a:lnTo>
                  <a:pt x="1932" y="2604"/>
                </a:lnTo>
                <a:lnTo>
                  <a:pt x="1920" y="2598"/>
                </a:lnTo>
                <a:lnTo>
                  <a:pt x="1914" y="2592"/>
                </a:lnTo>
                <a:lnTo>
                  <a:pt x="1914" y="2556"/>
                </a:lnTo>
                <a:lnTo>
                  <a:pt x="1896" y="2544"/>
                </a:lnTo>
                <a:lnTo>
                  <a:pt x="1920" y="2544"/>
                </a:lnTo>
                <a:lnTo>
                  <a:pt x="1914" y="2520"/>
                </a:lnTo>
                <a:lnTo>
                  <a:pt x="1902" y="2508"/>
                </a:lnTo>
                <a:lnTo>
                  <a:pt x="1908" y="2508"/>
                </a:lnTo>
                <a:lnTo>
                  <a:pt x="1920" y="2502"/>
                </a:lnTo>
                <a:lnTo>
                  <a:pt x="1920" y="2490"/>
                </a:lnTo>
                <a:lnTo>
                  <a:pt x="1914" y="2490"/>
                </a:lnTo>
                <a:lnTo>
                  <a:pt x="1902" y="2484"/>
                </a:lnTo>
                <a:lnTo>
                  <a:pt x="1896" y="2478"/>
                </a:lnTo>
                <a:lnTo>
                  <a:pt x="1920" y="2460"/>
                </a:lnTo>
                <a:lnTo>
                  <a:pt x="1932" y="2472"/>
                </a:lnTo>
                <a:lnTo>
                  <a:pt x="1944" y="2478"/>
                </a:lnTo>
                <a:lnTo>
                  <a:pt x="1950" y="2478"/>
                </a:lnTo>
                <a:lnTo>
                  <a:pt x="1950" y="2448"/>
                </a:lnTo>
                <a:lnTo>
                  <a:pt x="1962" y="2424"/>
                </a:lnTo>
                <a:lnTo>
                  <a:pt x="1974" y="2418"/>
                </a:lnTo>
                <a:lnTo>
                  <a:pt x="1980" y="2418"/>
                </a:lnTo>
                <a:lnTo>
                  <a:pt x="2004" y="2406"/>
                </a:lnTo>
                <a:lnTo>
                  <a:pt x="2010" y="2394"/>
                </a:lnTo>
                <a:lnTo>
                  <a:pt x="2010" y="2382"/>
                </a:lnTo>
                <a:lnTo>
                  <a:pt x="2016" y="2376"/>
                </a:lnTo>
                <a:lnTo>
                  <a:pt x="2028" y="2376"/>
                </a:lnTo>
                <a:lnTo>
                  <a:pt x="2034" y="2370"/>
                </a:lnTo>
                <a:lnTo>
                  <a:pt x="2046" y="2370"/>
                </a:lnTo>
                <a:lnTo>
                  <a:pt x="2046" y="2358"/>
                </a:lnTo>
                <a:lnTo>
                  <a:pt x="2070" y="2358"/>
                </a:lnTo>
                <a:lnTo>
                  <a:pt x="2070" y="2340"/>
                </a:lnTo>
                <a:lnTo>
                  <a:pt x="2118" y="2340"/>
                </a:lnTo>
                <a:lnTo>
                  <a:pt x="2124" y="2358"/>
                </a:lnTo>
                <a:lnTo>
                  <a:pt x="2136" y="2352"/>
                </a:lnTo>
                <a:lnTo>
                  <a:pt x="2118" y="2334"/>
                </a:lnTo>
                <a:lnTo>
                  <a:pt x="2136" y="2316"/>
                </a:lnTo>
                <a:lnTo>
                  <a:pt x="2142" y="2316"/>
                </a:lnTo>
                <a:lnTo>
                  <a:pt x="2154" y="2310"/>
                </a:lnTo>
                <a:lnTo>
                  <a:pt x="2178" y="2310"/>
                </a:lnTo>
                <a:lnTo>
                  <a:pt x="2160" y="2292"/>
                </a:lnTo>
                <a:lnTo>
                  <a:pt x="2172" y="2286"/>
                </a:lnTo>
                <a:lnTo>
                  <a:pt x="2178" y="2280"/>
                </a:lnTo>
                <a:lnTo>
                  <a:pt x="2190" y="2280"/>
                </a:lnTo>
                <a:lnTo>
                  <a:pt x="2190" y="2304"/>
                </a:lnTo>
                <a:lnTo>
                  <a:pt x="2196" y="2304"/>
                </a:lnTo>
                <a:lnTo>
                  <a:pt x="2196" y="2298"/>
                </a:lnTo>
                <a:lnTo>
                  <a:pt x="2202" y="2286"/>
                </a:lnTo>
                <a:lnTo>
                  <a:pt x="2208" y="2280"/>
                </a:lnTo>
                <a:lnTo>
                  <a:pt x="2244" y="2286"/>
                </a:lnTo>
                <a:lnTo>
                  <a:pt x="2244" y="2280"/>
                </a:lnTo>
                <a:lnTo>
                  <a:pt x="2250" y="2274"/>
                </a:lnTo>
                <a:lnTo>
                  <a:pt x="2250" y="2268"/>
                </a:lnTo>
                <a:lnTo>
                  <a:pt x="2256" y="2262"/>
                </a:lnTo>
                <a:lnTo>
                  <a:pt x="2268" y="2256"/>
                </a:lnTo>
                <a:lnTo>
                  <a:pt x="2274" y="2256"/>
                </a:lnTo>
                <a:lnTo>
                  <a:pt x="2280" y="2262"/>
                </a:lnTo>
                <a:lnTo>
                  <a:pt x="2280" y="2286"/>
                </a:lnTo>
                <a:lnTo>
                  <a:pt x="2346" y="2280"/>
                </a:lnTo>
                <a:lnTo>
                  <a:pt x="2352" y="2262"/>
                </a:lnTo>
                <a:lnTo>
                  <a:pt x="2346" y="2250"/>
                </a:lnTo>
                <a:lnTo>
                  <a:pt x="2352" y="2244"/>
                </a:lnTo>
                <a:lnTo>
                  <a:pt x="2358" y="2232"/>
                </a:lnTo>
                <a:lnTo>
                  <a:pt x="2370" y="2220"/>
                </a:lnTo>
                <a:lnTo>
                  <a:pt x="2406" y="2202"/>
                </a:lnTo>
                <a:lnTo>
                  <a:pt x="2418" y="2202"/>
                </a:lnTo>
                <a:lnTo>
                  <a:pt x="2412" y="2190"/>
                </a:lnTo>
                <a:lnTo>
                  <a:pt x="2412" y="2112"/>
                </a:lnTo>
                <a:lnTo>
                  <a:pt x="2442" y="2082"/>
                </a:lnTo>
                <a:lnTo>
                  <a:pt x="2442" y="2058"/>
                </a:lnTo>
                <a:lnTo>
                  <a:pt x="2460" y="2052"/>
                </a:lnTo>
                <a:lnTo>
                  <a:pt x="2460" y="2022"/>
                </a:lnTo>
                <a:lnTo>
                  <a:pt x="2466" y="2022"/>
                </a:lnTo>
                <a:lnTo>
                  <a:pt x="2472" y="2016"/>
                </a:lnTo>
                <a:lnTo>
                  <a:pt x="2478" y="2016"/>
                </a:lnTo>
                <a:lnTo>
                  <a:pt x="2478" y="2010"/>
                </a:lnTo>
                <a:lnTo>
                  <a:pt x="2484" y="2004"/>
                </a:lnTo>
                <a:lnTo>
                  <a:pt x="2484" y="1956"/>
                </a:lnTo>
                <a:lnTo>
                  <a:pt x="2478" y="1944"/>
                </a:lnTo>
                <a:lnTo>
                  <a:pt x="2478" y="1926"/>
                </a:lnTo>
                <a:lnTo>
                  <a:pt x="2472" y="1908"/>
                </a:lnTo>
                <a:lnTo>
                  <a:pt x="2484" y="1884"/>
                </a:lnTo>
                <a:lnTo>
                  <a:pt x="2514" y="1854"/>
                </a:lnTo>
                <a:lnTo>
                  <a:pt x="2514" y="1848"/>
                </a:lnTo>
                <a:lnTo>
                  <a:pt x="2508" y="1836"/>
                </a:lnTo>
                <a:lnTo>
                  <a:pt x="2508" y="1830"/>
                </a:lnTo>
                <a:lnTo>
                  <a:pt x="2502" y="1818"/>
                </a:lnTo>
                <a:lnTo>
                  <a:pt x="2508" y="1764"/>
                </a:lnTo>
                <a:lnTo>
                  <a:pt x="2508" y="1758"/>
                </a:lnTo>
                <a:lnTo>
                  <a:pt x="2514" y="1752"/>
                </a:lnTo>
                <a:lnTo>
                  <a:pt x="2514" y="1722"/>
                </a:lnTo>
                <a:lnTo>
                  <a:pt x="2520" y="1710"/>
                </a:lnTo>
                <a:lnTo>
                  <a:pt x="2520" y="1680"/>
                </a:lnTo>
                <a:lnTo>
                  <a:pt x="2508" y="1644"/>
                </a:lnTo>
                <a:lnTo>
                  <a:pt x="2502" y="1608"/>
                </a:lnTo>
                <a:lnTo>
                  <a:pt x="2502" y="1596"/>
                </a:lnTo>
                <a:lnTo>
                  <a:pt x="2508" y="1560"/>
                </a:lnTo>
                <a:lnTo>
                  <a:pt x="2508" y="1548"/>
                </a:lnTo>
                <a:lnTo>
                  <a:pt x="2502" y="1536"/>
                </a:lnTo>
                <a:lnTo>
                  <a:pt x="2502" y="1500"/>
                </a:lnTo>
                <a:lnTo>
                  <a:pt x="2508" y="1488"/>
                </a:lnTo>
                <a:lnTo>
                  <a:pt x="2520" y="1476"/>
                </a:lnTo>
                <a:lnTo>
                  <a:pt x="2508" y="1458"/>
                </a:lnTo>
                <a:lnTo>
                  <a:pt x="2520" y="1446"/>
                </a:lnTo>
                <a:lnTo>
                  <a:pt x="2532" y="1446"/>
                </a:lnTo>
                <a:lnTo>
                  <a:pt x="2532" y="1452"/>
                </a:lnTo>
                <a:lnTo>
                  <a:pt x="2538" y="1464"/>
                </a:lnTo>
                <a:lnTo>
                  <a:pt x="2544" y="1470"/>
                </a:lnTo>
                <a:lnTo>
                  <a:pt x="2556" y="1464"/>
                </a:lnTo>
                <a:lnTo>
                  <a:pt x="2562" y="1452"/>
                </a:lnTo>
                <a:lnTo>
                  <a:pt x="2574" y="1446"/>
                </a:lnTo>
                <a:lnTo>
                  <a:pt x="2580" y="1434"/>
                </a:lnTo>
                <a:lnTo>
                  <a:pt x="2586" y="1428"/>
                </a:lnTo>
                <a:lnTo>
                  <a:pt x="2592" y="1416"/>
                </a:lnTo>
                <a:lnTo>
                  <a:pt x="2592" y="1404"/>
                </a:lnTo>
                <a:lnTo>
                  <a:pt x="2598" y="1386"/>
                </a:lnTo>
                <a:lnTo>
                  <a:pt x="2598" y="1374"/>
                </a:lnTo>
                <a:lnTo>
                  <a:pt x="2604" y="1356"/>
                </a:lnTo>
                <a:lnTo>
                  <a:pt x="2604" y="1344"/>
                </a:lnTo>
                <a:lnTo>
                  <a:pt x="2610" y="1338"/>
                </a:lnTo>
                <a:lnTo>
                  <a:pt x="2616" y="1338"/>
                </a:lnTo>
                <a:lnTo>
                  <a:pt x="2628" y="1326"/>
                </a:lnTo>
                <a:lnTo>
                  <a:pt x="2634" y="1314"/>
                </a:lnTo>
                <a:lnTo>
                  <a:pt x="2640" y="1308"/>
                </a:lnTo>
                <a:lnTo>
                  <a:pt x="2640" y="1296"/>
                </a:lnTo>
                <a:lnTo>
                  <a:pt x="2652" y="1290"/>
                </a:lnTo>
                <a:lnTo>
                  <a:pt x="2658" y="1284"/>
                </a:lnTo>
                <a:lnTo>
                  <a:pt x="2670" y="1284"/>
                </a:lnTo>
                <a:lnTo>
                  <a:pt x="2682" y="1272"/>
                </a:lnTo>
                <a:lnTo>
                  <a:pt x="2682" y="1254"/>
                </a:lnTo>
                <a:lnTo>
                  <a:pt x="2688" y="1254"/>
                </a:lnTo>
                <a:lnTo>
                  <a:pt x="2724" y="1218"/>
                </a:lnTo>
                <a:lnTo>
                  <a:pt x="2736" y="1188"/>
                </a:lnTo>
                <a:lnTo>
                  <a:pt x="2754" y="1158"/>
                </a:lnTo>
                <a:lnTo>
                  <a:pt x="2760" y="1134"/>
                </a:lnTo>
                <a:lnTo>
                  <a:pt x="2766" y="1122"/>
                </a:lnTo>
                <a:lnTo>
                  <a:pt x="2772" y="1116"/>
                </a:lnTo>
                <a:lnTo>
                  <a:pt x="2778" y="1104"/>
                </a:lnTo>
                <a:lnTo>
                  <a:pt x="2784" y="1098"/>
                </a:lnTo>
                <a:lnTo>
                  <a:pt x="2784" y="1080"/>
                </a:lnTo>
                <a:lnTo>
                  <a:pt x="2778" y="1068"/>
                </a:lnTo>
                <a:lnTo>
                  <a:pt x="2778" y="1002"/>
                </a:lnTo>
                <a:close/>
              </a:path>
            </a:pathLst>
          </a:custGeom>
          <a:solidFill>
            <a:srgbClr val="76B856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9" name="Botswana"/>
          <p:cNvSpPr>
            <a:spLocks/>
          </p:cNvSpPr>
          <p:nvPr/>
        </p:nvSpPr>
        <p:spPr bwMode="gray">
          <a:xfrm>
            <a:off x="4580796" y="4836193"/>
            <a:ext cx="260350" cy="293687"/>
          </a:xfrm>
          <a:custGeom>
            <a:avLst/>
            <a:gdLst>
              <a:gd name="T0" fmla="*/ 2147483647 w 648"/>
              <a:gd name="T1" fmla="*/ 2147483647 h 732"/>
              <a:gd name="T2" fmla="*/ 2147483647 w 648"/>
              <a:gd name="T3" fmla="*/ 2147483647 h 732"/>
              <a:gd name="T4" fmla="*/ 2147483647 w 648"/>
              <a:gd name="T5" fmla="*/ 2147483647 h 732"/>
              <a:gd name="T6" fmla="*/ 2147483647 w 648"/>
              <a:gd name="T7" fmla="*/ 2147483647 h 732"/>
              <a:gd name="T8" fmla="*/ 2147483647 w 648"/>
              <a:gd name="T9" fmla="*/ 2147483647 h 732"/>
              <a:gd name="T10" fmla="*/ 2147483647 w 648"/>
              <a:gd name="T11" fmla="*/ 2147483647 h 732"/>
              <a:gd name="T12" fmla="*/ 2147483647 w 648"/>
              <a:gd name="T13" fmla="*/ 2147483647 h 732"/>
              <a:gd name="T14" fmla="*/ 2147483647 w 648"/>
              <a:gd name="T15" fmla="*/ 2147483647 h 732"/>
              <a:gd name="T16" fmla="*/ 2147483647 w 648"/>
              <a:gd name="T17" fmla="*/ 2147483647 h 732"/>
              <a:gd name="T18" fmla="*/ 2147483647 w 648"/>
              <a:gd name="T19" fmla="*/ 2147483647 h 732"/>
              <a:gd name="T20" fmla="*/ 2147483647 w 648"/>
              <a:gd name="T21" fmla="*/ 2147483647 h 732"/>
              <a:gd name="T22" fmla="*/ 2147483647 w 648"/>
              <a:gd name="T23" fmla="*/ 2147483647 h 732"/>
              <a:gd name="T24" fmla="*/ 2147483647 w 648"/>
              <a:gd name="T25" fmla="*/ 2147483647 h 732"/>
              <a:gd name="T26" fmla="*/ 2147483647 w 648"/>
              <a:gd name="T27" fmla="*/ 2147483647 h 732"/>
              <a:gd name="T28" fmla="*/ 2147483647 w 648"/>
              <a:gd name="T29" fmla="*/ 2147483647 h 732"/>
              <a:gd name="T30" fmla="*/ 2147483647 w 648"/>
              <a:gd name="T31" fmla="*/ 2147483647 h 732"/>
              <a:gd name="T32" fmla="*/ 2147483647 w 648"/>
              <a:gd name="T33" fmla="*/ 2147483647 h 732"/>
              <a:gd name="T34" fmla="*/ 2147483647 w 648"/>
              <a:gd name="T35" fmla="*/ 2147483647 h 732"/>
              <a:gd name="T36" fmla="*/ 2147483647 w 648"/>
              <a:gd name="T37" fmla="*/ 2147483647 h 732"/>
              <a:gd name="T38" fmla="*/ 2147483647 w 648"/>
              <a:gd name="T39" fmla="*/ 2147483647 h 732"/>
              <a:gd name="T40" fmla="*/ 2147483647 w 648"/>
              <a:gd name="T41" fmla="*/ 2147483647 h 732"/>
              <a:gd name="T42" fmla="*/ 2147483647 w 648"/>
              <a:gd name="T43" fmla="*/ 2147483647 h 732"/>
              <a:gd name="T44" fmla="*/ 2147483647 w 648"/>
              <a:gd name="T45" fmla="*/ 2147483647 h 732"/>
              <a:gd name="T46" fmla="*/ 2147483647 w 648"/>
              <a:gd name="T47" fmla="*/ 2147483647 h 732"/>
              <a:gd name="T48" fmla="*/ 2147483647 w 648"/>
              <a:gd name="T49" fmla="*/ 2147483647 h 732"/>
              <a:gd name="T50" fmla="*/ 2147483647 w 648"/>
              <a:gd name="T51" fmla="*/ 2147483647 h 732"/>
              <a:gd name="T52" fmla="*/ 2147483647 w 648"/>
              <a:gd name="T53" fmla="*/ 2147483647 h 732"/>
              <a:gd name="T54" fmla="*/ 2147483647 w 648"/>
              <a:gd name="T55" fmla="*/ 2147483647 h 732"/>
              <a:gd name="T56" fmla="*/ 2147483647 w 648"/>
              <a:gd name="T57" fmla="*/ 2147483647 h 732"/>
              <a:gd name="T58" fmla="*/ 2147483647 w 648"/>
              <a:gd name="T59" fmla="*/ 2147483647 h 732"/>
              <a:gd name="T60" fmla="*/ 2147483647 w 648"/>
              <a:gd name="T61" fmla="*/ 2147483647 h 732"/>
              <a:gd name="T62" fmla="*/ 2147483647 w 648"/>
              <a:gd name="T63" fmla="*/ 2147483647 h 732"/>
              <a:gd name="T64" fmla="*/ 2147483647 w 648"/>
              <a:gd name="T65" fmla="*/ 2147483647 h 732"/>
              <a:gd name="T66" fmla="*/ 2147483647 w 648"/>
              <a:gd name="T67" fmla="*/ 2147483647 h 732"/>
              <a:gd name="T68" fmla="*/ 2147483647 w 648"/>
              <a:gd name="T69" fmla="*/ 2147483647 h 732"/>
              <a:gd name="T70" fmla="*/ 2147483647 w 648"/>
              <a:gd name="T71" fmla="*/ 2147483647 h 732"/>
              <a:gd name="T72" fmla="*/ 2147483647 w 648"/>
              <a:gd name="T73" fmla="*/ 2147483647 h 732"/>
              <a:gd name="T74" fmla="*/ 2147483647 w 648"/>
              <a:gd name="T75" fmla="*/ 2147483647 h 732"/>
              <a:gd name="T76" fmla="*/ 2147483647 w 648"/>
              <a:gd name="T77" fmla="*/ 2147483647 h 732"/>
              <a:gd name="T78" fmla="*/ 2147483647 w 648"/>
              <a:gd name="T79" fmla="*/ 2147483647 h 732"/>
              <a:gd name="T80" fmla="*/ 2147483647 w 648"/>
              <a:gd name="T81" fmla="*/ 2147483647 h 732"/>
              <a:gd name="T82" fmla="*/ 2147483647 w 648"/>
              <a:gd name="T83" fmla="*/ 2147483647 h 732"/>
              <a:gd name="T84" fmla="*/ 2147483647 w 648"/>
              <a:gd name="T85" fmla="*/ 2147483647 h 732"/>
              <a:gd name="T86" fmla="*/ 2147483647 w 648"/>
              <a:gd name="T87" fmla="*/ 2147483647 h 732"/>
              <a:gd name="T88" fmla="*/ 2147483647 w 648"/>
              <a:gd name="T89" fmla="*/ 2147483647 h 732"/>
              <a:gd name="T90" fmla="*/ 2147483647 w 648"/>
              <a:gd name="T91" fmla="*/ 2147483647 h 732"/>
              <a:gd name="T92" fmla="*/ 2147483647 w 648"/>
              <a:gd name="T93" fmla="*/ 2147483647 h 732"/>
              <a:gd name="T94" fmla="*/ 2147483647 w 648"/>
              <a:gd name="T95" fmla="*/ 0 h 732"/>
              <a:gd name="T96" fmla="*/ 2147483647 w 648"/>
              <a:gd name="T97" fmla="*/ 2147483647 h 732"/>
              <a:gd name="T98" fmla="*/ 2147483647 w 648"/>
              <a:gd name="T99" fmla="*/ 2147483647 h 732"/>
              <a:gd name="T100" fmla="*/ 2147483647 w 648"/>
              <a:gd name="T101" fmla="*/ 2147483647 h 732"/>
              <a:gd name="T102" fmla="*/ 2147483647 w 648"/>
              <a:gd name="T103" fmla="*/ 2147483647 h 732"/>
              <a:gd name="T104" fmla="*/ 2147483647 w 648"/>
              <a:gd name="T105" fmla="*/ 2147483647 h 732"/>
              <a:gd name="T106" fmla="*/ 2147483647 w 648"/>
              <a:gd name="T107" fmla="*/ 2147483647 h 732"/>
              <a:gd name="T108" fmla="*/ 2147483647 w 648"/>
              <a:gd name="T109" fmla="*/ 2147483647 h 732"/>
              <a:gd name="T110" fmla="*/ 2147483647 w 648"/>
              <a:gd name="T111" fmla="*/ 2147483647 h 732"/>
              <a:gd name="T112" fmla="*/ 2147483647 w 648"/>
              <a:gd name="T113" fmla="*/ 2147483647 h 732"/>
              <a:gd name="T114" fmla="*/ 0 w 648"/>
              <a:gd name="T115" fmla="*/ 2147483647 h 73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48"/>
              <a:gd name="T175" fmla="*/ 0 h 732"/>
              <a:gd name="T176" fmla="*/ 648 w 648"/>
              <a:gd name="T177" fmla="*/ 732 h 73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48" h="732">
                <a:moveTo>
                  <a:pt x="0" y="570"/>
                </a:moveTo>
                <a:lnTo>
                  <a:pt x="12" y="576"/>
                </a:lnTo>
                <a:lnTo>
                  <a:pt x="18" y="582"/>
                </a:lnTo>
                <a:lnTo>
                  <a:pt x="30" y="588"/>
                </a:lnTo>
                <a:lnTo>
                  <a:pt x="36" y="594"/>
                </a:lnTo>
                <a:lnTo>
                  <a:pt x="42" y="612"/>
                </a:lnTo>
                <a:lnTo>
                  <a:pt x="48" y="624"/>
                </a:lnTo>
                <a:lnTo>
                  <a:pt x="48" y="642"/>
                </a:lnTo>
                <a:lnTo>
                  <a:pt x="54" y="648"/>
                </a:lnTo>
                <a:lnTo>
                  <a:pt x="54" y="672"/>
                </a:lnTo>
                <a:lnTo>
                  <a:pt x="48" y="684"/>
                </a:lnTo>
                <a:lnTo>
                  <a:pt x="48" y="690"/>
                </a:lnTo>
                <a:lnTo>
                  <a:pt x="42" y="702"/>
                </a:lnTo>
                <a:lnTo>
                  <a:pt x="42" y="732"/>
                </a:lnTo>
                <a:lnTo>
                  <a:pt x="120" y="732"/>
                </a:lnTo>
                <a:lnTo>
                  <a:pt x="120" y="714"/>
                </a:lnTo>
                <a:lnTo>
                  <a:pt x="144" y="714"/>
                </a:lnTo>
                <a:lnTo>
                  <a:pt x="144" y="708"/>
                </a:lnTo>
                <a:lnTo>
                  <a:pt x="150" y="702"/>
                </a:lnTo>
                <a:lnTo>
                  <a:pt x="156" y="690"/>
                </a:lnTo>
                <a:lnTo>
                  <a:pt x="162" y="684"/>
                </a:lnTo>
                <a:lnTo>
                  <a:pt x="168" y="684"/>
                </a:lnTo>
                <a:lnTo>
                  <a:pt x="174" y="678"/>
                </a:lnTo>
                <a:lnTo>
                  <a:pt x="186" y="678"/>
                </a:lnTo>
                <a:lnTo>
                  <a:pt x="186" y="654"/>
                </a:lnTo>
                <a:lnTo>
                  <a:pt x="192" y="642"/>
                </a:lnTo>
                <a:lnTo>
                  <a:pt x="192" y="630"/>
                </a:lnTo>
                <a:lnTo>
                  <a:pt x="198" y="618"/>
                </a:lnTo>
                <a:lnTo>
                  <a:pt x="204" y="612"/>
                </a:lnTo>
                <a:lnTo>
                  <a:pt x="216" y="606"/>
                </a:lnTo>
                <a:lnTo>
                  <a:pt x="228" y="606"/>
                </a:lnTo>
                <a:lnTo>
                  <a:pt x="240" y="612"/>
                </a:lnTo>
                <a:lnTo>
                  <a:pt x="246" y="618"/>
                </a:lnTo>
                <a:lnTo>
                  <a:pt x="258" y="624"/>
                </a:lnTo>
                <a:lnTo>
                  <a:pt x="270" y="636"/>
                </a:lnTo>
                <a:lnTo>
                  <a:pt x="300" y="636"/>
                </a:lnTo>
                <a:lnTo>
                  <a:pt x="306" y="642"/>
                </a:lnTo>
                <a:lnTo>
                  <a:pt x="318" y="648"/>
                </a:lnTo>
                <a:lnTo>
                  <a:pt x="324" y="654"/>
                </a:lnTo>
                <a:lnTo>
                  <a:pt x="336" y="654"/>
                </a:lnTo>
                <a:lnTo>
                  <a:pt x="348" y="648"/>
                </a:lnTo>
                <a:lnTo>
                  <a:pt x="354" y="642"/>
                </a:lnTo>
                <a:lnTo>
                  <a:pt x="360" y="648"/>
                </a:lnTo>
                <a:lnTo>
                  <a:pt x="372" y="648"/>
                </a:lnTo>
                <a:lnTo>
                  <a:pt x="384" y="642"/>
                </a:lnTo>
                <a:lnTo>
                  <a:pt x="390" y="636"/>
                </a:lnTo>
                <a:lnTo>
                  <a:pt x="396" y="624"/>
                </a:lnTo>
                <a:lnTo>
                  <a:pt x="402" y="606"/>
                </a:lnTo>
                <a:lnTo>
                  <a:pt x="408" y="594"/>
                </a:lnTo>
                <a:lnTo>
                  <a:pt x="408" y="582"/>
                </a:lnTo>
                <a:lnTo>
                  <a:pt x="426" y="564"/>
                </a:lnTo>
                <a:lnTo>
                  <a:pt x="444" y="558"/>
                </a:lnTo>
                <a:lnTo>
                  <a:pt x="456" y="552"/>
                </a:lnTo>
                <a:lnTo>
                  <a:pt x="462" y="546"/>
                </a:lnTo>
                <a:lnTo>
                  <a:pt x="468" y="534"/>
                </a:lnTo>
                <a:lnTo>
                  <a:pt x="480" y="528"/>
                </a:lnTo>
                <a:lnTo>
                  <a:pt x="480" y="492"/>
                </a:lnTo>
                <a:lnTo>
                  <a:pt x="492" y="468"/>
                </a:lnTo>
                <a:lnTo>
                  <a:pt x="504" y="462"/>
                </a:lnTo>
                <a:lnTo>
                  <a:pt x="510" y="462"/>
                </a:lnTo>
                <a:lnTo>
                  <a:pt x="522" y="456"/>
                </a:lnTo>
                <a:lnTo>
                  <a:pt x="564" y="414"/>
                </a:lnTo>
                <a:lnTo>
                  <a:pt x="576" y="390"/>
                </a:lnTo>
                <a:lnTo>
                  <a:pt x="582" y="384"/>
                </a:lnTo>
                <a:lnTo>
                  <a:pt x="594" y="384"/>
                </a:lnTo>
                <a:lnTo>
                  <a:pt x="606" y="378"/>
                </a:lnTo>
                <a:lnTo>
                  <a:pt x="618" y="378"/>
                </a:lnTo>
                <a:lnTo>
                  <a:pt x="630" y="354"/>
                </a:lnTo>
                <a:lnTo>
                  <a:pt x="648" y="354"/>
                </a:lnTo>
                <a:lnTo>
                  <a:pt x="648" y="348"/>
                </a:lnTo>
                <a:lnTo>
                  <a:pt x="642" y="336"/>
                </a:lnTo>
                <a:lnTo>
                  <a:pt x="624" y="318"/>
                </a:lnTo>
                <a:lnTo>
                  <a:pt x="606" y="312"/>
                </a:lnTo>
                <a:lnTo>
                  <a:pt x="594" y="312"/>
                </a:lnTo>
                <a:lnTo>
                  <a:pt x="576" y="306"/>
                </a:lnTo>
                <a:lnTo>
                  <a:pt x="564" y="306"/>
                </a:lnTo>
                <a:lnTo>
                  <a:pt x="564" y="276"/>
                </a:lnTo>
                <a:lnTo>
                  <a:pt x="546" y="276"/>
                </a:lnTo>
                <a:lnTo>
                  <a:pt x="546" y="246"/>
                </a:lnTo>
                <a:lnTo>
                  <a:pt x="552" y="240"/>
                </a:lnTo>
                <a:lnTo>
                  <a:pt x="546" y="216"/>
                </a:lnTo>
                <a:lnTo>
                  <a:pt x="516" y="216"/>
                </a:lnTo>
                <a:lnTo>
                  <a:pt x="516" y="186"/>
                </a:lnTo>
                <a:lnTo>
                  <a:pt x="510" y="180"/>
                </a:lnTo>
                <a:lnTo>
                  <a:pt x="480" y="180"/>
                </a:lnTo>
                <a:lnTo>
                  <a:pt x="462" y="162"/>
                </a:lnTo>
                <a:lnTo>
                  <a:pt x="450" y="156"/>
                </a:lnTo>
                <a:lnTo>
                  <a:pt x="432" y="120"/>
                </a:lnTo>
                <a:lnTo>
                  <a:pt x="432" y="96"/>
                </a:lnTo>
                <a:lnTo>
                  <a:pt x="426" y="90"/>
                </a:lnTo>
                <a:lnTo>
                  <a:pt x="414" y="66"/>
                </a:lnTo>
                <a:lnTo>
                  <a:pt x="408" y="60"/>
                </a:lnTo>
                <a:lnTo>
                  <a:pt x="396" y="60"/>
                </a:lnTo>
                <a:lnTo>
                  <a:pt x="396" y="30"/>
                </a:lnTo>
                <a:lnTo>
                  <a:pt x="384" y="18"/>
                </a:lnTo>
                <a:lnTo>
                  <a:pt x="378" y="0"/>
                </a:lnTo>
                <a:lnTo>
                  <a:pt x="342" y="6"/>
                </a:lnTo>
                <a:lnTo>
                  <a:pt x="330" y="18"/>
                </a:lnTo>
                <a:lnTo>
                  <a:pt x="306" y="18"/>
                </a:lnTo>
                <a:lnTo>
                  <a:pt x="264" y="60"/>
                </a:lnTo>
                <a:lnTo>
                  <a:pt x="258" y="60"/>
                </a:lnTo>
                <a:lnTo>
                  <a:pt x="258" y="42"/>
                </a:lnTo>
                <a:lnTo>
                  <a:pt x="252" y="42"/>
                </a:lnTo>
                <a:lnTo>
                  <a:pt x="252" y="24"/>
                </a:lnTo>
                <a:lnTo>
                  <a:pt x="246" y="18"/>
                </a:lnTo>
                <a:lnTo>
                  <a:pt x="228" y="18"/>
                </a:lnTo>
                <a:lnTo>
                  <a:pt x="216" y="24"/>
                </a:lnTo>
                <a:lnTo>
                  <a:pt x="168" y="36"/>
                </a:lnTo>
                <a:lnTo>
                  <a:pt x="132" y="36"/>
                </a:lnTo>
                <a:lnTo>
                  <a:pt x="114" y="42"/>
                </a:lnTo>
                <a:lnTo>
                  <a:pt x="78" y="42"/>
                </a:lnTo>
                <a:lnTo>
                  <a:pt x="78" y="216"/>
                </a:lnTo>
                <a:lnTo>
                  <a:pt x="72" y="222"/>
                </a:lnTo>
                <a:lnTo>
                  <a:pt x="78" y="348"/>
                </a:lnTo>
                <a:lnTo>
                  <a:pt x="6" y="348"/>
                </a:lnTo>
                <a:lnTo>
                  <a:pt x="0" y="57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0" name="Bosnia and Herzegowina"/>
          <p:cNvSpPr>
            <a:spLocks/>
          </p:cNvSpPr>
          <p:nvPr/>
        </p:nvSpPr>
        <p:spPr bwMode="gray">
          <a:xfrm>
            <a:off x="4445858" y="2793080"/>
            <a:ext cx="106363" cy="95250"/>
          </a:xfrm>
          <a:custGeom>
            <a:avLst/>
            <a:gdLst>
              <a:gd name="T0" fmla="*/ 2147483647 w 264"/>
              <a:gd name="T1" fmla="*/ 2147483647 h 234"/>
              <a:gd name="T2" fmla="*/ 2147483647 w 264"/>
              <a:gd name="T3" fmla="*/ 2147483647 h 234"/>
              <a:gd name="T4" fmla="*/ 2147483647 w 264"/>
              <a:gd name="T5" fmla="*/ 2147483647 h 234"/>
              <a:gd name="T6" fmla="*/ 2147483647 w 264"/>
              <a:gd name="T7" fmla="*/ 2147483647 h 234"/>
              <a:gd name="T8" fmla="*/ 2147483647 w 264"/>
              <a:gd name="T9" fmla="*/ 2147483647 h 234"/>
              <a:gd name="T10" fmla="*/ 2147483647 w 264"/>
              <a:gd name="T11" fmla="*/ 2147483647 h 234"/>
              <a:gd name="T12" fmla="*/ 2147483647 w 264"/>
              <a:gd name="T13" fmla="*/ 2147483647 h 234"/>
              <a:gd name="T14" fmla="*/ 2147483647 w 264"/>
              <a:gd name="T15" fmla="*/ 2147483647 h 234"/>
              <a:gd name="T16" fmla="*/ 2147483647 w 264"/>
              <a:gd name="T17" fmla="*/ 2147483647 h 234"/>
              <a:gd name="T18" fmla="*/ 2147483647 w 264"/>
              <a:gd name="T19" fmla="*/ 2147483647 h 234"/>
              <a:gd name="T20" fmla="*/ 2147483647 w 264"/>
              <a:gd name="T21" fmla="*/ 2147483647 h 234"/>
              <a:gd name="T22" fmla="*/ 2147483647 w 264"/>
              <a:gd name="T23" fmla="*/ 2147483647 h 234"/>
              <a:gd name="T24" fmla="*/ 2147483647 w 264"/>
              <a:gd name="T25" fmla="*/ 2147483647 h 234"/>
              <a:gd name="T26" fmla="*/ 2147483647 w 264"/>
              <a:gd name="T27" fmla="*/ 2147483647 h 234"/>
              <a:gd name="T28" fmla="*/ 2147483647 w 264"/>
              <a:gd name="T29" fmla="*/ 2147483647 h 234"/>
              <a:gd name="T30" fmla="*/ 2147483647 w 264"/>
              <a:gd name="T31" fmla="*/ 2147483647 h 234"/>
              <a:gd name="T32" fmla="*/ 2147483647 w 264"/>
              <a:gd name="T33" fmla="*/ 2147483647 h 234"/>
              <a:gd name="T34" fmla="*/ 2147483647 w 264"/>
              <a:gd name="T35" fmla="*/ 2147483647 h 234"/>
              <a:gd name="T36" fmla="*/ 2147483647 w 264"/>
              <a:gd name="T37" fmla="*/ 2147483647 h 234"/>
              <a:gd name="T38" fmla="*/ 2147483647 w 264"/>
              <a:gd name="T39" fmla="*/ 0 h 234"/>
              <a:gd name="T40" fmla="*/ 2147483647 w 264"/>
              <a:gd name="T41" fmla="*/ 0 h 234"/>
              <a:gd name="T42" fmla="*/ 2147483647 w 264"/>
              <a:gd name="T43" fmla="*/ 2147483647 h 234"/>
              <a:gd name="T44" fmla="*/ 0 w 264"/>
              <a:gd name="T45" fmla="*/ 2147483647 h 234"/>
              <a:gd name="T46" fmla="*/ 2147483647 w 264"/>
              <a:gd name="T47" fmla="*/ 2147483647 h 234"/>
              <a:gd name="T48" fmla="*/ 2147483647 w 264"/>
              <a:gd name="T49" fmla="*/ 2147483647 h 234"/>
              <a:gd name="T50" fmla="*/ 2147483647 w 264"/>
              <a:gd name="T51" fmla="*/ 2147483647 h 234"/>
              <a:gd name="T52" fmla="*/ 2147483647 w 264"/>
              <a:gd name="T53" fmla="*/ 2147483647 h 234"/>
              <a:gd name="T54" fmla="*/ 2147483647 w 264"/>
              <a:gd name="T55" fmla="*/ 2147483647 h 234"/>
              <a:gd name="T56" fmla="*/ 2147483647 w 264"/>
              <a:gd name="T57" fmla="*/ 2147483647 h 234"/>
              <a:gd name="T58" fmla="*/ 2147483647 w 264"/>
              <a:gd name="T59" fmla="*/ 2147483647 h 234"/>
              <a:gd name="T60" fmla="*/ 2147483647 w 264"/>
              <a:gd name="T61" fmla="*/ 2147483647 h 234"/>
              <a:gd name="T62" fmla="*/ 2147483647 w 264"/>
              <a:gd name="T63" fmla="*/ 2147483647 h 234"/>
              <a:gd name="T64" fmla="*/ 2147483647 w 264"/>
              <a:gd name="T65" fmla="*/ 2147483647 h 234"/>
              <a:gd name="T66" fmla="*/ 2147483647 w 264"/>
              <a:gd name="T67" fmla="*/ 2147483647 h 234"/>
              <a:gd name="T68" fmla="*/ 2147483647 w 264"/>
              <a:gd name="T69" fmla="*/ 2147483647 h 234"/>
              <a:gd name="T70" fmla="*/ 2147483647 w 264"/>
              <a:gd name="T71" fmla="*/ 2147483647 h 234"/>
              <a:gd name="T72" fmla="*/ 2147483647 w 264"/>
              <a:gd name="T73" fmla="*/ 2147483647 h 234"/>
              <a:gd name="T74" fmla="*/ 2147483647 w 264"/>
              <a:gd name="T75" fmla="*/ 2147483647 h 234"/>
              <a:gd name="T76" fmla="*/ 2147483647 w 264"/>
              <a:gd name="T77" fmla="*/ 2147483647 h 234"/>
              <a:gd name="T78" fmla="*/ 2147483647 w 264"/>
              <a:gd name="T79" fmla="*/ 2147483647 h 234"/>
              <a:gd name="T80" fmla="*/ 2147483647 w 264"/>
              <a:gd name="T81" fmla="*/ 2147483647 h 234"/>
              <a:gd name="T82" fmla="*/ 2147483647 w 264"/>
              <a:gd name="T83" fmla="*/ 2147483647 h 234"/>
              <a:gd name="T84" fmla="*/ 2147483647 w 264"/>
              <a:gd name="T85" fmla="*/ 2147483647 h 234"/>
              <a:gd name="T86" fmla="*/ 2147483647 w 264"/>
              <a:gd name="T87" fmla="*/ 2147483647 h 234"/>
              <a:gd name="T88" fmla="*/ 2147483647 w 264"/>
              <a:gd name="T89" fmla="*/ 2147483647 h 234"/>
              <a:gd name="T90" fmla="*/ 2147483647 w 264"/>
              <a:gd name="T91" fmla="*/ 2147483647 h 234"/>
              <a:gd name="T92" fmla="*/ 2147483647 w 264"/>
              <a:gd name="T93" fmla="*/ 2147483647 h 234"/>
              <a:gd name="T94" fmla="*/ 2147483647 w 264"/>
              <a:gd name="T95" fmla="*/ 2147483647 h 234"/>
              <a:gd name="T96" fmla="*/ 2147483647 w 264"/>
              <a:gd name="T97" fmla="*/ 2147483647 h 234"/>
              <a:gd name="T98" fmla="*/ 2147483647 w 264"/>
              <a:gd name="T99" fmla="*/ 2147483647 h 234"/>
              <a:gd name="T100" fmla="*/ 2147483647 w 264"/>
              <a:gd name="T101" fmla="*/ 2147483647 h 234"/>
              <a:gd name="T102" fmla="*/ 2147483647 w 264"/>
              <a:gd name="T103" fmla="*/ 2147483647 h 234"/>
              <a:gd name="T104" fmla="*/ 2147483647 w 264"/>
              <a:gd name="T105" fmla="*/ 2147483647 h 234"/>
              <a:gd name="T106" fmla="*/ 2147483647 w 264"/>
              <a:gd name="T107" fmla="*/ 2147483647 h 234"/>
              <a:gd name="T108" fmla="*/ 2147483647 w 264"/>
              <a:gd name="T109" fmla="*/ 2147483647 h 234"/>
              <a:gd name="T110" fmla="*/ 2147483647 w 264"/>
              <a:gd name="T111" fmla="*/ 2147483647 h 234"/>
              <a:gd name="T112" fmla="*/ 2147483647 w 264"/>
              <a:gd name="T113" fmla="*/ 2147483647 h 234"/>
              <a:gd name="T114" fmla="*/ 2147483647 w 264"/>
              <a:gd name="T115" fmla="*/ 2147483647 h 234"/>
              <a:gd name="T116" fmla="*/ 2147483647 w 264"/>
              <a:gd name="T117" fmla="*/ 2147483647 h 234"/>
              <a:gd name="T118" fmla="*/ 2147483647 w 264"/>
              <a:gd name="T119" fmla="*/ 2147483647 h 234"/>
              <a:gd name="T120" fmla="*/ 2147483647 w 264"/>
              <a:gd name="T121" fmla="*/ 2147483647 h 234"/>
              <a:gd name="T122" fmla="*/ 2147483647 w 264"/>
              <a:gd name="T123" fmla="*/ 2147483647 h 234"/>
              <a:gd name="T124" fmla="*/ 2147483647 w 264"/>
              <a:gd name="T125" fmla="*/ 2147483647 h 23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64"/>
              <a:gd name="T190" fmla="*/ 0 h 234"/>
              <a:gd name="T191" fmla="*/ 264 w 264"/>
              <a:gd name="T192" fmla="*/ 234 h 23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64" h="234">
                <a:moveTo>
                  <a:pt x="246" y="78"/>
                </a:moveTo>
                <a:lnTo>
                  <a:pt x="228" y="78"/>
                </a:lnTo>
                <a:lnTo>
                  <a:pt x="228" y="60"/>
                </a:lnTo>
                <a:lnTo>
                  <a:pt x="246" y="42"/>
                </a:lnTo>
                <a:lnTo>
                  <a:pt x="246" y="30"/>
                </a:lnTo>
                <a:lnTo>
                  <a:pt x="234" y="30"/>
                </a:lnTo>
                <a:lnTo>
                  <a:pt x="222" y="36"/>
                </a:lnTo>
                <a:lnTo>
                  <a:pt x="216" y="36"/>
                </a:lnTo>
                <a:lnTo>
                  <a:pt x="216" y="30"/>
                </a:lnTo>
                <a:lnTo>
                  <a:pt x="204" y="30"/>
                </a:lnTo>
                <a:lnTo>
                  <a:pt x="192" y="12"/>
                </a:lnTo>
                <a:lnTo>
                  <a:pt x="138" y="12"/>
                </a:lnTo>
                <a:lnTo>
                  <a:pt x="132" y="6"/>
                </a:lnTo>
                <a:lnTo>
                  <a:pt x="120" y="6"/>
                </a:lnTo>
                <a:lnTo>
                  <a:pt x="108" y="12"/>
                </a:lnTo>
                <a:lnTo>
                  <a:pt x="90" y="6"/>
                </a:lnTo>
                <a:lnTo>
                  <a:pt x="66" y="6"/>
                </a:lnTo>
                <a:lnTo>
                  <a:pt x="42" y="12"/>
                </a:lnTo>
                <a:lnTo>
                  <a:pt x="30" y="6"/>
                </a:lnTo>
                <a:lnTo>
                  <a:pt x="24" y="0"/>
                </a:lnTo>
                <a:lnTo>
                  <a:pt x="18" y="0"/>
                </a:lnTo>
                <a:lnTo>
                  <a:pt x="18" y="24"/>
                </a:lnTo>
                <a:lnTo>
                  <a:pt x="0" y="30"/>
                </a:lnTo>
                <a:lnTo>
                  <a:pt x="12" y="42"/>
                </a:lnTo>
                <a:lnTo>
                  <a:pt x="30" y="48"/>
                </a:lnTo>
                <a:lnTo>
                  <a:pt x="30" y="60"/>
                </a:lnTo>
                <a:lnTo>
                  <a:pt x="36" y="60"/>
                </a:lnTo>
                <a:lnTo>
                  <a:pt x="42" y="66"/>
                </a:lnTo>
                <a:lnTo>
                  <a:pt x="42" y="84"/>
                </a:lnTo>
                <a:lnTo>
                  <a:pt x="60" y="90"/>
                </a:lnTo>
                <a:lnTo>
                  <a:pt x="72" y="120"/>
                </a:lnTo>
                <a:lnTo>
                  <a:pt x="84" y="132"/>
                </a:lnTo>
                <a:lnTo>
                  <a:pt x="96" y="138"/>
                </a:lnTo>
                <a:lnTo>
                  <a:pt x="114" y="150"/>
                </a:lnTo>
                <a:lnTo>
                  <a:pt x="126" y="156"/>
                </a:lnTo>
                <a:lnTo>
                  <a:pt x="132" y="168"/>
                </a:lnTo>
                <a:lnTo>
                  <a:pt x="132" y="174"/>
                </a:lnTo>
                <a:lnTo>
                  <a:pt x="126" y="180"/>
                </a:lnTo>
                <a:lnTo>
                  <a:pt x="138" y="180"/>
                </a:lnTo>
                <a:lnTo>
                  <a:pt x="156" y="198"/>
                </a:lnTo>
                <a:lnTo>
                  <a:pt x="162" y="210"/>
                </a:lnTo>
                <a:lnTo>
                  <a:pt x="174" y="216"/>
                </a:lnTo>
                <a:lnTo>
                  <a:pt x="192" y="234"/>
                </a:lnTo>
                <a:lnTo>
                  <a:pt x="210" y="204"/>
                </a:lnTo>
                <a:lnTo>
                  <a:pt x="198" y="198"/>
                </a:lnTo>
                <a:lnTo>
                  <a:pt x="192" y="198"/>
                </a:lnTo>
                <a:lnTo>
                  <a:pt x="186" y="192"/>
                </a:lnTo>
                <a:lnTo>
                  <a:pt x="186" y="186"/>
                </a:lnTo>
                <a:lnTo>
                  <a:pt x="192" y="180"/>
                </a:lnTo>
                <a:lnTo>
                  <a:pt x="198" y="180"/>
                </a:lnTo>
                <a:lnTo>
                  <a:pt x="204" y="168"/>
                </a:lnTo>
                <a:lnTo>
                  <a:pt x="204" y="162"/>
                </a:lnTo>
                <a:lnTo>
                  <a:pt x="210" y="156"/>
                </a:lnTo>
                <a:lnTo>
                  <a:pt x="228" y="156"/>
                </a:lnTo>
                <a:lnTo>
                  <a:pt x="228" y="132"/>
                </a:lnTo>
                <a:lnTo>
                  <a:pt x="258" y="132"/>
                </a:lnTo>
                <a:lnTo>
                  <a:pt x="258" y="126"/>
                </a:lnTo>
                <a:lnTo>
                  <a:pt x="252" y="114"/>
                </a:lnTo>
                <a:lnTo>
                  <a:pt x="240" y="102"/>
                </a:lnTo>
                <a:lnTo>
                  <a:pt x="264" y="96"/>
                </a:lnTo>
                <a:lnTo>
                  <a:pt x="258" y="84"/>
                </a:lnTo>
                <a:lnTo>
                  <a:pt x="252" y="78"/>
                </a:lnTo>
                <a:lnTo>
                  <a:pt x="246" y="7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1" name="Bolivia"/>
          <p:cNvSpPr>
            <a:spLocks/>
          </p:cNvSpPr>
          <p:nvPr/>
        </p:nvSpPr>
        <p:spPr bwMode="gray">
          <a:xfrm>
            <a:off x="2036033" y="4574255"/>
            <a:ext cx="358775" cy="427038"/>
          </a:xfrm>
          <a:custGeom>
            <a:avLst/>
            <a:gdLst>
              <a:gd name="T0" fmla="*/ 2147483647 w 894"/>
              <a:gd name="T1" fmla="*/ 2147483647 h 1056"/>
              <a:gd name="T2" fmla="*/ 2147483647 w 894"/>
              <a:gd name="T3" fmla="*/ 2147483647 h 1056"/>
              <a:gd name="T4" fmla="*/ 2147483647 w 894"/>
              <a:gd name="T5" fmla="*/ 2147483647 h 1056"/>
              <a:gd name="T6" fmla="*/ 2147483647 w 894"/>
              <a:gd name="T7" fmla="*/ 2147483647 h 1056"/>
              <a:gd name="T8" fmla="*/ 2147483647 w 894"/>
              <a:gd name="T9" fmla="*/ 2147483647 h 1056"/>
              <a:gd name="T10" fmla="*/ 2147483647 w 894"/>
              <a:gd name="T11" fmla="*/ 2147483647 h 1056"/>
              <a:gd name="T12" fmla="*/ 2147483647 w 894"/>
              <a:gd name="T13" fmla="*/ 2147483647 h 1056"/>
              <a:gd name="T14" fmla="*/ 2147483647 w 894"/>
              <a:gd name="T15" fmla="*/ 2147483647 h 1056"/>
              <a:gd name="T16" fmla="*/ 2147483647 w 894"/>
              <a:gd name="T17" fmla="*/ 2147483647 h 1056"/>
              <a:gd name="T18" fmla="*/ 2147483647 w 894"/>
              <a:gd name="T19" fmla="*/ 2147483647 h 1056"/>
              <a:gd name="T20" fmla="*/ 2147483647 w 894"/>
              <a:gd name="T21" fmla="*/ 2147483647 h 1056"/>
              <a:gd name="T22" fmla="*/ 2147483647 w 894"/>
              <a:gd name="T23" fmla="*/ 2147483647 h 1056"/>
              <a:gd name="T24" fmla="*/ 2147483647 w 894"/>
              <a:gd name="T25" fmla="*/ 2147483647 h 1056"/>
              <a:gd name="T26" fmla="*/ 2147483647 w 894"/>
              <a:gd name="T27" fmla="*/ 2147483647 h 1056"/>
              <a:gd name="T28" fmla="*/ 2147483647 w 894"/>
              <a:gd name="T29" fmla="*/ 2147483647 h 1056"/>
              <a:gd name="T30" fmla="*/ 2147483647 w 894"/>
              <a:gd name="T31" fmla="*/ 2147483647 h 1056"/>
              <a:gd name="T32" fmla="*/ 2147483647 w 894"/>
              <a:gd name="T33" fmla="*/ 2147483647 h 1056"/>
              <a:gd name="T34" fmla="*/ 2147483647 w 894"/>
              <a:gd name="T35" fmla="*/ 2147483647 h 1056"/>
              <a:gd name="T36" fmla="*/ 2147483647 w 894"/>
              <a:gd name="T37" fmla="*/ 2147483647 h 1056"/>
              <a:gd name="T38" fmla="*/ 2147483647 w 894"/>
              <a:gd name="T39" fmla="*/ 2147483647 h 1056"/>
              <a:gd name="T40" fmla="*/ 2147483647 w 894"/>
              <a:gd name="T41" fmla="*/ 2147483647 h 1056"/>
              <a:gd name="T42" fmla="*/ 2147483647 w 894"/>
              <a:gd name="T43" fmla="*/ 2147483647 h 1056"/>
              <a:gd name="T44" fmla="*/ 2147483647 w 894"/>
              <a:gd name="T45" fmla="*/ 2147483647 h 1056"/>
              <a:gd name="T46" fmla="*/ 2147483647 w 894"/>
              <a:gd name="T47" fmla="*/ 2147483647 h 1056"/>
              <a:gd name="T48" fmla="*/ 0 w 894"/>
              <a:gd name="T49" fmla="*/ 2147483647 h 1056"/>
              <a:gd name="T50" fmla="*/ 2147483647 w 894"/>
              <a:gd name="T51" fmla="*/ 2147483647 h 1056"/>
              <a:gd name="T52" fmla="*/ 2147483647 w 894"/>
              <a:gd name="T53" fmla="*/ 2147483647 h 1056"/>
              <a:gd name="T54" fmla="*/ 2147483647 w 894"/>
              <a:gd name="T55" fmla="*/ 2147483647 h 1056"/>
              <a:gd name="T56" fmla="*/ 2147483647 w 894"/>
              <a:gd name="T57" fmla="*/ 2147483647 h 1056"/>
              <a:gd name="T58" fmla="*/ 2147483647 w 894"/>
              <a:gd name="T59" fmla="*/ 2147483647 h 1056"/>
              <a:gd name="T60" fmla="*/ 2147483647 w 894"/>
              <a:gd name="T61" fmla="*/ 2147483647 h 1056"/>
              <a:gd name="T62" fmla="*/ 2147483647 w 894"/>
              <a:gd name="T63" fmla="*/ 2147483647 h 1056"/>
              <a:gd name="T64" fmla="*/ 2147483647 w 894"/>
              <a:gd name="T65" fmla="*/ 2147483647 h 1056"/>
              <a:gd name="T66" fmla="*/ 2147483647 w 894"/>
              <a:gd name="T67" fmla="*/ 2147483647 h 1056"/>
              <a:gd name="T68" fmla="*/ 2147483647 w 894"/>
              <a:gd name="T69" fmla="*/ 2147483647 h 1056"/>
              <a:gd name="T70" fmla="*/ 2147483647 w 894"/>
              <a:gd name="T71" fmla="*/ 2147483647 h 1056"/>
              <a:gd name="T72" fmla="*/ 2147483647 w 894"/>
              <a:gd name="T73" fmla="*/ 2147483647 h 1056"/>
              <a:gd name="T74" fmla="*/ 2147483647 w 894"/>
              <a:gd name="T75" fmla="*/ 2147483647 h 1056"/>
              <a:gd name="T76" fmla="*/ 2147483647 w 894"/>
              <a:gd name="T77" fmla="*/ 2147483647 h 1056"/>
              <a:gd name="T78" fmla="*/ 2147483647 w 894"/>
              <a:gd name="T79" fmla="*/ 2147483647 h 1056"/>
              <a:gd name="T80" fmla="*/ 2147483647 w 894"/>
              <a:gd name="T81" fmla="*/ 2147483647 h 1056"/>
              <a:gd name="T82" fmla="*/ 2147483647 w 894"/>
              <a:gd name="T83" fmla="*/ 2147483647 h 1056"/>
              <a:gd name="T84" fmla="*/ 2147483647 w 894"/>
              <a:gd name="T85" fmla="*/ 2147483647 h 1056"/>
              <a:gd name="T86" fmla="*/ 2147483647 w 894"/>
              <a:gd name="T87" fmla="*/ 2147483647 h 1056"/>
              <a:gd name="T88" fmla="*/ 2147483647 w 894"/>
              <a:gd name="T89" fmla="*/ 2147483647 h 1056"/>
              <a:gd name="T90" fmla="*/ 2147483647 w 894"/>
              <a:gd name="T91" fmla="*/ 2147483647 h 1056"/>
              <a:gd name="T92" fmla="*/ 2147483647 w 894"/>
              <a:gd name="T93" fmla="*/ 2147483647 h 1056"/>
              <a:gd name="T94" fmla="*/ 2147483647 w 894"/>
              <a:gd name="T95" fmla="*/ 2147483647 h 1056"/>
              <a:gd name="T96" fmla="*/ 2147483647 w 894"/>
              <a:gd name="T97" fmla="*/ 2147483647 h 1056"/>
              <a:gd name="T98" fmla="*/ 2147483647 w 894"/>
              <a:gd name="T99" fmla="*/ 2147483647 h 1056"/>
              <a:gd name="T100" fmla="*/ 2147483647 w 894"/>
              <a:gd name="T101" fmla="*/ 2147483647 h 10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894"/>
              <a:gd name="T154" fmla="*/ 0 h 1056"/>
              <a:gd name="T155" fmla="*/ 894 w 894"/>
              <a:gd name="T156" fmla="*/ 1056 h 105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894" h="1056">
                <a:moveTo>
                  <a:pt x="882" y="744"/>
                </a:moveTo>
                <a:lnTo>
                  <a:pt x="882" y="738"/>
                </a:lnTo>
                <a:lnTo>
                  <a:pt x="888" y="732"/>
                </a:lnTo>
                <a:lnTo>
                  <a:pt x="888" y="708"/>
                </a:lnTo>
                <a:lnTo>
                  <a:pt x="894" y="696"/>
                </a:lnTo>
                <a:lnTo>
                  <a:pt x="894" y="684"/>
                </a:lnTo>
                <a:lnTo>
                  <a:pt x="882" y="648"/>
                </a:lnTo>
                <a:lnTo>
                  <a:pt x="876" y="636"/>
                </a:lnTo>
                <a:lnTo>
                  <a:pt x="864" y="624"/>
                </a:lnTo>
                <a:lnTo>
                  <a:pt x="840" y="612"/>
                </a:lnTo>
                <a:lnTo>
                  <a:pt x="834" y="606"/>
                </a:lnTo>
                <a:lnTo>
                  <a:pt x="822" y="600"/>
                </a:lnTo>
                <a:lnTo>
                  <a:pt x="816" y="588"/>
                </a:lnTo>
                <a:lnTo>
                  <a:pt x="816" y="576"/>
                </a:lnTo>
                <a:lnTo>
                  <a:pt x="822" y="558"/>
                </a:lnTo>
                <a:lnTo>
                  <a:pt x="822" y="546"/>
                </a:lnTo>
                <a:lnTo>
                  <a:pt x="828" y="540"/>
                </a:lnTo>
                <a:lnTo>
                  <a:pt x="828" y="534"/>
                </a:lnTo>
                <a:lnTo>
                  <a:pt x="768" y="534"/>
                </a:lnTo>
                <a:lnTo>
                  <a:pt x="720" y="528"/>
                </a:lnTo>
                <a:lnTo>
                  <a:pt x="690" y="522"/>
                </a:lnTo>
                <a:lnTo>
                  <a:pt x="684" y="516"/>
                </a:lnTo>
                <a:lnTo>
                  <a:pt x="684" y="474"/>
                </a:lnTo>
                <a:lnTo>
                  <a:pt x="690" y="462"/>
                </a:lnTo>
                <a:lnTo>
                  <a:pt x="684" y="456"/>
                </a:lnTo>
                <a:lnTo>
                  <a:pt x="672" y="450"/>
                </a:lnTo>
                <a:lnTo>
                  <a:pt x="666" y="438"/>
                </a:lnTo>
                <a:lnTo>
                  <a:pt x="660" y="432"/>
                </a:lnTo>
                <a:lnTo>
                  <a:pt x="660" y="426"/>
                </a:lnTo>
                <a:lnTo>
                  <a:pt x="678" y="426"/>
                </a:lnTo>
                <a:lnTo>
                  <a:pt x="678" y="396"/>
                </a:lnTo>
                <a:lnTo>
                  <a:pt x="672" y="384"/>
                </a:lnTo>
                <a:lnTo>
                  <a:pt x="666" y="378"/>
                </a:lnTo>
                <a:lnTo>
                  <a:pt x="660" y="366"/>
                </a:lnTo>
                <a:lnTo>
                  <a:pt x="660" y="336"/>
                </a:lnTo>
                <a:lnTo>
                  <a:pt x="654" y="330"/>
                </a:lnTo>
                <a:lnTo>
                  <a:pt x="648" y="318"/>
                </a:lnTo>
                <a:lnTo>
                  <a:pt x="624" y="306"/>
                </a:lnTo>
                <a:lnTo>
                  <a:pt x="564" y="306"/>
                </a:lnTo>
                <a:lnTo>
                  <a:pt x="558" y="300"/>
                </a:lnTo>
                <a:lnTo>
                  <a:pt x="546" y="294"/>
                </a:lnTo>
                <a:lnTo>
                  <a:pt x="534" y="282"/>
                </a:lnTo>
                <a:lnTo>
                  <a:pt x="534" y="276"/>
                </a:lnTo>
                <a:lnTo>
                  <a:pt x="510" y="276"/>
                </a:lnTo>
                <a:lnTo>
                  <a:pt x="498" y="270"/>
                </a:lnTo>
                <a:lnTo>
                  <a:pt x="486" y="258"/>
                </a:lnTo>
                <a:lnTo>
                  <a:pt x="474" y="252"/>
                </a:lnTo>
                <a:lnTo>
                  <a:pt x="468" y="240"/>
                </a:lnTo>
                <a:lnTo>
                  <a:pt x="468" y="234"/>
                </a:lnTo>
                <a:lnTo>
                  <a:pt x="456" y="234"/>
                </a:lnTo>
                <a:lnTo>
                  <a:pt x="450" y="240"/>
                </a:lnTo>
                <a:lnTo>
                  <a:pt x="438" y="240"/>
                </a:lnTo>
                <a:lnTo>
                  <a:pt x="426" y="234"/>
                </a:lnTo>
                <a:lnTo>
                  <a:pt x="420" y="222"/>
                </a:lnTo>
                <a:lnTo>
                  <a:pt x="414" y="228"/>
                </a:lnTo>
                <a:lnTo>
                  <a:pt x="384" y="228"/>
                </a:lnTo>
                <a:lnTo>
                  <a:pt x="372" y="222"/>
                </a:lnTo>
                <a:lnTo>
                  <a:pt x="366" y="216"/>
                </a:lnTo>
                <a:lnTo>
                  <a:pt x="366" y="210"/>
                </a:lnTo>
                <a:lnTo>
                  <a:pt x="360" y="198"/>
                </a:lnTo>
                <a:lnTo>
                  <a:pt x="360" y="192"/>
                </a:lnTo>
                <a:lnTo>
                  <a:pt x="354" y="186"/>
                </a:lnTo>
                <a:lnTo>
                  <a:pt x="330" y="186"/>
                </a:lnTo>
                <a:lnTo>
                  <a:pt x="324" y="156"/>
                </a:lnTo>
                <a:lnTo>
                  <a:pt x="318" y="150"/>
                </a:lnTo>
                <a:lnTo>
                  <a:pt x="306" y="144"/>
                </a:lnTo>
                <a:lnTo>
                  <a:pt x="294" y="132"/>
                </a:lnTo>
                <a:lnTo>
                  <a:pt x="294" y="120"/>
                </a:lnTo>
                <a:lnTo>
                  <a:pt x="300" y="114"/>
                </a:lnTo>
                <a:lnTo>
                  <a:pt x="300" y="96"/>
                </a:lnTo>
                <a:lnTo>
                  <a:pt x="294" y="84"/>
                </a:lnTo>
                <a:lnTo>
                  <a:pt x="288" y="78"/>
                </a:lnTo>
                <a:lnTo>
                  <a:pt x="288" y="48"/>
                </a:lnTo>
                <a:lnTo>
                  <a:pt x="294" y="42"/>
                </a:lnTo>
                <a:lnTo>
                  <a:pt x="294" y="36"/>
                </a:lnTo>
                <a:lnTo>
                  <a:pt x="300" y="30"/>
                </a:lnTo>
                <a:lnTo>
                  <a:pt x="300" y="0"/>
                </a:lnTo>
                <a:lnTo>
                  <a:pt x="288" y="0"/>
                </a:lnTo>
                <a:lnTo>
                  <a:pt x="276" y="6"/>
                </a:lnTo>
                <a:lnTo>
                  <a:pt x="276" y="12"/>
                </a:lnTo>
                <a:lnTo>
                  <a:pt x="270" y="12"/>
                </a:lnTo>
                <a:lnTo>
                  <a:pt x="258" y="0"/>
                </a:lnTo>
                <a:lnTo>
                  <a:pt x="246" y="12"/>
                </a:lnTo>
                <a:lnTo>
                  <a:pt x="210" y="12"/>
                </a:lnTo>
                <a:lnTo>
                  <a:pt x="198" y="18"/>
                </a:lnTo>
                <a:lnTo>
                  <a:pt x="192" y="24"/>
                </a:lnTo>
                <a:lnTo>
                  <a:pt x="186" y="36"/>
                </a:lnTo>
                <a:lnTo>
                  <a:pt x="180" y="42"/>
                </a:lnTo>
                <a:lnTo>
                  <a:pt x="180" y="48"/>
                </a:lnTo>
                <a:lnTo>
                  <a:pt x="144" y="48"/>
                </a:lnTo>
                <a:lnTo>
                  <a:pt x="138" y="78"/>
                </a:lnTo>
                <a:lnTo>
                  <a:pt x="102" y="78"/>
                </a:lnTo>
                <a:lnTo>
                  <a:pt x="90" y="96"/>
                </a:lnTo>
                <a:lnTo>
                  <a:pt x="84" y="102"/>
                </a:lnTo>
                <a:lnTo>
                  <a:pt x="60" y="114"/>
                </a:lnTo>
                <a:lnTo>
                  <a:pt x="42" y="114"/>
                </a:lnTo>
                <a:lnTo>
                  <a:pt x="42" y="108"/>
                </a:lnTo>
                <a:lnTo>
                  <a:pt x="36" y="102"/>
                </a:lnTo>
                <a:lnTo>
                  <a:pt x="12" y="102"/>
                </a:lnTo>
                <a:lnTo>
                  <a:pt x="0" y="96"/>
                </a:lnTo>
                <a:lnTo>
                  <a:pt x="0" y="114"/>
                </a:lnTo>
                <a:lnTo>
                  <a:pt x="6" y="132"/>
                </a:lnTo>
                <a:lnTo>
                  <a:pt x="18" y="144"/>
                </a:lnTo>
                <a:lnTo>
                  <a:pt x="30" y="162"/>
                </a:lnTo>
                <a:lnTo>
                  <a:pt x="42" y="174"/>
                </a:lnTo>
                <a:lnTo>
                  <a:pt x="54" y="192"/>
                </a:lnTo>
                <a:lnTo>
                  <a:pt x="66" y="216"/>
                </a:lnTo>
                <a:lnTo>
                  <a:pt x="66" y="228"/>
                </a:lnTo>
                <a:lnTo>
                  <a:pt x="60" y="234"/>
                </a:lnTo>
                <a:lnTo>
                  <a:pt x="54" y="246"/>
                </a:lnTo>
                <a:lnTo>
                  <a:pt x="48" y="252"/>
                </a:lnTo>
                <a:lnTo>
                  <a:pt x="60" y="300"/>
                </a:lnTo>
                <a:lnTo>
                  <a:pt x="42" y="330"/>
                </a:lnTo>
                <a:lnTo>
                  <a:pt x="48" y="330"/>
                </a:lnTo>
                <a:lnTo>
                  <a:pt x="60" y="342"/>
                </a:lnTo>
                <a:lnTo>
                  <a:pt x="66" y="354"/>
                </a:lnTo>
                <a:lnTo>
                  <a:pt x="66" y="360"/>
                </a:lnTo>
                <a:lnTo>
                  <a:pt x="60" y="372"/>
                </a:lnTo>
                <a:lnTo>
                  <a:pt x="48" y="384"/>
                </a:lnTo>
                <a:lnTo>
                  <a:pt x="36" y="408"/>
                </a:lnTo>
                <a:lnTo>
                  <a:pt x="42" y="426"/>
                </a:lnTo>
                <a:lnTo>
                  <a:pt x="48" y="438"/>
                </a:lnTo>
                <a:lnTo>
                  <a:pt x="54" y="444"/>
                </a:lnTo>
                <a:lnTo>
                  <a:pt x="54" y="450"/>
                </a:lnTo>
                <a:lnTo>
                  <a:pt x="42" y="468"/>
                </a:lnTo>
                <a:lnTo>
                  <a:pt x="54" y="480"/>
                </a:lnTo>
                <a:lnTo>
                  <a:pt x="78" y="498"/>
                </a:lnTo>
                <a:lnTo>
                  <a:pt x="78" y="516"/>
                </a:lnTo>
                <a:lnTo>
                  <a:pt x="102" y="528"/>
                </a:lnTo>
                <a:lnTo>
                  <a:pt x="90" y="558"/>
                </a:lnTo>
                <a:lnTo>
                  <a:pt x="78" y="546"/>
                </a:lnTo>
                <a:lnTo>
                  <a:pt x="78" y="558"/>
                </a:lnTo>
                <a:lnTo>
                  <a:pt x="66" y="582"/>
                </a:lnTo>
                <a:lnTo>
                  <a:pt x="54" y="588"/>
                </a:lnTo>
                <a:lnTo>
                  <a:pt x="36" y="606"/>
                </a:lnTo>
                <a:lnTo>
                  <a:pt x="48" y="630"/>
                </a:lnTo>
                <a:lnTo>
                  <a:pt x="42" y="636"/>
                </a:lnTo>
                <a:lnTo>
                  <a:pt x="60" y="666"/>
                </a:lnTo>
                <a:lnTo>
                  <a:pt x="84" y="666"/>
                </a:lnTo>
                <a:lnTo>
                  <a:pt x="96" y="744"/>
                </a:lnTo>
                <a:lnTo>
                  <a:pt x="108" y="750"/>
                </a:lnTo>
                <a:lnTo>
                  <a:pt x="114" y="750"/>
                </a:lnTo>
                <a:lnTo>
                  <a:pt x="138" y="762"/>
                </a:lnTo>
                <a:lnTo>
                  <a:pt x="144" y="774"/>
                </a:lnTo>
                <a:lnTo>
                  <a:pt x="144" y="780"/>
                </a:lnTo>
                <a:lnTo>
                  <a:pt x="138" y="792"/>
                </a:lnTo>
                <a:lnTo>
                  <a:pt x="126" y="804"/>
                </a:lnTo>
                <a:lnTo>
                  <a:pt x="144" y="822"/>
                </a:lnTo>
                <a:lnTo>
                  <a:pt x="138" y="828"/>
                </a:lnTo>
                <a:lnTo>
                  <a:pt x="132" y="840"/>
                </a:lnTo>
                <a:lnTo>
                  <a:pt x="126" y="846"/>
                </a:lnTo>
                <a:lnTo>
                  <a:pt x="126" y="858"/>
                </a:lnTo>
                <a:lnTo>
                  <a:pt x="132" y="870"/>
                </a:lnTo>
                <a:lnTo>
                  <a:pt x="138" y="876"/>
                </a:lnTo>
                <a:lnTo>
                  <a:pt x="138" y="900"/>
                </a:lnTo>
                <a:lnTo>
                  <a:pt x="144" y="900"/>
                </a:lnTo>
                <a:lnTo>
                  <a:pt x="150" y="906"/>
                </a:lnTo>
                <a:lnTo>
                  <a:pt x="162" y="912"/>
                </a:lnTo>
                <a:lnTo>
                  <a:pt x="168" y="918"/>
                </a:lnTo>
                <a:lnTo>
                  <a:pt x="180" y="924"/>
                </a:lnTo>
                <a:lnTo>
                  <a:pt x="186" y="930"/>
                </a:lnTo>
                <a:lnTo>
                  <a:pt x="186" y="996"/>
                </a:lnTo>
                <a:lnTo>
                  <a:pt x="210" y="1020"/>
                </a:lnTo>
                <a:lnTo>
                  <a:pt x="210" y="1044"/>
                </a:lnTo>
                <a:lnTo>
                  <a:pt x="216" y="1056"/>
                </a:lnTo>
                <a:lnTo>
                  <a:pt x="270" y="1056"/>
                </a:lnTo>
                <a:lnTo>
                  <a:pt x="270" y="1026"/>
                </a:lnTo>
                <a:lnTo>
                  <a:pt x="282" y="1026"/>
                </a:lnTo>
                <a:lnTo>
                  <a:pt x="282" y="1008"/>
                </a:lnTo>
                <a:lnTo>
                  <a:pt x="306" y="1002"/>
                </a:lnTo>
                <a:lnTo>
                  <a:pt x="318" y="978"/>
                </a:lnTo>
                <a:lnTo>
                  <a:pt x="324" y="984"/>
                </a:lnTo>
                <a:lnTo>
                  <a:pt x="348" y="996"/>
                </a:lnTo>
                <a:lnTo>
                  <a:pt x="360" y="996"/>
                </a:lnTo>
                <a:lnTo>
                  <a:pt x="378" y="1002"/>
                </a:lnTo>
                <a:lnTo>
                  <a:pt x="432" y="1002"/>
                </a:lnTo>
                <a:lnTo>
                  <a:pt x="462" y="1050"/>
                </a:lnTo>
                <a:lnTo>
                  <a:pt x="474" y="996"/>
                </a:lnTo>
                <a:lnTo>
                  <a:pt x="546" y="990"/>
                </a:lnTo>
                <a:lnTo>
                  <a:pt x="582" y="1014"/>
                </a:lnTo>
                <a:lnTo>
                  <a:pt x="582" y="996"/>
                </a:lnTo>
                <a:lnTo>
                  <a:pt x="594" y="924"/>
                </a:lnTo>
                <a:lnTo>
                  <a:pt x="594" y="900"/>
                </a:lnTo>
                <a:lnTo>
                  <a:pt x="588" y="894"/>
                </a:lnTo>
                <a:lnTo>
                  <a:pt x="588" y="888"/>
                </a:lnTo>
                <a:lnTo>
                  <a:pt x="576" y="864"/>
                </a:lnTo>
                <a:lnTo>
                  <a:pt x="576" y="852"/>
                </a:lnTo>
                <a:lnTo>
                  <a:pt x="582" y="846"/>
                </a:lnTo>
                <a:lnTo>
                  <a:pt x="594" y="840"/>
                </a:lnTo>
                <a:lnTo>
                  <a:pt x="606" y="828"/>
                </a:lnTo>
                <a:lnTo>
                  <a:pt x="612" y="798"/>
                </a:lnTo>
                <a:lnTo>
                  <a:pt x="714" y="780"/>
                </a:lnTo>
                <a:lnTo>
                  <a:pt x="792" y="768"/>
                </a:lnTo>
                <a:lnTo>
                  <a:pt x="846" y="810"/>
                </a:lnTo>
                <a:lnTo>
                  <a:pt x="864" y="846"/>
                </a:lnTo>
                <a:lnTo>
                  <a:pt x="864" y="840"/>
                </a:lnTo>
                <a:lnTo>
                  <a:pt x="870" y="834"/>
                </a:lnTo>
                <a:lnTo>
                  <a:pt x="882" y="828"/>
                </a:lnTo>
                <a:lnTo>
                  <a:pt x="888" y="822"/>
                </a:lnTo>
                <a:lnTo>
                  <a:pt x="876" y="816"/>
                </a:lnTo>
                <a:lnTo>
                  <a:pt x="870" y="810"/>
                </a:lnTo>
                <a:lnTo>
                  <a:pt x="870" y="786"/>
                </a:lnTo>
                <a:lnTo>
                  <a:pt x="876" y="774"/>
                </a:lnTo>
                <a:lnTo>
                  <a:pt x="882" y="768"/>
                </a:lnTo>
                <a:lnTo>
                  <a:pt x="888" y="756"/>
                </a:lnTo>
                <a:lnTo>
                  <a:pt x="882" y="744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2" name="Bhutan"/>
          <p:cNvSpPr>
            <a:spLocks/>
          </p:cNvSpPr>
          <p:nvPr/>
        </p:nvSpPr>
        <p:spPr bwMode="gray">
          <a:xfrm>
            <a:off x="6488971" y="3340768"/>
            <a:ext cx="93662" cy="53975"/>
          </a:xfrm>
          <a:custGeom>
            <a:avLst/>
            <a:gdLst>
              <a:gd name="T0" fmla="*/ 2147483647 w 234"/>
              <a:gd name="T1" fmla="*/ 2147483647 h 132"/>
              <a:gd name="T2" fmla="*/ 2147483647 w 234"/>
              <a:gd name="T3" fmla="*/ 2147483647 h 132"/>
              <a:gd name="T4" fmla="*/ 2147483647 w 234"/>
              <a:gd name="T5" fmla="*/ 2147483647 h 132"/>
              <a:gd name="T6" fmla="*/ 2147483647 w 234"/>
              <a:gd name="T7" fmla="*/ 2147483647 h 132"/>
              <a:gd name="T8" fmla="*/ 2147483647 w 234"/>
              <a:gd name="T9" fmla="*/ 2147483647 h 132"/>
              <a:gd name="T10" fmla="*/ 2147483647 w 234"/>
              <a:gd name="T11" fmla="*/ 2147483647 h 132"/>
              <a:gd name="T12" fmla="*/ 2147483647 w 234"/>
              <a:gd name="T13" fmla="*/ 2147483647 h 132"/>
              <a:gd name="T14" fmla="*/ 2147483647 w 234"/>
              <a:gd name="T15" fmla="*/ 2147483647 h 132"/>
              <a:gd name="T16" fmla="*/ 2147483647 w 234"/>
              <a:gd name="T17" fmla="*/ 2147483647 h 132"/>
              <a:gd name="T18" fmla="*/ 2147483647 w 234"/>
              <a:gd name="T19" fmla="*/ 2147483647 h 132"/>
              <a:gd name="T20" fmla="*/ 2147483647 w 234"/>
              <a:gd name="T21" fmla="*/ 2147483647 h 132"/>
              <a:gd name="T22" fmla="*/ 2147483647 w 234"/>
              <a:gd name="T23" fmla="*/ 2147483647 h 132"/>
              <a:gd name="T24" fmla="*/ 2147483647 w 234"/>
              <a:gd name="T25" fmla="*/ 2147483647 h 132"/>
              <a:gd name="T26" fmla="*/ 2147483647 w 234"/>
              <a:gd name="T27" fmla="*/ 2147483647 h 132"/>
              <a:gd name="T28" fmla="*/ 2147483647 w 234"/>
              <a:gd name="T29" fmla="*/ 2147483647 h 132"/>
              <a:gd name="T30" fmla="*/ 2147483647 w 234"/>
              <a:gd name="T31" fmla="*/ 2147483647 h 132"/>
              <a:gd name="T32" fmla="*/ 2147483647 w 234"/>
              <a:gd name="T33" fmla="*/ 2147483647 h 132"/>
              <a:gd name="T34" fmla="*/ 2147483647 w 234"/>
              <a:gd name="T35" fmla="*/ 2147483647 h 132"/>
              <a:gd name="T36" fmla="*/ 2147483647 w 234"/>
              <a:gd name="T37" fmla="*/ 2147483647 h 132"/>
              <a:gd name="T38" fmla="*/ 2147483647 w 234"/>
              <a:gd name="T39" fmla="*/ 2147483647 h 132"/>
              <a:gd name="T40" fmla="*/ 2147483647 w 234"/>
              <a:gd name="T41" fmla="*/ 2147483647 h 132"/>
              <a:gd name="T42" fmla="*/ 2147483647 w 234"/>
              <a:gd name="T43" fmla="*/ 2147483647 h 132"/>
              <a:gd name="T44" fmla="*/ 2147483647 w 234"/>
              <a:gd name="T45" fmla="*/ 2147483647 h 132"/>
              <a:gd name="T46" fmla="*/ 2147483647 w 234"/>
              <a:gd name="T47" fmla="*/ 2147483647 h 132"/>
              <a:gd name="T48" fmla="*/ 2147483647 w 234"/>
              <a:gd name="T49" fmla="*/ 2147483647 h 132"/>
              <a:gd name="T50" fmla="*/ 2147483647 w 234"/>
              <a:gd name="T51" fmla="*/ 2147483647 h 132"/>
              <a:gd name="T52" fmla="*/ 2147483647 w 234"/>
              <a:gd name="T53" fmla="*/ 2147483647 h 132"/>
              <a:gd name="T54" fmla="*/ 2147483647 w 234"/>
              <a:gd name="T55" fmla="*/ 2147483647 h 132"/>
              <a:gd name="T56" fmla="*/ 2147483647 w 234"/>
              <a:gd name="T57" fmla="*/ 2147483647 h 132"/>
              <a:gd name="T58" fmla="*/ 2147483647 w 234"/>
              <a:gd name="T59" fmla="*/ 0 h 132"/>
              <a:gd name="T60" fmla="*/ 2147483647 w 234"/>
              <a:gd name="T61" fmla="*/ 0 h 132"/>
              <a:gd name="T62" fmla="*/ 2147483647 w 234"/>
              <a:gd name="T63" fmla="*/ 2147483647 h 132"/>
              <a:gd name="T64" fmla="*/ 2147483647 w 234"/>
              <a:gd name="T65" fmla="*/ 2147483647 h 132"/>
              <a:gd name="T66" fmla="*/ 2147483647 w 234"/>
              <a:gd name="T67" fmla="*/ 2147483647 h 132"/>
              <a:gd name="T68" fmla="*/ 2147483647 w 234"/>
              <a:gd name="T69" fmla="*/ 2147483647 h 132"/>
              <a:gd name="T70" fmla="*/ 2147483647 w 234"/>
              <a:gd name="T71" fmla="*/ 2147483647 h 132"/>
              <a:gd name="T72" fmla="*/ 2147483647 w 234"/>
              <a:gd name="T73" fmla="*/ 2147483647 h 132"/>
              <a:gd name="T74" fmla="*/ 2147483647 w 234"/>
              <a:gd name="T75" fmla="*/ 2147483647 h 132"/>
              <a:gd name="T76" fmla="*/ 0 w 234"/>
              <a:gd name="T77" fmla="*/ 2147483647 h 132"/>
              <a:gd name="T78" fmla="*/ 0 w 234"/>
              <a:gd name="T79" fmla="*/ 2147483647 h 132"/>
              <a:gd name="T80" fmla="*/ 2147483647 w 234"/>
              <a:gd name="T81" fmla="*/ 2147483647 h 132"/>
              <a:gd name="T82" fmla="*/ 2147483647 w 234"/>
              <a:gd name="T83" fmla="*/ 2147483647 h 132"/>
              <a:gd name="T84" fmla="*/ 2147483647 w 234"/>
              <a:gd name="T85" fmla="*/ 2147483647 h 132"/>
              <a:gd name="T86" fmla="*/ 2147483647 w 234"/>
              <a:gd name="T87" fmla="*/ 2147483647 h 132"/>
              <a:gd name="T88" fmla="*/ 2147483647 w 234"/>
              <a:gd name="T89" fmla="*/ 2147483647 h 132"/>
              <a:gd name="T90" fmla="*/ 2147483647 w 234"/>
              <a:gd name="T91" fmla="*/ 2147483647 h 132"/>
              <a:gd name="T92" fmla="*/ 2147483647 w 234"/>
              <a:gd name="T93" fmla="*/ 2147483647 h 13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34"/>
              <a:gd name="T142" fmla="*/ 0 h 132"/>
              <a:gd name="T143" fmla="*/ 234 w 234"/>
              <a:gd name="T144" fmla="*/ 132 h 13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34" h="132">
                <a:moveTo>
                  <a:pt x="78" y="132"/>
                </a:moveTo>
                <a:lnTo>
                  <a:pt x="90" y="132"/>
                </a:lnTo>
                <a:lnTo>
                  <a:pt x="102" y="126"/>
                </a:lnTo>
                <a:lnTo>
                  <a:pt x="108" y="120"/>
                </a:lnTo>
                <a:lnTo>
                  <a:pt x="126" y="120"/>
                </a:lnTo>
                <a:lnTo>
                  <a:pt x="138" y="126"/>
                </a:lnTo>
                <a:lnTo>
                  <a:pt x="168" y="126"/>
                </a:lnTo>
                <a:lnTo>
                  <a:pt x="180" y="120"/>
                </a:lnTo>
                <a:lnTo>
                  <a:pt x="192" y="120"/>
                </a:lnTo>
                <a:lnTo>
                  <a:pt x="198" y="126"/>
                </a:lnTo>
                <a:lnTo>
                  <a:pt x="210" y="126"/>
                </a:lnTo>
                <a:lnTo>
                  <a:pt x="234" y="114"/>
                </a:lnTo>
                <a:lnTo>
                  <a:pt x="234" y="108"/>
                </a:lnTo>
                <a:lnTo>
                  <a:pt x="222" y="96"/>
                </a:lnTo>
                <a:lnTo>
                  <a:pt x="222" y="72"/>
                </a:lnTo>
                <a:lnTo>
                  <a:pt x="198" y="72"/>
                </a:lnTo>
                <a:lnTo>
                  <a:pt x="192" y="66"/>
                </a:lnTo>
                <a:lnTo>
                  <a:pt x="192" y="42"/>
                </a:lnTo>
                <a:lnTo>
                  <a:pt x="186" y="30"/>
                </a:lnTo>
                <a:lnTo>
                  <a:pt x="174" y="18"/>
                </a:lnTo>
                <a:lnTo>
                  <a:pt x="162" y="12"/>
                </a:lnTo>
                <a:lnTo>
                  <a:pt x="150" y="12"/>
                </a:lnTo>
                <a:lnTo>
                  <a:pt x="138" y="18"/>
                </a:lnTo>
                <a:lnTo>
                  <a:pt x="126" y="18"/>
                </a:lnTo>
                <a:lnTo>
                  <a:pt x="114" y="24"/>
                </a:lnTo>
                <a:lnTo>
                  <a:pt x="108" y="30"/>
                </a:lnTo>
                <a:lnTo>
                  <a:pt x="102" y="30"/>
                </a:lnTo>
                <a:lnTo>
                  <a:pt x="102" y="6"/>
                </a:lnTo>
                <a:lnTo>
                  <a:pt x="78" y="6"/>
                </a:lnTo>
                <a:lnTo>
                  <a:pt x="66" y="0"/>
                </a:lnTo>
                <a:lnTo>
                  <a:pt x="54" y="0"/>
                </a:lnTo>
                <a:lnTo>
                  <a:pt x="48" y="12"/>
                </a:lnTo>
                <a:lnTo>
                  <a:pt x="36" y="24"/>
                </a:lnTo>
                <a:lnTo>
                  <a:pt x="30" y="36"/>
                </a:lnTo>
                <a:lnTo>
                  <a:pt x="18" y="54"/>
                </a:lnTo>
                <a:lnTo>
                  <a:pt x="12" y="66"/>
                </a:lnTo>
                <a:lnTo>
                  <a:pt x="6" y="72"/>
                </a:lnTo>
                <a:lnTo>
                  <a:pt x="6" y="78"/>
                </a:lnTo>
                <a:lnTo>
                  <a:pt x="0" y="78"/>
                </a:lnTo>
                <a:lnTo>
                  <a:pt x="0" y="90"/>
                </a:lnTo>
                <a:lnTo>
                  <a:pt x="18" y="108"/>
                </a:lnTo>
                <a:lnTo>
                  <a:pt x="42" y="120"/>
                </a:lnTo>
                <a:lnTo>
                  <a:pt x="54" y="120"/>
                </a:lnTo>
                <a:lnTo>
                  <a:pt x="54" y="114"/>
                </a:lnTo>
                <a:lnTo>
                  <a:pt x="54" y="120"/>
                </a:lnTo>
                <a:lnTo>
                  <a:pt x="66" y="132"/>
                </a:lnTo>
                <a:lnTo>
                  <a:pt x="78" y="132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3" name="Benin"/>
          <p:cNvSpPr>
            <a:spLocks/>
          </p:cNvSpPr>
          <p:nvPr/>
        </p:nvSpPr>
        <p:spPr bwMode="gray">
          <a:xfrm>
            <a:off x="4039458" y="3858293"/>
            <a:ext cx="88900" cy="200025"/>
          </a:xfrm>
          <a:custGeom>
            <a:avLst/>
            <a:gdLst>
              <a:gd name="T0" fmla="*/ 2147483647 w 222"/>
              <a:gd name="T1" fmla="*/ 2147483647 h 498"/>
              <a:gd name="T2" fmla="*/ 2147483647 w 222"/>
              <a:gd name="T3" fmla="*/ 2147483647 h 498"/>
              <a:gd name="T4" fmla="*/ 2147483647 w 222"/>
              <a:gd name="T5" fmla="*/ 2147483647 h 498"/>
              <a:gd name="T6" fmla="*/ 2147483647 w 222"/>
              <a:gd name="T7" fmla="*/ 2147483647 h 498"/>
              <a:gd name="T8" fmla="*/ 2147483647 w 222"/>
              <a:gd name="T9" fmla="*/ 2147483647 h 498"/>
              <a:gd name="T10" fmla="*/ 2147483647 w 222"/>
              <a:gd name="T11" fmla="*/ 2147483647 h 498"/>
              <a:gd name="T12" fmla="*/ 2147483647 w 222"/>
              <a:gd name="T13" fmla="*/ 2147483647 h 498"/>
              <a:gd name="T14" fmla="*/ 2147483647 w 222"/>
              <a:gd name="T15" fmla="*/ 2147483647 h 498"/>
              <a:gd name="T16" fmla="*/ 2147483647 w 222"/>
              <a:gd name="T17" fmla="*/ 2147483647 h 498"/>
              <a:gd name="T18" fmla="*/ 2147483647 w 222"/>
              <a:gd name="T19" fmla="*/ 2147483647 h 498"/>
              <a:gd name="T20" fmla="*/ 2147483647 w 222"/>
              <a:gd name="T21" fmla="*/ 2147483647 h 498"/>
              <a:gd name="T22" fmla="*/ 2147483647 w 222"/>
              <a:gd name="T23" fmla="*/ 2147483647 h 498"/>
              <a:gd name="T24" fmla="*/ 2147483647 w 222"/>
              <a:gd name="T25" fmla="*/ 2147483647 h 498"/>
              <a:gd name="T26" fmla="*/ 2147483647 w 222"/>
              <a:gd name="T27" fmla="*/ 2147483647 h 498"/>
              <a:gd name="T28" fmla="*/ 2147483647 w 222"/>
              <a:gd name="T29" fmla="*/ 2147483647 h 498"/>
              <a:gd name="T30" fmla="*/ 2147483647 w 222"/>
              <a:gd name="T31" fmla="*/ 2147483647 h 498"/>
              <a:gd name="T32" fmla="*/ 2147483647 w 222"/>
              <a:gd name="T33" fmla="*/ 2147483647 h 498"/>
              <a:gd name="T34" fmla="*/ 2147483647 w 222"/>
              <a:gd name="T35" fmla="*/ 2147483647 h 498"/>
              <a:gd name="T36" fmla="*/ 2147483647 w 222"/>
              <a:gd name="T37" fmla="*/ 2147483647 h 498"/>
              <a:gd name="T38" fmla="*/ 2147483647 w 222"/>
              <a:gd name="T39" fmla="*/ 2147483647 h 498"/>
              <a:gd name="T40" fmla="*/ 2147483647 w 222"/>
              <a:gd name="T41" fmla="*/ 2147483647 h 498"/>
              <a:gd name="T42" fmla="*/ 2147483647 w 222"/>
              <a:gd name="T43" fmla="*/ 2147483647 h 498"/>
              <a:gd name="T44" fmla="*/ 2147483647 w 222"/>
              <a:gd name="T45" fmla="*/ 2147483647 h 498"/>
              <a:gd name="T46" fmla="*/ 0 w 222"/>
              <a:gd name="T47" fmla="*/ 2147483647 h 498"/>
              <a:gd name="T48" fmla="*/ 2147483647 w 222"/>
              <a:gd name="T49" fmla="*/ 2147483647 h 498"/>
              <a:gd name="T50" fmla="*/ 2147483647 w 222"/>
              <a:gd name="T51" fmla="*/ 2147483647 h 498"/>
              <a:gd name="T52" fmla="*/ 2147483647 w 222"/>
              <a:gd name="T53" fmla="*/ 2147483647 h 498"/>
              <a:gd name="T54" fmla="*/ 2147483647 w 222"/>
              <a:gd name="T55" fmla="*/ 2147483647 h 498"/>
              <a:gd name="T56" fmla="*/ 2147483647 w 222"/>
              <a:gd name="T57" fmla="*/ 2147483647 h 498"/>
              <a:gd name="T58" fmla="*/ 2147483647 w 222"/>
              <a:gd name="T59" fmla="*/ 2147483647 h 498"/>
              <a:gd name="T60" fmla="*/ 2147483647 w 222"/>
              <a:gd name="T61" fmla="*/ 2147483647 h 498"/>
              <a:gd name="T62" fmla="*/ 2147483647 w 222"/>
              <a:gd name="T63" fmla="*/ 2147483647 h 498"/>
              <a:gd name="T64" fmla="*/ 2147483647 w 222"/>
              <a:gd name="T65" fmla="*/ 2147483647 h 498"/>
              <a:gd name="T66" fmla="*/ 2147483647 w 222"/>
              <a:gd name="T67" fmla="*/ 2147483647 h 498"/>
              <a:gd name="T68" fmla="*/ 2147483647 w 222"/>
              <a:gd name="T69" fmla="*/ 2147483647 h 49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22"/>
              <a:gd name="T106" fmla="*/ 0 h 498"/>
              <a:gd name="T107" fmla="*/ 222 w 222"/>
              <a:gd name="T108" fmla="*/ 498 h 49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22" h="498">
                <a:moveTo>
                  <a:pt x="138" y="372"/>
                </a:moveTo>
                <a:lnTo>
                  <a:pt x="144" y="342"/>
                </a:lnTo>
                <a:lnTo>
                  <a:pt x="138" y="306"/>
                </a:lnTo>
                <a:lnTo>
                  <a:pt x="144" y="276"/>
                </a:lnTo>
                <a:lnTo>
                  <a:pt x="162" y="276"/>
                </a:lnTo>
                <a:lnTo>
                  <a:pt x="174" y="252"/>
                </a:lnTo>
                <a:lnTo>
                  <a:pt x="174" y="222"/>
                </a:lnTo>
                <a:lnTo>
                  <a:pt x="180" y="216"/>
                </a:lnTo>
                <a:lnTo>
                  <a:pt x="186" y="204"/>
                </a:lnTo>
                <a:lnTo>
                  <a:pt x="198" y="198"/>
                </a:lnTo>
                <a:lnTo>
                  <a:pt x="198" y="156"/>
                </a:lnTo>
                <a:lnTo>
                  <a:pt x="210" y="150"/>
                </a:lnTo>
                <a:lnTo>
                  <a:pt x="216" y="150"/>
                </a:lnTo>
                <a:lnTo>
                  <a:pt x="222" y="144"/>
                </a:lnTo>
                <a:lnTo>
                  <a:pt x="222" y="132"/>
                </a:lnTo>
                <a:lnTo>
                  <a:pt x="216" y="126"/>
                </a:lnTo>
                <a:lnTo>
                  <a:pt x="216" y="114"/>
                </a:lnTo>
                <a:lnTo>
                  <a:pt x="210" y="102"/>
                </a:lnTo>
                <a:lnTo>
                  <a:pt x="204" y="96"/>
                </a:lnTo>
                <a:lnTo>
                  <a:pt x="192" y="72"/>
                </a:lnTo>
                <a:lnTo>
                  <a:pt x="198" y="66"/>
                </a:lnTo>
                <a:lnTo>
                  <a:pt x="198" y="60"/>
                </a:lnTo>
                <a:lnTo>
                  <a:pt x="204" y="48"/>
                </a:lnTo>
                <a:lnTo>
                  <a:pt x="198" y="42"/>
                </a:lnTo>
                <a:lnTo>
                  <a:pt x="186" y="36"/>
                </a:lnTo>
                <a:lnTo>
                  <a:pt x="180" y="36"/>
                </a:lnTo>
                <a:lnTo>
                  <a:pt x="174" y="30"/>
                </a:lnTo>
                <a:lnTo>
                  <a:pt x="168" y="30"/>
                </a:lnTo>
                <a:lnTo>
                  <a:pt x="162" y="24"/>
                </a:lnTo>
                <a:lnTo>
                  <a:pt x="156" y="12"/>
                </a:lnTo>
                <a:lnTo>
                  <a:pt x="144" y="0"/>
                </a:lnTo>
                <a:lnTo>
                  <a:pt x="114" y="12"/>
                </a:lnTo>
                <a:lnTo>
                  <a:pt x="114" y="36"/>
                </a:lnTo>
                <a:lnTo>
                  <a:pt x="120" y="36"/>
                </a:lnTo>
                <a:lnTo>
                  <a:pt x="114" y="42"/>
                </a:lnTo>
                <a:lnTo>
                  <a:pt x="108" y="60"/>
                </a:lnTo>
                <a:lnTo>
                  <a:pt x="96" y="60"/>
                </a:lnTo>
                <a:lnTo>
                  <a:pt x="90" y="66"/>
                </a:lnTo>
                <a:lnTo>
                  <a:pt x="84" y="66"/>
                </a:lnTo>
                <a:lnTo>
                  <a:pt x="84" y="78"/>
                </a:lnTo>
                <a:lnTo>
                  <a:pt x="78" y="72"/>
                </a:lnTo>
                <a:lnTo>
                  <a:pt x="48" y="72"/>
                </a:lnTo>
                <a:lnTo>
                  <a:pt x="30" y="90"/>
                </a:lnTo>
                <a:lnTo>
                  <a:pt x="24" y="102"/>
                </a:lnTo>
                <a:lnTo>
                  <a:pt x="12" y="102"/>
                </a:lnTo>
                <a:lnTo>
                  <a:pt x="6" y="114"/>
                </a:lnTo>
                <a:lnTo>
                  <a:pt x="0" y="132"/>
                </a:lnTo>
                <a:lnTo>
                  <a:pt x="0" y="162"/>
                </a:lnTo>
                <a:lnTo>
                  <a:pt x="12" y="168"/>
                </a:lnTo>
                <a:lnTo>
                  <a:pt x="42" y="198"/>
                </a:lnTo>
                <a:lnTo>
                  <a:pt x="42" y="240"/>
                </a:lnTo>
                <a:lnTo>
                  <a:pt x="54" y="252"/>
                </a:lnTo>
                <a:lnTo>
                  <a:pt x="60" y="264"/>
                </a:lnTo>
                <a:lnTo>
                  <a:pt x="60" y="294"/>
                </a:lnTo>
                <a:lnTo>
                  <a:pt x="66" y="306"/>
                </a:lnTo>
                <a:lnTo>
                  <a:pt x="54" y="318"/>
                </a:lnTo>
                <a:lnTo>
                  <a:pt x="54" y="378"/>
                </a:lnTo>
                <a:lnTo>
                  <a:pt x="66" y="390"/>
                </a:lnTo>
                <a:lnTo>
                  <a:pt x="54" y="396"/>
                </a:lnTo>
                <a:lnTo>
                  <a:pt x="60" y="462"/>
                </a:lnTo>
                <a:lnTo>
                  <a:pt x="60" y="468"/>
                </a:lnTo>
                <a:lnTo>
                  <a:pt x="72" y="480"/>
                </a:lnTo>
                <a:lnTo>
                  <a:pt x="72" y="492"/>
                </a:lnTo>
                <a:lnTo>
                  <a:pt x="84" y="492"/>
                </a:lnTo>
                <a:lnTo>
                  <a:pt x="96" y="498"/>
                </a:lnTo>
                <a:lnTo>
                  <a:pt x="108" y="498"/>
                </a:lnTo>
                <a:lnTo>
                  <a:pt x="120" y="474"/>
                </a:lnTo>
                <a:lnTo>
                  <a:pt x="126" y="480"/>
                </a:lnTo>
                <a:lnTo>
                  <a:pt x="138" y="486"/>
                </a:lnTo>
                <a:lnTo>
                  <a:pt x="138" y="37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4" name="Belize"/>
          <p:cNvSpPr>
            <a:spLocks/>
          </p:cNvSpPr>
          <p:nvPr/>
        </p:nvSpPr>
        <p:spPr bwMode="gray">
          <a:xfrm>
            <a:off x="1489933" y="3659855"/>
            <a:ext cx="42863" cy="85725"/>
          </a:xfrm>
          <a:custGeom>
            <a:avLst/>
            <a:gdLst>
              <a:gd name="T0" fmla="*/ 2147483647 w 108"/>
              <a:gd name="T1" fmla="*/ 2147483647 h 210"/>
              <a:gd name="T2" fmla="*/ 2147483647 w 108"/>
              <a:gd name="T3" fmla="*/ 2147483647 h 210"/>
              <a:gd name="T4" fmla="*/ 2147483647 w 108"/>
              <a:gd name="T5" fmla="*/ 2147483647 h 210"/>
              <a:gd name="T6" fmla="*/ 2147483647 w 108"/>
              <a:gd name="T7" fmla="*/ 2147483647 h 210"/>
              <a:gd name="T8" fmla="*/ 2147483647 w 108"/>
              <a:gd name="T9" fmla="*/ 2147483647 h 210"/>
              <a:gd name="T10" fmla="*/ 2147483647 w 108"/>
              <a:gd name="T11" fmla="*/ 0 h 210"/>
              <a:gd name="T12" fmla="*/ 2147483647 w 108"/>
              <a:gd name="T13" fmla="*/ 2147483647 h 210"/>
              <a:gd name="T14" fmla="*/ 2147483647 w 108"/>
              <a:gd name="T15" fmla="*/ 2147483647 h 210"/>
              <a:gd name="T16" fmla="*/ 2147483647 w 108"/>
              <a:gd name="T17" fmla="*/ 2147483647 h 210"/>
              <a:gd name="T18" fmla="*/ 2147483647 w 108"/>
              <a:gd name="T19" fmla="*/ 2147483647 h 210"/>
              <a:gd name="T20" fmla="*/ 2147483647 w 108"/>
              <a:gd name="T21" fmla="*/ 2147483647 h 210"/>
              <a:gd name="T22" fmla="*/ 2147483647 w 108"/>
              <a:gd name="T23" fmla="*/ 2147483647 h 210"/>
              <a:gd name="T24" fmla="*/ 2147483647 w 108"/>
              <a:gd name="T25" fmla="*/ 2147483647 h 210"/>
              <a:gd name="T26" fmla="*/ 2147483647 w 108"/>
              <a:gd name="T27" fmla="*/ 2147483647 h 210"/>
              <a:gd name="T28" fmla="*/ 2147483647 w 108"/>
              <a:gd name="T29" fmla="*/ 2147483647 h 210"/>
              <a:gd name="T30" fmla="*/ 2147483647 w 108"/>
              <a:gd name="T31" fmla="*/ 2147483647 h 210"/>
              <a:gd name="T32" fmla="*/ 2147483647 w 108"/>
              <a:gd name="T33" fmla="*/ 2147483647 h 210"/>
              <a:gd name="T34" fmla="*/ 2147483647 w 108"/>
              <a:gd name="T35" fmla="*/ 2147483647 h 210"/>
              <a:gd name="T36" fmla="*/ 0 w 108"/>
              <a:gd name="T37" fmla="*/ 2147483647 h 210"/>
              <a:gd name="T38" fmla="*/ 2147483647 w 108"/>
              <a:gd name="T39" fmla="*/ 2147483647 h 210"/>
              <a:gd name="T40" fmla="*/ 2147483647 w 108"/>
              <a:gd name="T41" fmla="*/ 2147483647 h 210"/>
              <a:gd name="T42" fmla="*/ 2147483647 w 108"/>
              <a:gd name="T43" fmla="*/ 2147483647 h 210"/>
              <a:gd name="T44" fmla="*/ 2147483647 w 108"/>
              <a:gd name="T45" fmla="*/ 2147483647 h 210"/>
              <a:gd name="T46" fmla="*/ 2147483647 w 108"/>
              <a:gd name="T47" fmla="*/ 2147483647 h 210"/>
              <a:gd name="T48" fmla="*/ 2147483647 w 108"/>
              <a:gd name="T49" fmla="*/ 2147483647 h 210"/>
              <a:gd name="T50" fmla="*/ 2147483647 w 108"/>
              <a:gd name="T51" fmla="*/ 2147483647 h 210"/>
              <a:gd name="T52" fmla="*/ 2147483647 w 108"/>
              <a:gd name="T53" fmla="*/ 2147483647 h 210"/>
              <a:gd name="T54" fmla="*/ 2147483647 w 108"/>
              <a:gd name="T55" fmla="*/ 2147483647 h 21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08"/>
              <a:gd name="T85" fmla="*/ 0 h 210"/>
              <a:gd name="T86" fmla="*/ 108 w 108"/>
              <a:gd name="T87" fmla="*/ 210 h 21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08" h="210">
                <a:moveTo>
                  <a:pt x="108" y="30"/>
                </a:moveTo>
                <a:lnTo>
                  <a:pt x="108" y="24"/>
                </a:lnTo>
                <a:lnTo>
                  <a:pt x="102" y="24"/>
                </a:lnTo>
                <a:lnTo>
                  <a:pt x="90" y="18"/>
                </a:lnTo>
                <a:lnTo>
                  <a:pt x="84" y="12"/>
                </a:lnTo>
                <a:lnTo>
                  <a:pt x="78" y="0"/>
                </a:lnTo>
                <a:lnTo>
                  <a:pt x="78" y="6"/>
                </a:lnTo>
                <a:lnTo>
                  <a:pt x="72" y="12"/>
                </a:lnTo>
                <a:lnTo>
                  <a:pt x="72" y="24"/>
                </a:lnTo>
                <a:lnTo>
                  <a:pt x="66" y="36"/>
                </a:lnTo>
                <a:lnTo>
                  <a:pt x="54" y="42"/>
                </a:lnTo>
                <a:lnTo>
                  <a:pt x="48" y="48"/>
                </a:lnTo>
                <a:lnTo>
                  <a:pt x="42" y="48"/>
                </a:lnTo>
                <a:lnTo>
                  <a:pt x="42" y="42"/>
                </a:lnTo>
                <a:lnTo>
                  <a:pt x="36" y="36"/>
                </a:lnTo>
                <a:lnTo>
                  <a:pt x="30" y="36"/>
                </a:lnTo>
                <a:lnTo>
                  <a:pt x="30" y="42"/>
                </a:lnTo>
                <a:lnTo>
                  <a:pt x="24" y="54"/>
                </a:lnTo>
                <a:lnTo>
                  <a:pt x="0" y="210"/>
                </a:lnTo>
                <a:lnTo>
                  <a:pt x="30" y="210"/>
                </a:lnTo>
                <a:lnTo>
                  <a:pt x="42" y="168"/>
                </a:lnTo>
                <a:lnTo>
                  <a:pt x="60" y="174"/>
                </a:lnTo>
                <a:lnTo>
                  <a:pt x="84" y="150"/>
                </a:lnTo>
                <a:lnTo>
                  <a:pt x="84" y="90"/>
                </a:lnTo>
                <a:lnTo>
                  <a:pt x="90" y="78"/>
                </a:lnTo>
                <a:lnTo>
                  <a:pt x="96" y="60"/>
                </a:lnTo>
                <a:lnTo>
                  <a:pt x="108" y="36"/>
                </a:lnTo>
                <a:lnTo>
                  <a:pt x="108" y="3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5" name="Belgium"/>
          <p:cNvSpPr>
            <a:spLocks/>
          </p:cNvSpPr>
          <p:nvPr/>
        </p:nvSpPr>
        <p:spPr bwMode="gray">
          <a:xfrm>
            <a:off x="4123596" y="2599405"/>
            <a:ext cx="90487" cy="61913"/>
          </a:xfrm>
          <a:custGeom>
            <a:avLst/>
            <a:gdLst>
              <a:gd name="T0" fmla="*/ 0 w 222"/>
              <a:gd name="T1" fmla="*/ 2147483647 h 150"/>
              <a:gd name="T2" fmla="*/ 2147483647 w 222"/>
              <a:gd name="T3" fmla="*/ 2147483647 h 150"/>
              <a:gd name="T4" fmla="*/ 2147483647 w 222"/>
              <a:gd name="T5" fmla="*/ 2147483647 h 150"/>
              <a:gd name="T6" fmla="*/ 2147483647 w 222"/>
              <a:gd name="T7" fmla="*/ 2147483647 h 150"/>
              <a:gd name="T8" fmla="*/ 2147483647 w 222"/>
              <a:gd name="T9" fmla="*/ 2147483647 h 150"/>
              <a:gd name="T10" fmla="*/ 2147483647 w 222"/>
              <a:gd name="T11" fmla="*/ 2147483647 h 150"/>
              <a:gd name="T12" fmla="*/ 2147483647 w 222"/>
              <a:gd name="T13" fmla="*/ 2147483647 h 150"/>
              <a:gd name="T14" fmla="*/ 2147483647 w 222"/>
              <a:gd name="T15" fmla="*/ 2147483647 h 150"/>
              <a:gd name="T16" fmla="*/ 2147483647 w 222"/>
              <a:gd name="T17" fmla="*/ 2147483647 h 150"/>
              <a:gd name="T18" fmla="*/ 2147483647 w 222"/>
              <a:gd name="T19" fmla="*/ 2147483647 h 150"/>
              <a:gd name="T20" fmla="*/ 2147483647 w 222"/>
              <a:gd name="T21" fmla="*/ 2147483647 h 150"/>
              <a:gd name="T22" fmla="*/ 2147483647 w 222"/>
              <a:gd name="T23" fmla="*/ 2147483647 h 150"/>
              <a:gd name="T24" fmla="*/ 2147483647 w 222"/>
              <a:gd name="T25" fmla="*/ 2147483647 h 150"/>
              <a:gd name="T26" fmla="*/ 2147483647 w 222"/>
              <a:gd name="T27" fmla="*/ 2147483647 h 150"/>
              <a:gd name="T28" fmla="*/ 2147483647 w 222"/>
              <a:gd name="T29" fmla="*/ 2147483647 h 150"/>
              <a:gd name="T30" fmla="*/ 2147483647 w 222"/>
              <a:gd name="T31" fmla="*/ 2147483647 h 150"/>
              <a:gd name="T32" fmla="*/ 2147483647 w 222"/>
              <a:gd name="T33" fmla="*/ 2147483647 h 150"/>
              <a:gd name="T34" fmla="*/ 2147483647 w 222"/>
              <a:gd name="T35" fmla="*/ 2147483647 h 150"/>
              <a:gd name="T36" fmla="*/ 2147483647 w 222"/>
              <a:gd name="T37" fmla="*/ 2147483647 h 150"/>
              <a:gd name="T38" fmla="*/ 2147483647 w 222"/>
              <a:gd name="T39" fmla="*/ 2147483647 h 150"/>
              <a:gd name="T40" fmla="*/ 2147483647 w 222"/>
              <a:gd name="T41" fmla="*/ 2147483647 h 150"/>
              <a:gd name="T42" fmla="*/ 2147483647 w 222"/>
              <a:gd name="T43" fmla="*/ 2147483647 h 150"/>
              <a:gd name="T44" fmla="*/ 2147483647 w 222"/>
              <a:gd name="T45" fmla="*/ 2147483647 h 150"/>
              <a:gd name="T46" fmla="*/ 2147483647 w 222"/>
              <a:gd name="T47" fmla="*/ 2147483647 h 150"/>
              <a:gd name="T48" fmla="*/ 2147483647 w 222"/>
              <a:gd name="T49" fmla="*/ 2147483647 h 150"/>
              <a:gd name="T50" fmla="*/ 2147483647 w 222"/>
              <a:gd name="T51" fmla="*/ 2147483647 h 150"/>
              <a:gd name="T52" fmla="*/ 2147483647 w 222"/>
              <a:gd name="T53" fmla="*/ 2147483647 h 150"/>
              <a:gd name="T54" fmla="*/ 2147483647 w 222"/>
              <a:gd name="T55" fmla="*/ 2147483647 h 150"/>
              <a:gd name="T56" fmla="*/ 2147483647 w 222"/>
              <a:gd name="T57" fmla="*/ 2147483647 h 150"/>
              <a:gd name="T58" fmla="*/ 2147483647 w 222"/>
              <a:gd name="T59" fmla="*/ 2147483647 h 150"/>
              <a:gd name="T60" fmla="*/ 2147483647 w 222"/>
              <a:gd name="T61" fmla="*/ 2147483647 h 150"/>
              <a:gd name="T62" fmla="*/ 2147483647 w 222"/>
              <a:gd name="T63" fmla="*/ 2147483647 h 150"/>
              <a:gd name="T64" fmla="*/ 2147483647 w 222"/>
              <a:gd name="T65" fmla="*/ 2147483647 h 150"/>
              <a:gd name="T66" fmla="*/ 2147483647 w 222"/>
              <a:gd name="T67" fmla="*/ 2147483647 h 150"/>
              <a:gd name="T68" fmla="*/ 2147483647 w 222"/>
              <a:gd name="T69" fmla="*/ 2147483647 h 150"/>
              <a:gd name="T70" fmla="*/ 2147483647 w 222"/>
              <a:gd name="T71" fmla="*/ 2147483647 h 150"/>
              <a:gd name="T72" fmla="*/ 2147483647 w 222"/>
              <a:gd name="T73" fmla="*/ 2147483647 h 150"/>
              <a:gd name="T74" fmla="*/ 2147483647 w 222"/>
              <a:gd name="T75" fmla="*/ 2147483647 h 150"/>
              <a:gd name="T76" fmla="*/ 2147483647 w 222"/>
              <a:gd name="T77" fmla="*/ 2147483647 h 150"/>
              <a:gd name="T78" fmla="*/ 2147483647 w 222"/>
              <a:gd name="T79" fmla="*/ 2147483647 h 150"/>
              <a:gd name="T80" fmla="*/ 2147483647 w 222"/>
              <a:gd name="T81" fmla="*/ 0 h 150"/>
              <a:gd name="T82" fmla="*/ 2147483647 w 222"/>
              <a:gd name="T83" fmla="*/ 0 h 150"/>
              <a:gd name="T84" fmla="*/ 2147483647 w 222"/>
              <a:gd name="T85" fmla="*/ 2147483647 h 150"/>
              <a:gd name="T86" fmla="*/ 2147483647 w 222"/>
              <a:gd name="T87" fmla="*/ 0 h 150"/>
              <a:gd name="T88" fmla="*/ 2147483647 w 222"/>
              <a:gd name="T89" fmla="*/ 2147483647 h 150"/>
              <a:gd name="T90" fmla="*/ 2147483647 w 222"/>
              <a:gd name="T91" fmla="*/ 2147483647 h 150"/>
              <a:gd name="T92" fmla="*/ 2147483647 w 222"/>
              <a:gd name="T93" fmla="*/ 2147483647 h 150"/>
              <a:gd name="T94" fmla="*/ 2147483647 w 222"/>
              <a:gd name="T95" fmla="*/ 2147483647 h 150"/>
              <a:gd name="T96" fmla="*/ 2147483647 w 222"/>
              <a:gd name="T97" fmla="*/ 2147483647 h 150"/>
              <a:gd name="T98" fmla="*/ 2147483647 w 222"/>
              <a:gd name="T99" fmla="*/ 2147483647 h 150"/>
              <a:gd name="T100" fmla="*/ 2147483647 w 222"/>
              <a:gd name="T101" fmla="*/ 2147483647 h 150"/>
              <a:gd name="T102" fmla="*/ 0 w 222"/>
              <a:gd name="T103" fmla="*/ 2147483647 h 150"/>
              <a:gd name="T104" fmla="*/ 0 w 222"/>
              <a:gd name="T105" fmla="*/ 2147483647 h 15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22"/>
              <a:gd name="T160" fmla="*/ 0 h 150"/>
              <a:gd name="T161" fmla="*/ 222 w 222"/>
              <a:gd name="T162" fmla="*/ 150 h 15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22" h="150">
                <a:moveTo>
                  <a:pt x="0" y="42"/>
                </a:moveTo>
                <a:lnTo>
                  <a:pt x="6" y="60"/>
                </a:lnTo>
                <a:lnTo>
                  <a:pt x="30" y="66"/>
                </a:lnTo>
                <a:lnTo>
                  <a:pt x="42" y="78"/>
                </a:lnTo>
                <a:lnTo>
                  <a:pt x="66" y="78"/>
                </a:lnTo>
                <a:lnTo>
                  <a:pt x="78" y="84"/>
                </a:lnTo>
                <a:lnTo>
                  <a:pt x="84" y="90"/>
                </a:lnTo>
                <a:lnTo>
                  <a:pt x="84" y="114"/>
                </a:lnTo>
                <a:lnTo>
                  <a:pt x="108" y="114"/>
                </a:lnTo>
                <a:lnTo>
                  <a:pt x="120" y="102"/>
                </a:lnTo>
                <a:lnTo>
                  <a:pt x="120" y="126"/>
                </a:lnTo>
                <a:lnTo>
                  <a:pt x="132" y="126"/>
                </a:lnTo>
                <a:lnTo>
                  <a:pt x="144" y="132"/>
                </a:lnTo>
                <a:lnTo>
                  <a:pt x="150" y="132"/>
                </a:lnTo>
                <a:lnTo>
                  <a:pt x="162" y="144"/>
                </a:lnTo>
                <a:lnTo>
                  <a:pt x="180" y="144"/>
                </a:lnTo>
                <a:lnTo>
                  <a:pt x="192" y="150"/>
                </a:lnTo>
                <a:lnTo>
                  <a:pt x="192" y="144"/>
                </a:lnTo>
                <a:lnTo>
                  <a:pt x="186" y="132"/>
                </a:lnTo>
                <a:lnTo>
                  <a:pt x="174" y="120"/>
                </a:lnTo>
                <a:lnTo>
                  <a:pt x="174" y="114"/>
                </a:lnTo>
                <a:lnTo>
                  <a:pt x="180" y="114"/>
                </a:lnTo>
                <a:lnTo>
                  <a:pt x="192" y="108"/>
                </a:lnTo>
                <a:lnTo>
                  <a:pt x="198" y="102"/>
                </a:lnTo>
                <a:lnTo>
                  <a:pt x="204" y="102"/>
                </a:lnTo>
                <a:lnTo>
                  <a:pt x="204" y="96"/>
                </a:lnTo>
                <a:lnTo>
                  <a:pt x="210" y="90"/>
                </a:lnTo>
                <a:lnTo>
                  <a:pt x="222" y="90"/>
                </a:lnTo>
                <a:lnTo>
                  <a:pt x="216" y="84"/>
                </a:lnTo>
                <a:lnTo>
                  <a:pt x="216" y="66"/>
                </a:lnTo>
                <a:lnTo>
                  <a:pt x="204" y="54"/>
                </a:lnTo>
                <a:lnTo>
                  <a:pt x="180" y="54"/>
                </a:lnTo>
                <a:lnTo>
                  <a:pt x="180" y="42"/>
                </a:lnTo>
                <a:lnTo>
                  <a:pt x="186" y="36"/>
                </a:lnTo>
                <a:lnTo>
                  <a:pt x="186" y="18"/>
                </a:lnTo>
                <a:lnTo>
                  <a:pt x="180" y="12"/>
                </a:lnTo>
                <a:lnTo>
                  <a:pt x="174" y="12"/>
                </a:lnTo>
                <a:lnTo>
                  <a:pt x="162" y="18"/>
                </a:lnTo>
                <a:lnTo>
                  <a:pt x="150" y="18"/>
                </a:lnTo>
                <a:lnTo>
                  <a:pt x="144" y="12"/>
                </a:lnTo>
                <a:lnTo>
                  <a:pt x="144" y="0"/>
                </a:lnTo>
                <a:lnTo>
                  <a:pt x="108" y="0"/>
                </a:lnTo>
                <a:lnTo>
                  <a:pt x="108" y="6"/>
                </a:lnTo>
                <a:lnTo>
                  <a:pt x="96" y="0"/>
                </a:lnTo>
                <a:lnTo>
                  <a:pt x="96" y="12"/>
                </a:lnTo>
                <a:lnTo>
                  <a:pt x="78" y="6"/>
                </a:lnTo>
                <a:lnTo>
                  <a:pt x="72" y="18"/>
                </a:lnTo>
                <a:lnTo>
                  <a:pt x="66" y="12"/>
                </a:lnTo>
                <a:lnTo>
                  <a:pt x="42" y="12"/>
                </a:lnTo>
                <a:lnTo>
                  <a:pt x="36" y="6"/>
                </a:lnTo>
                <a:lnTo>
                  <a:pt x="24" y="6"/>
                </a:lnTo>
                <a:lnTo>
                  <a:pt x="0" y="24"/>
                </a:lnTo>
                <a:lnTo>
                  <a:pt x="0" y="4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6" name="Belarus"/>
          <p:cNvSpPr>
            <a:spLocks/>
          </p:cNvSpPr>
          <p:nvPr/>
        </p:nvSpPr>
        <p:spPr bwMode="gray">
          <a:xfrm>
            <a:off x="4626833" y="2453355"/>
            <a:ext cx="228600" cy="149225"/>
          </a:xfrm>
          <a:custGeom>
            <a:avLst/>
            <a:gdLst>
              <a:gd name="T0" fmla="*/ 2147483647 w 570"/>
              <a:gd name="T1" fmla="*/ 2147483647 h 372"/>
              <a:gd name="T2" fmla="*/ 2147483647 w 570"/>
              <a:gd name="T3" fmla="*/ 2147483647 h 372"/>
              <a:gd name="T4" fmla="*/ 2147483647 w 570"/>
              <a:gd name="T5" fmla="*/ 2147483647 h 372"/>
              <a:gd name="T6" fmla="*/ 2147483647 w 570"/>
              <a:gd name="T7" fmla="*/ 2147483647 h 372"/>
              <a:gd name="T8" fmla="*/ 2147483647 w 570"/>
              <a:gd name="T9" fmla="*/ 2147483647 h 372"/>
              <a:gd name="T10" fmla="*/ 2147483647 w 570"/>
              <a:gd name="T11" fmla="*/ 2147483647 h 372"/>
              <a:gd name="T12" fmla="*/ 2147483647 w 570"/>
              <a:gd name="T13" fmla="*/ 2147483647 h 372"/>
              <a:gd name="T14" fmla="*/ 2147483647 w 570"/>
              <a:gd name="T15" fmla="*/ 2147483647 h 372"/>
              <a:gd name="T16" fmla="*/ 2147483647 w 570"/>
              <a:gd name="T17" fmla="*/ 2147483647 h 372"/>
              <a:gd name="T18" fmla="*/ 2147483647 w 570"/>
              <a:gd name="T19" fmla="*/ 2147483647 h 372"/>
              <a:gd name="T20" fmla="*/ 2147483647 w 570"/>
              <a:gd name="T21" fmla="*/ 2147483647 h 372"/>
              <a:gd name="T22" fmla="*/ 2147483647 w 570"/>
              <a:gd name="T23" fmla="*/ 2147483647 h 372"/>
              <a:gd name="T24" fmla="*/ 2147483647 w 570"/>
              <a:gd name="T25" fmla="*/ 2147483647 h 372"/>
              <a:gd name="T26" fmla="*/ 2147483647 w 570"/>
              <a:gd name="T27" fmla="*/ 2147483647 h 372"/>
              <a:gd name="T28" fmla="*/ 2147483647 w 570"/>
              <a:gd name="T29" fmla="*/ 2147483647 h 372"/>
              <a:gd name="T30" fmla="*/ 2147483647 w 570"/>
              <a:gd name="T31" fmla="*/ 2147483647 h 372"/>
              <a:gd name="T32" fmla="*/ 2147483647 w 570"/>
              <a:gd name="T33" fmla="*/ 2147483647 h 372"/>
              <a:gd name="T34" fmla="*/ 2147483647 w 570"/>
              <a:gd name="T35" fmla="*/ 2147483647 h 372"/>
              <a:gd name="T36" fmla="*/ 2147483647 w 570"/>
              <a:gd name="T37" fmla="*/ 2147483647 h 372"/>
              <a:gd name="T38" fmla="*/ 2147483647 w 570"/>
              <a:gd name="T39" fmla="*/ 2147483647 h 372"/>
              <a:gd name="T40" fmla="*/ 2147483647 w 570"/>
              <a:gd name="T41" fmla="*/ 2147483647 h 372"/>
              <a:gd name="T42" fmla="*/ 2147483647 w 570"/>
              <a:gd name="T43" fmla="*/ 2147483647 h 372"/>
              <a:gd name="T44" fmla="*/ 2147483647 w 570"/>
              <a:gd name="T45" fmla="*/ 2147483647 h 372"/>
              <a:gd name="T46" fmla="*/ 2147483647 w 570"/>
              <a:gd name="T47" fmla="*/ 2147483647 h 372"/>
              <a:gd name="T48" fmla="*/ 2147483647 w 570"/>
              <a:gd name="T49" fmla="*/ 2147483647 h 372"/>
              <a:gd name="T50" fmla="*/ 2147483647 w 570"/>
              <a:gd name="T51" fmla="*/ 2147483647 h 372"/>
              <a:gd name="T52" fmla="*/ 2147483647 w 570"/>
              <a:gd name="T53" fmla="*/ 2147483647 h 372"/>
              <a:gd name="T54" fmla="*/ 2147483647 w 570"/>
              <a:gd name="T55" fmla="*/ 2147483647 h 372"/>
              <a:gd name="T56" fmla="*/ 2147483647 w 570"/>
              <a:gd name="T57" fmla="*/ 0 h 372"/>
              <a:gd name="T58" fmla="*/ 2147483647 w 570"/>
              <a:gd name="T59" fmla="*/ 2147483647 h 372"/>
              <a:gd name="T60" fmla="*/ 2147483647 w 570"/>
              <a:gd name="T61" fmla="*/ 2147483647 h 372"/>
              <a:gd name="T62" fmla="*/ 2147483647 w 570"/>
              <a:gd name="T63" fmla="*/ 2147483647 h 372"/>
              <a:gd name="T64" fmla="*/ 2147483647 w 570"/>
              <a:gd name="T65" fmla="*/ 2147483647 h 372"/>
              <a:gd name="T66" fmla="*/ 2147483647 w 570"/>
              <a:gd name="T67" fmla="*/ 2147483647 h 372"/>
              <a:gd name="T68" fmla="*/ 2147483647 w 570"/>
              <a:gd name="T69" fmla="*/ 2147483647 h 372"/>
              <a:gd name="T70" fmla="*/ 2147483647 w 570"/>
              <a:gd name="T71" fmla="*/ 2147483647 h 372"/>
              <a:gd name="T72" fmla="*/ 2147483647 w 570"/>
              <a:gd name="T73" fmla="*/ 2147483647 h 372"/>
              <a:gd name="T74" fmla="*/ 2147483647 w 570"/>
              <a:gd name="T75" fmla="*/ 2147483647 h 372"/>
              <a:gd name="T76" fmla="*/ 2147483647 w 570"/>
              <a:gd name="T77" fmla="*/ 2147483647 h 372"/>
              <a:gd name="T78" fmla="*/ 2147483647 w 570"/>
              <a:gd name="T79" fmla="*/ 2147483647 h 372"/>
              <a:gd name="T80" fmla="*/ 2147483647 w 570"/>
              <a:gd name="T81" fmla="*/ 2147483647 h 372"/>
              <a:gd name="T82" fmla="*/ 2147483647 w 570"/>
              <a:gd name="T83" fmla="*/ 2147483647 h 372"/>
              <a:gd name="T84" fmla="*/ 2147483647 w 570"/>
              <a:gd name="T85" fmla="*/ 2147483647 h 372"/>
              <a:gd name="T86" fmla="*/ 2147483647 w 570"/>
              <a:gd name="T87" fmla="*/ 2147483647 h 372"/>
              <a:gd name="T88" fmla="*/ 2147483647 w 570"/>
              <a:gd name="T89" fmla="*/ 2147483647 h 372"/>
              <a:gd name="T90" fmla="*/ 2147483647 w 570"/>
              <a:gd name="T91" fmla="*/ 2147483647 h 372"/>
              <a:gd name="T92" fmla="*/ 2147483647 w 570"/>
              <a:gd name="T93" fmla="*/ 2147483647 h 372"/>
              <a:gd name="T94" fmla="*/ 2147483647 w 570"/>
              <a:gd name="T95" fmla="*/ 2147483647 h 372"/>
              <a:gd name="T96" fmla="*/ 2147483647 w 570"/>
              <a:gd name="T97" fmla="*/ 2147483647 h 372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70"/>
              <a:gd name="T148" fmla="*/ 0 h 372"/>
              <a:gd name="T149" fmla="*/ 570 w 570"/>
              <a:gd name="T150" fmla="*/ 372 h 372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70" h="372">
                <a:moveTo>
                  <a:pt x="24" y="312"/>
                </a:moveTo>
                <a:lnTo>
                  <a:pt x="24" y="342"/>
                </a:lnTo>
                <a:lnTo>
                  <a:pt x="30" y="354"/>
                </a:lnTo>
                <a:lnTo>
                  <a:pt x="36" y="360"/>
                </a:lnTo>
                <a:lnTo>
                  <a:pt x="48" y="360"/>
                </a:lnTo>
                <a:lnTo>
                  <a:pt x="60" y="354"/>
                </a:lnTo>
                <a:lnTo>
                  <a:pt x="72" y="342"/>
                </a:lnTo>
                <a:lnTo>
                  <a:pt x="72" y="336"/>
                </a:lnTo>
                <a:lnTo>
                  <a:pt x="108" y="336"/>
                </a:lnTo>
                <a:lnTo>
                  <a:pt x="120" y="330"/>
                </a:lnTo>
                <a:lnTo>
                  <a:pt x="126" y="324"/>
                </a:lnTo>
                <a:lnTo>
                  <a:pt x="174" y="324"/>
                </a:lnTo>
                <a:lnTo>
                  <a:pt x="174" y="330"/>
                </a:lnTo>
                <a:lnTo>
                  <a:pt x="180" y="336"/>
                </a:lnTo>
                <a:lnTo>
                  <a:pt x="216" y="336"/>
                </a:lnTo>
                <a:lnTo>
                  <a:pt x="240" y="342"/>
                </a:lnTo>
                <a:lnTo>
                  <a:pt x="258" y="354"/>
                </a:lnTo>
                <a:lnTo>
                  <a:pt x="264" y="348"/>
                </a:lnTo>
                <a:lnTo>
                  <a:pt x="282" y="360"/>
                </a:lnTo>
                <a:lnTo>
                  <a:pt x="294" y="348"/>
                </a:lnTo>
                <a:lnTo>
                  <a:pt x="300" y="360"/>
                </a:lnTo>
                <a:lnTo>
                  <a:pt x="318" y="354"/>
                </a:lnTo>
                <a:lnTo>
                  <a:pt x="324" y="360"/>
                </a:lnTo>
                <a:lnTo>
                  <a:pt x="336" y="354"/>
                </a:lnTo>
                <a:lnTo>
                  <a:pt x="348" y="366"/>
                </a:lnTo>
                <a:lnTo>
                  <a:pt x="348" y="360"/>
                </a:lnTo>
                <a:lnTo>
                  <a:pt x="354" y="354"/>
                </a:lnTo>
                <a:lnTo>
                  <a:pt x="372" y="354"/>
                </a:lnTo>
                <a:lnTo>
                  <a:pt x="378" y="360"/>
                </a:lnTo>
                <a:lnTo>
                  <a:pt x="378" y="372"/>
                </a:lnTo>
                <a:lnTo>
                  <a:pt x="384" y="372"/>
                </a:lnTo>
                <a:lnTo>
                  <a:pt x="396" y="366"/>
                </a:lnTo>
                <a:lnTo>
                  <a:pt x="420" y="366"/>
                </a:lnTo>
                <a:lnTo>
                  <a:pt x="426" y="372"/>
                </a:lnTo>
                <a:lnTo>
                  <a:pt x="444" y="372"/>
                </a:lnTo>
                <a:lnTo>
                  <a:pt x="450" y="366"/>
                </a:lnTo>
                <a:lnTo>
                  <a:pt x="450" y="354"/>
                </a:lnTo>
                <a:lnTo>
                  <a:pt x="444" y="348"/>
                </a:lnTo>
                <a:lnTo>
                  <a:pt x="450" y="336"/>
                </a:lnTo>
                <a:lnTo>
                  <a:pt x="456" y="330"/>
                </a:lnTo>
                <a:lnTo>
                  <a:pt x="468" y="324"/>
                </a:lnTo>
                <a:lnTo>
                  <a:pt x="474" y="312"/>
                </a:lnTo>
                <a:lnTo>
                  <a:pt x="498" y="312"/>
                </a:lnTo>
                <a:lnTo>
                  <a:pt x="516" y="318"/>
                </a:lnTo>
                <a:lnTo>
                  <a:pt x="516" y="300"/>
                </a:lnTo>
                <a:lnTo>
                  <a:pt x="510" y="288"/>
                </a:lnTo>
                <a:lnTo>
                  <a:pt x="504" y="282"/>
                </a:lnTo>
                <a:lnTo>
                  <a:pt x="504" y="264"/>
                </a:lnTo>
                <a:lnTo>
                  <a:pt x="480" y="240"/>
                </a:lnTo>
                <a:lnTo>
                  <a:pt x="480" y="234"/>
                </a:lnTo>
                <a:lnTo>
                  <a:pt x="486" y="228"/>
                </a:lnTo>
                <a:lnTo>
                  <a:pt x="510" y="228"/>
                </a:lnTo>
                <a:lnTo>
                  <a:pt x="510" y="234"/>
                </a:lnTo>
                <a:lnTo>
                  <a:pt x="516" y="234"/>
                </a:lnTo>
                <a:lnTo>
                  <a:pt x="522" y="240"/>
                </a:lnTo>
                <a:lnTo>
                  <a:pt x="528" y="240"/>
                </a:lnTo>
                <a:lnTo>
                  <a:pt x="552" y="228"/>
                </a:lnTo>
                <a:lnTo>
                  <a:pt x="558" y="216"/>
                </a:lnTo>
                <a:lnTo>
                  <a:pt x="570" y="210"/>
                </a:lnTo>
                <a:lnTo>
                  <a:pt x="546" y="198"/>
                </a:lnTo>
                <a:lnTo>
                  <a:pt x="552" y="192"/>
                </a:lnTo>
                <a:lnTo>
                  <a:pt x="552" y="186"/>
                </a:lnTo>
                <a:lnTo>
                  <a:pt x="546" y="186"/>
                </a:lnTo>
                <a:lnTo>
                  <a:pt x="540" y="180"/>
                </a:lnTo>
                <a:lnTo>
                  <a:pt x="504" y="180"/>
                </a:lnTo>
                <a:lnTo>
                  <a:pt x="504" y="156"/>
                </a:lnTo>
                <a:lnTo>
                  <a:pt x="474" y="144"/>
                </a:lnTo>
                <a:lnTo>
                  <a:pt x="474" y="132"/>
                </a:lnTo>
                <a:lnTo>
                  <a:pt x="456" y="114"/>
                </a:lnTo>
                <a:lnTo>
                  <a:pt x="444" y="108"/>
                </a:lnTo>
                <a:lnTo>
                  <a:pt x="438" y="102"/>
                </a:lnTo>
                <a:lnTo>
                  <a:pt x="444" y="84"/>
                </a:lnTo>
                <a:lnTo>
                  <a:pt x="432" y="66"/>
                </a:lnTo>
                <a:lnTo>
                  <a:pt x="438" y="60"/>
                </a:lnTo>
                <a:lnTo>
                  <a:pt x="438" y="48"/>
                </a:lnTo>
                <a:lnTo>
                  <a:pt x="432" y="42"/>
                </a:lnTo>
                <a:lnTo>
                  <a:pt x="396" y="24"/>
                </a:lnTo>
                <a:lnTo>
                  <a:pt x="390" y="18"/>
                </a:lnTo>
                <a:lnTo>
                  <a:pt x="384" y="18"/>
                </a:lnTo>
                <a:lnTo>
                  <a:pt x="354" y="36"/>
                </a:lnTo>
                <a:lnTo>
                  <a:pt x="348" y="18"/>
                </a:lnTo>
                <a:lnTo>
                  <a:pt x="312" y="12"/>
                </a:lnTo>
                <a:lnTo>
                  <a:pt x="300" y="18"/>
                </a:lnTo>
                <a:lnTo>
                  <a:pt x="300" y="12"/>
                </a:lnTo>
                <a:lnTo>
                  <a:pt x="294" y="6"/>
                </a:lnTo>
                <a:lnTo>
                  <a:pt x="276" y="6"/>
                </a:lnTo>
                <a:lnTo>
                  <a:pt x="270" y="0"/>
                </a:lnTo>
                <a:lnTo>
                  <a:pt x="258" y="0"/>
                </a:lnTo>
                <a:lnTo>
                  <a:pt x="252" y="6"/>
                </a:lnTo>
                <a:lnTo>
                  <a:pt x="246" y="18"/>
                </a:lnTo>
                <a:lnTo>
                  <a:pt x="240" y="24"/>
                </a:lnTo>
                <a:lnTo>
                  <a:pt x="234" y="24"/>
                </a:lnTo>
                <a:lnTo>
                  <a:pt x="228" y="30"/>
                </a:lnTo>
                <a:lnTo>
                  <a:pt x="222" y="24"/>
                </a:lnTo>
                <a:lnTo>
                  <a:pt x="198" y="24"/>
                </a:lnTo>
                <a:lnTo>
                  <a:pt x="192" y="30"/>
                </a:lnTo>
                <a:lnTo>
                  <a:pt x="180" y="36"/>
                </a:lnTo>
                <a:lnTo>
                  <a:pt x="174" y="42"/>
                </a:lnTo>
                <a:lnTo>
                  <a:pt x="174" y="54"/>
                </a:lnTo>
                <a:lnTo>
                  <a:pt x="192" y="72"/>
                </a:lnTo>
                <a:lnTo>
                  <a:pt x="186" y="78"/>
                </a:lnTo>
                <a:lnTo>
                  <a:pt x="168" y="78"/>
                </a:lnTo>
                <a:lnTo>
                  <a:pt x="162" y="72"/>
                </a:lnTo>
                <a:lnTo>
                  <a:pt x="156" y="72"/>
                </a:lnTo>
                <a:lnTo>
                  <a:pt x="162" y="90"/>
                </a:lnTo>
                <a:lnTo>
                  <a:pt x="144" y="90"/>
                </a:lnTo>
                <a:lnTo>
                  <a:pt x="138" y="96"/>
                </a:lnTo>
                <a:lnTo>
                  <a:pt x="138" y="102"/>
                </a:lnTo>
                <a:lnTo>
                  <a:pt x="144" y="114"/>
                </a:lnTo>
                <a:lnTo>
                  <a:pt x="144" y="120"/>
                </a:lnTo>
                <a:lnTo>
                  <a:pt x="132" y="120"/>
                </a:lnTo>
                <a:lnTo>
                  <a:pt x="132" y="126"/>
                </a:lnTo>
                <a:lnTo>
                  <a:pt x="138" y="132"/>
                </a:lnTo>
                <a:lnTo>
                  <a:pt x="138" y="144"/>
                </a:lnTo>
                <a:lnTo>
                  <a:pt x="144" y="150"/>
                </a:lnTo>
                <a:lnTo>
                  <a:pt x="144" y="156"/>
                </a:lnTo>
                <a:lnTo>
                  <a:pt x="132" y="156"/>
                </a:lnTo>
                <a:lnTo>
                  <a:pt x="138" y="150"/>
                </a:lnTo>
                <a:lnTo>
                  <a:pt x="138" y="144"/>
                </a:lnTo>
                <a:lnTo>
                  <a:pt x="120" y="144"/>
                </a:lnTo>
                <a:lnTo>
                  <a:pt x="108" y="150"/>
                </a:lnTo>
                <a:lnTo>
                  <a:pt x="102" y="156"/>
                </a:lnTo>
                <a:lnTo>
                  <a:pt x="96" y="168"/>
                </a:lnTo>
                <a:lnTo>
                  <a:pt x="84" y="156"/>
                </a:lnTo>
                <a:lnTo>
                  <a:pt x="84" y="174"/>
                </a:lnTo>
                <a:lnTo>
                  <a:pt x="54" y="174"/>
                </a:lnTo>
                <a:lnTo>
                  <a:pt x="54" y="168"/>
                </a:lnTo>
                <a:lnTo>
                  <a:pt x="48" y="162"/>
                </a:lnTo>
                <a:lnTo>
                  <a:pt x="42" y="162"/>
                </a:lnTo>
                <a:lnTo>
                  <a:pt x="30" y="168"/>
                </a:lnTo>
                <a:lnTo>
                  <a:pt x="18" y="168"/>
                </a:lnTo>
                <a:lnTo>
                  <a:pt x="12" y="174"/>
                </a:lnTo>
                <a:lnTo>
                  <a:pt x="6" y="174"/>
                </a:lnTo>
                <a:lnTo>
                  <a:pt x="12" y="186"/>
                </a:lnTo>
                <a:lnTo>
                  <a:pt x="18" y="192"/>
                </a:lnTo>
                <a:lnTo>
                  <a:pt x="18" y="204"/>
                </a:lnTo>
                <a:lnTo>
                  <a:pt x="24" y="210"/>
                </a:lnTo>
                <a:lnTo>
                  <a:pt x="36" y="234"/>
                </a:lnTo>
                <a:lnTo>
                  <a:pt x="42" y="240"/>
                </a:lnTo>
                <a:lnTo>
                  <a:pt x="42" y="246"/>
                </a:lnTo>
                <a:lnTo>
                  <a:pt x="36" y="252"/>
                </a:lnTo>
                <a:lnTo>
                  <a:pt x="36" y="264"/>
                </a:lnTo>
                <a:lnTo>
                  <a:pt x="12" y="270"/>
                </a:lnTo>
                <a:lnTo>
                  <a:pt x="12" y="288"/>
                </a:lnTo>
                <a:lnTo>
                  <a:pt x="0" y="288"/>
                </a:lnTo>
                <a:lnTo>
                  <a:pt x="0" y="294"/>
                </a:lnTo>
                <a:lnTo>
                  <a:pt x="6" y="300"/>
                </a:lnTo>
                <a:lnTo>
                  <a:pt x="12" y="300"/>
                </a:lnTo>
                <a:lnTo>
                  <a:pt x="24" y="31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7" name="Bangladesh"/>
          <p:cNvSpPr>
            <a:spLocks/>
          </p:cNvSpPr>
          <p:nvPr/>
        </p:nvSpPr>
        <p:spPr bwMode="gray">
          <a:xfrm>
            <a:off x="6476271" y="3399505"/>
            <a:ext cx="150812" cy="171450"/>
          </a:xfrm>
          <a:custGeom>
            <a:avLst/>
            <a:gdLst>
              <a:gd name="T0" fmla="*/ 2147483647 w 372"/>
              <a:gd name="T1" fmla="*/ 2147483647 h 426"/>
              <a:gd name="T2" fmla="*/ 2147483647 w 372"/>
              <a:gd name="T3" fmla="*/ 2147483647 h 426"/>
              <a:gd name="T4" fmla="*/ 2147483647 w 372"/>
              <a:gd name="T5" fmla="*/ 2147483647 h 426"/>
              <a:gd name="T6" fmla="*/ 2147483647 w 372"/>
              <a:gd name="T7" fmla="*/ 2147483647 h 426"/>
              <a:gd name="T8" fmla="*/ 2147483647 w 372"/>
              <a:gd name="T9" fmla="*/ 2147483647 h 426"/>
              <a:gd name="T10" fmla="*/ 2147483647 w 372"/>
              <a:gd name="T11" fmla="*/ 2147483647 h 426"/>
              <a:gd name="T12" fmla="*/ 2147483647 w 372"/>
              <a:gd name="T13" fmla="*/ 2147483647 h 426"/>
              <a:gd name="T14" fmla="*/ 2147483647 w 372"/>
              <a:gd name="T15" fmla="*/ 2147483647 h 426"/>
              <a:gd name="T16" fmla="*/ 2147483647 w 372"/>
              <a:gd name="T17" fmla="*/ 2147483647 h 426"/>
              <a:gd name="T18" fmla="*/ 2147483647 w 372"/>
              <a:gd name="T19" fmla="*/ 2147483647 h 426"/>
              <a:gd name="T20" fmla="*/ 2147483647 w 372"/>
              <a:gd name="T21" fmla="*/ 2147483647 h 426"/>
              <a:gd name="T22" fmla="*/ 2147483647 w 372"/>
              <a:gd name="T23" fmla="*/ 2147483647 h 426"/>
              <a:gd name="T24" fmla="*/ 2147483647 w 372"/>
              <a:gd name="T25" fmla="*/ 2147483647 h 426"/>
              <a:gd name="T26" fmla="*/ 2147483647 w 372"/>
              <a:gd name="T27" fmla="*/ 2147483647 h 426"/>
              <a:gd name="T28" fmla="*/ 2147483647 w 372"/>
              <a:gd name="T29" fmla="*/ 2147483647 h 426"/>
              <a:gd name="T30" fmla="*/ 2147483647 w 372"/>
              <a:gd name="T31" fmla="*/ 2147483647 h 426"/>
              <a:gd name="T32" fmla="*/ 2147483647 w 372"/>
              <a:gd name="T33" fmla="*/ 2147483647 h 426"/>
              <a:gd name="T34" fmla="*/ 2147483647 w 372"/>
              <a:gd name="T35" fmla="*/ 2147483647 h 426"/>
              <a:gd name="T36" fmla="*/ 2147483647 w 372"/>
              <a:gd name="T37" fmla="*/ 2147483647 h 426"/>
              <a:gd name="T38" fmla="*/ 2147483647 w 372"/>
              <a:gd name="T39" fmla="*/ 2147483647 h 426"/>
              <a:gd name="T40" fmla="*/ 2147483647 w 372"/>
              <a:gd name="T41" fmla="*/ 2147483647 h 426"/>
              <a:gd name="T42" fmla="*/ 2147483647 w 372"/>
              <a:gd name="T43" fmla="*/ 2147483647 h 426"/>
              <a:gd name="T44" fmla="*/ 2147483647 w 372"/>
              <a:gd name="T45" fmla="*/ 2147483647 h 426"/>
              <a:gd name="T46" fmla="*/ 2147483647 w 372"/>
              <a:gd name="T47" fmla="*/ 2147483647 h 426"/>
              <a:gd name="T48" fmla="*/ 2147483647 w 372"/>
              <a:gd name="T49" fmla="*/ 2147483647 h 426"/>
              <a:gd name="T50" fmla="*/ 2147483647 w 372"/>
              <a:gd name="T51" fmla="*/ 2147483647 h 426"/>
              <a:gd name="T52" fmla="*/ 2147483647 w 372"/>
              <a:gd name="T53" fmla="*/ 2147483647 h 426"/>
              <a:gd name="T54" fmla="*/ 2147483647 w 372"/>
              <a:gd name="T55" fmla="*/ 2147483647 h 426"/>
              <a:gd name="T56" fmla="*/ 2147483647 w 372"/>
              <a:gd name="T57" fmla="*/ 2147483647 h 426"/>
              <a:gd name="T58" fmla="*/ 2147483647 w 372"/>
              <a:gd name="T59" fmla="*/ 2147483647 h 426"/>
              <a:gd name="T60" fmla="*/ 2147483647 w 372"/>
              <a:gd name="T61" fmla="*/ 2147483647 h 426"/>
              <a:gd name="T62" fmla="*/ 2147483647 w 372"/>
              <a:gd name="T63" fmla="*/ 2147483647 h 426"/>
              <a:gd name="T64" fmla="*/ 2147483647 w 372"/>
              <a:gd name="T65" fmla="*/ 2147483647 h 426"/>
              <a:gd name="T66" fmla="*/ 2147483647 w 372"/>
              <a:gd name="T67" fmla="*/ 2147483647 h 426"/>
              <a:gd name="T68" fmla="*/ 2147483647 w 372"/>
              <a:gd name="T69" fmla="*/ 2147483647 h 426"/>
              <a:gd name="T70" fmla="*/ 2147483647 w 372"/>
              <a:gd name="T71" fmla="*/ 2147483647 h 426"/>
              <a:gd name="T72" fmla="*/ 2147483647 w 372"/>
              <a:gd name="T73" fmla="*/ 2147483647 h 426"/>
              <a:gd name="T74" fmla="*/ 2147483647 w 372"/>
              <a:gd name="T75" fmla="*/ 2147483647 h 426"/>
              <a:gd name="T76" fmla="*/ 2147483647 w 372"/>
              <a:gd name="T77" fmla="*/ 2147483647 h 426"/>
              <a:gd name="T78" fmla="*/ 2147483647 w 372"/>
              <a:gd name="T79" fmla="*/ 2147483647 h 426"/>
              <a:gd name="T80" fmla="*/ 2147483647 w 372"/>
              <a:gd name="T81" fmla="*/ 2147483647 h 426"/>
              <a:gd name="T82" fmla="*/ 2147483647 w 372"/>
              <a:gd name="T83" fmla="*/ 2147483647 h 426"/>
              <a:gd name="T84" fmla="*/ 2147483647 w 372"/>
              <a:gd name="T85" fmla="*/ 0 h 426"/>
              <a:gd name="T86" fmla="*/ 2147483647 w 372"/>
              <a:gd name="T87" fmla="*/ 2147483647 h 426"/>
              <a:gd name="T88" fmla="*/ 0 w 372"/>
              <a:gd name="T89" fmla="*/ 2147483647 h 426"/>
              <a:gd name="T90" fmla="*/ 2147483647 w 372"/>
              <a:gd name="T91" fmla="*/ 2147483647 h 426"/>
              <a:gd name="T92" fmla="*/ 2147483647 w 372"/>
              <a:gd name="T93" fmla="*/ 2147483647 h 426"/>
              <a:gd name="T94" fmla="*/ 2147483647 w 372"/>
              <a:gd name="T95" fmla="*/ 2147483647 h 426"/>
              <a:gd name="T96" fmla="*/ 2147483647 w 372"/>
              <a:gd name="T97" fmla="*/ 2147483647 h 426"/>
              <a:gd name="T98" fmla="*/ 2147483647 w 372"/>
              <a:gd name="T99" fmla="*/ 2147483647 h 426"/>
              <a:gd name="T100" fmla="*/ 2147483647 w 372"/>
              <a:gd name="T101" fmla="*/ 2147483647 h 426"/>
              <a:gd name="T102" fmla="*/ 2147483647 w 372"/>
              <a:gd name="T103" fmla="*/ 2147483647 h 426"/>
              <a:gd name="T104" fmla="*/ 2147483647 w 372"/>
              <a:gd name="T105" fmla="*/ 2147483647 h 426"/>
              <a:gd name="T106" fmla="*/ 2147483647 w 372"/>
              <a:gd name="T107" fmla="*/ 2147483647 h 426"/>
              <a:gd name="T108" fmla="*/ 2147483647 w 372"/>
              <a:gd name="T109" fmla="*/ 2147483647 h 426"/>
              <a:gd name="T110" fmla="*/ 2147483647 w 372"/>
              <a:gd name="T111" fmla="*/ 2147483647 h 426"/>
              <a:gd name="T112" fmla="*/ 2147483647 w 372"/>
              <a:gd name="T113" fmla="*/ 2147483647 h 426"/>
              <a:gd name="T114" fmla="*/ 2147483647 w 372"/>
              <a:gd name="T115" fmla="*/ 2147483647 h 4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72"/>
              <a:gd name="T175" fmla="*/ 0 h 426"/>
              <a:gd name="T176" fmla="*/ 372 w 372"/>
              <a:gd name="T177" fmla="*/ 426 h 42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72" h="426">
                <a:moveTo>
                  <a:pt x="132" y="414"/>
                </a:moveTo>
                <a:lnTo>
                  <a:pt x="138" y="354"/>
                </a:lnTo>
                <a:lnTo>
                  <a:pt x="144" y="354"/>
                </a:lnTo>
                <a:lnTo>
                  <a:pt x="150" y="360"/>
                </a:lnTo>
                <a:lnTo>
                  <a:pt x="162" y="360"/>
                </a:lnTo>
                <a:lnTo>
                  <a:pt x="174" y="366"/>
                </a:lnTo>
                <a:lnTo>
                  <a:pt x="192" y="372"/>
                </a:lnTo>
                <a:lnTo>
                  <a:pt x="216" y="372"/>
                </a:lnTo>
                <a:lnTo>
                  <a:pt x="210" y="366"/>
                </a:lnTo>
                <a:lnTo>
                  <a:pt x="210" y="348"/>
                </a:lnTo>
                <a:lnTo>
                  <a:pt x="204" y="342"/>
                </a:lnTo>
                <a:lnTo>
                  <a:pt x="222" y="342"/>
                </a:lnTo>
                <a:lnTo>
                  <a:pt x="258" y="360"/>
                </a:lnTo>
                <a:lnTo>
                  <a:pt x="270" y="360"/>
                </a:lnTo>
                <a:lnTo>
                  <a:pt x="282" y="348"/>
                </a:lnTo>
                <a:lnTo>
                  <a:pt x="282" y="336"/>
                </a:lnTo>
                <a:lnTo>
                  <a:pt x="270" y="300"/>
                </a:lnTo>
                <a:lnTo>
                  <a:pt x="318" y="354"/>
                </a:lnTo>
                <a:lnTo>
                  <a:pt x="318" y="360"/>
                </a:lnTo>
                <a:lnTo>
                  <a:pt x="312" y="366"/>
                </a:lnTo>
                <a:lnTo>
                  <a:pt x="312" y="390"/>
                </a:lnTo>
                <a:lnTo>
                  <a:pt x="306" y="402"/>
                </a:lnTo>
                <a:lnTo>
                  <a:pt x="306" y="414"/>
                </a:lnTo>
                <a:lnTo>
                  <a:pt x="312" y="420"/>
                </a:lnTo>
                <a:lnTo>
                  <a:pt x="324" y="420"/>
                </a:lnTo>
                <a:lnTo>
                  <a:pt x="330" y="426"/>
                </a:lnTo>
                <a:lnTo>
                  <a:pt x="336" y="414"/>
                </a:lnTo>
                <a:lnTo>
                  <a:pt x="336" y="408"/>
                </a:lnTo>
                <a:lnTo>
                  <a:pt x="372" y="414"/>
                </a:lnTo>
                <a:lnTo>
                  <a:pt x="360" y="354"/>
                </a:lnTo>
                <a:lnTo>
                  <a:pt x="360" y="348"/>
                </a:lnTo>
                <a:lnTo>
                  <a:pt x="354" y="342"/>
                </a:lnTo>
                <a:lnTo>
                  <a:pt x="348" y="330"/>
                </a:lnTo>
                <a:lnTo>
                  <a:pt x="342" y="312"/>
                </a:lnTo>
                <a:lnTo>
                  <a:pt x="336" y="300"/>
                </a:lnTo>
                <a:lnTo>
                  <a:pt x="336" y="288"/>
                </a:lnTo>
                <a:lnTo>
                  <a:pt x="330" y="276"/>
                </a:lnTo>
                <a:lnTo>
                  <a:pt x="330" y="270"/>
                </a:lnTo>
                <a:lnTo>
                  <a:pt x="324" y="258"/>
                </a:lnTo>
                <a:lnTo>
                  <a:pt x="324" y="240"/>
                </a:lnTo>
                <a:lnTo>
                  <a:pt x="318" y="234"/>
                </a:lnTo>
                <a:lnTo>
                  <a:pt x="306" y="228"/>
                </a:lnTo>
                <a:lnTo>
                  <a:pt x="288" y="228"/>
                </a:lnTo>
                <a:lnTo>
                  <a:pt x="288" y="252"/>
                </a:lnTo>
                <a:lnTo>
                  <a:pt x="282" y="288"/>
                </a:lnTo>
                <a:lnTo>
                  <a:pt x="264" y="264"/>
                </a:lnTo>
                <a:lnTo>
                  <a:pt x="258" y="264"/>
                </a:lnTo>
                <a:lnTo>
                  <a:pt x="240" y="246"/>
                </a:lnTo>
                <a:lnTo>
                  <a:pt x="234" y="234"/>
                </a:lnTo>
                <a:lnTo>
                  <a:pt x="234" y="216"/>
                </a:lnTo>
                <a:lnTo>
                  <a:pt x="240" y="204"/>
                </a:lnTo>
                <a:lnTo>
                  <a:pt x="252" y="192"/>
                </a:lnTo>
                <a:lnTo>
                  <a:pt x="258" y="192"/>
                </a:lnTo>
                <a:lnTo>
                  <a:pt x="270" y="186"/>
                </a:lnTo>
                <a:lnTo>
                  <a:pt x="276" y="186"/>
                </a:lnTo>
                <a:lnTo>
                  <a:pt x="282" y="180"/>
                </a:lnTo>
                <a:lnTo>
                  <a:pt x="288" y="168"/>
                </a:lnTo>
                <a:lnTo>
                  <a:pt x="294" y="150"/>
                </a:lnTo>
                <a:lnTo>
                  <a:pt x="294" y="138"/>
                </a:lnTo>
                <a:lnTo>
                  <a:pt x="300" y="138"/>
                </a:lnTo>
                <a:lnTo>
                  <a:pt x="306" y="132"/>
                </a:lnTo>
                <a:lnTo>
                  <a:pt x="306" y="126"/>
                </a:lnTo>
                <a:lnTo>
                  <a:pt x="282" y="102"/>
                </a:lnTo>
                <a:lnTo>
                  <a:pt x="276" y="102"/>
                </a:lnTo>
                <a:lnTo>
                  <a:pt x="228" y="114"/>
                </a:lnTo>
                <a:lnTo>
                  <a:pt x="210" y="114"/>
                </a:lnTo>
                <a:lnTo>
                  <a:pt x="198" y="108"/>
                </a:lnTo>
                <a:lnTo>
                  <a:pt x="138" y="108"/>
                </a:lnTo>
                <a:lnTo>
                  <a:pt x="132" y="102"/>
                </a:lnTo>
                <a:lnTo>
                  <a:pt x="126" y="102"/>
                </a:lnTo>
                <a:lnTo>
                  <a:pt x="126" y="66"/>
                </a:lnTo>
                <a:lnTo>
                  <a:pt x="120" y="66"/>
                </a:lnTo>
                <a:lnTo>
                  <a:pt x="120" y="36"/>
                </a:lnTo>
                <a:lnTo>
                  <a:pt x="114" y="30"/>
                </a:lnTo>
                <a:lnTo>
                  <a:pt x="108" y="30"/>
                </a:lnTo>
                <a:lnTo>
                  <a:pt x="102" y="24"/>
                </a:lnTo>
                <a:lnTo>
                  <a:pt x="96" y="42"/>
                </a:lnTo>
                <a:lnTo>
                  <a:pt x="90" y="36"/>
                </a:lnTo>
                <a:lnTo>
                  <a:pt x="78" y="36"/>
                </a:lnTo>
                <a:lnTo>
                  <a:pt x="72" y="30"/>
                </a:lnTo>
                <a:lnTo>
                  <a:pt x="66" y="18"/>
                </a:lnTo>
                <a:lnTo>
                  <a:pt x="66" y="12"/>
                </a:lnTo>
                <a:lnTo>
                  <a:pt x="60" y="0"/>
                </a:lnTo>
                <a:lnTo>
                  <a:pt x="42" y="6"/>
                </a:lnTo>
                <a:lnTo>
                  <a:pt x="48" y="12"/>
                </a:lnTo>
                <a:lnTo>
                  <a:pt x="24" y="0"/>
                </a:lnTo>
                <a:lnTo>
                  <a:pt x="6" y="0"/>
                </a:lnTo>
                <a:lnTo>
                  <a:pt x="18" y="18"/>
                </a:lnTo>
                <a:lnTo>
                  <a:pt x="6" y="30"/>
                </a:lnTo>
                <a:lnTo>
                  <a:pt x="0" y="42"/>
                </a:lnTo>
                <a:lnTo>
                  <a:pt x="0" y="48"/>
                </a:lnTo>
                <a:lnTo>
                  <a:pt x="6" y="60"/>
                </a:lnTo>
                <a:lnTo>
                  <a:pt x="18" y="66"/>
                </a:lnTo>
                <a:lnTo>
                  <a:pt x="30" y="78"/>
                </a:lnTo>
                <a:lnTo>
                  <a:pt x="36" y="78"/>
                </a:lnTo>
                <a:lnTo>
                  <a:pt x="66" y="96"/>
                </a:lnTo>
                <a:lnTo>
                  <a:pt x="66" y="108"/>
                </a:lnTo>
                <a:lnTo>
                  <a:pt x="30" y="108"/>
                </a:lnTo>
                <a:lnTo>
                  <a:pt x="30" y="138"/>
                </a:lnTo>
                <a:lnTo>
                  <a:pt x="24" y="138"/>
                </a:lnTo>
                <a:lnTo>
                  <a:pt x="12" y="150"/>
                </a:lnTo>
                <a:lnTo>
                  <a:pt x="24" y="162"/>
                </a:lnTo>
                <a:lnTo>
                  <a:pt x="36" y="168"/>
                </a:lnTo>
                <a:lnTo>
                  <a:pt x="54" y="168"/>
                </a:lnTo>
                <a:lnTo>
                  <a:pt x="66" y="174"/>
                </a:lnTo>
                <a:lnTo>
                  <a:pt x="72" y="180"/>
                </a:lnTo>
                <a:lnTo>
                  <a:pt x="72" y="186"/>
                </a:lnTo>
                <a:lnTo>
                  <a:pt x="66" y="204"/>
                </a:lnTo>
                <a:lnTo>
                  <a:pt x="60" y="210"/>
                </a:lnTo>
                <a:lnTo>
                  <a:pt x="54" y="222"/>
                </a:lnTo>
                <a:lnTo>
                  <a:pt x="66" y="252"/>
                </a:lnTo>
                <a:lnTo>
                  <a:pt x="96" y="276"/>
                </a:lnTo>
                <a:lnTo>
                  <a:pt x="96" y="306"/>
                </a:lnTo>
                <a:lnTo>
                  <a:pt x="114" y="348"/>
                </a:lnTo>
                <a:lnTo>
                  <a:pt x="108" y="378"/>
                </a:lnTo>
                <a:lnTo>
                  <a:pt x="132" y="41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78" name="Bahrain"/>
          <p:cNvSpPr>
            <a:spLocks/>
          </p:cNvSpPr>
          <p:nvPr/>
        </p:nvSpPr>
        <p:spPr bwMode="gray">
          <a:xfrm>
            <a:off x="5431696" y="3401093"/>
            <a:ext cx="11112" cy="22225"/>
          </a:xfrm>
          <a:custGeom>
            <a:avLst/>
            <a:gdLst>
              <a:gd name="T0" fmla="*/ 2147483647 w 15"/>
              <a:gd name="T1" fmla="*/ 0 h 28"/>
              <a:gd name="T2" fmla="*/ 2147483647 w 15"/>
              <a:gd name="T3" fmla="*/ 2147483647 h 28"/>
              <a:gd name="T4" fmla="*/ 2147483647 w 15"/>
              <a:gd name="T5" fmla="*/ 2147483647 h 28"/>
              <a:gd name="T6" fmla="*/ 2147483647 w 15"/>
              <a:gd name="T7" fmla="*/ 2147483647 h 28"/>
              <a:gd name="T8" fmla="*/ 2147483647 w 15"/>
              <a:gd name="T9" fmla="*/ 2147483647 h 28"/>
              <a:gd name="T10" fmla="*/ 2147483647 w 15"/>
              <a:gd name="T11" fmla="*/ 0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28"/>
              <a:gd name="T20" fmla="*/ 15 w 15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28">
                <a:moveTo>
                  <a:pt x="9" y="0"/>
                </a:moveTo>
                <a:cubicBezTo>
                  <a:pt x="14" y="0"/>
                  <a:pt x="15" y="10"/>
                  <a:pt x="14" y="14"/>
                </a:cubicBezTo>
                <a:cubicBezTo>
                  <a:pt x="13" y="18"/>
                  <a:pt x="15" y="28"/>
                  <a:pt x="9" y="28"/>
                </a:cubicBezTo>
                <a:cubicBezTo>
                  <a:pt x="4" y="27"/>
                  <a:pt x="5" y="21"/>
                  <a:pt x="5" y="18"/>
                </a:cubicBezTo>
                <a:cubicBezTo>
                  <a:pt x="5" y="14"/>
                  <a:pt x="0" y="14"/>
                  <a:pt x="2" y="8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9" name="Azerbaijan"/>
          <p:cNvSpPr>
            <a:spLocks noEditPoints="1"/>
          </p:cNvSpPr>
          <p:nvPr/>
        </p:nvSpPr>
        <p:spPr bwMode="gray">
          <a:xfrm>
            <a:off x="5222146" y="2901030"/>
            <a:ext cx="146050" cy="117475"/>
          </a:xfrm>
          <a:custGeom>
            <a:avLst/>
            <a:gdLst>
              <a:gd name="T0" fmla="*/ 2147483647 w 360"/>
              <a:gd name="T1" fmla="*/ 2147483647 h 288"/>
              <a:gd name="T2" fmla="*/ 2147483647 w 360"/>
              <a:gd name="T3" fmla="*/ 2147483647 h 288"/>
              <a:gd name="T4" fmla="*/ 2147483647 w 360"/>
              <a:gd name="T5" fmla="*/ 2147483647 h 288"/>
              <a:gd name="T6" fmla="*/ 2147483647 w 360"/>
              <a:gd name="T7" fmla="*/ 2147483647 h 288"/>
              <a:gd name="T8" fmla="*/ 2147483647 w 360"/>
              <a:gd name="T9" fmla="*/ 2147483647 h 288"/>
              <a:gd name="T10" fmla="*/ 2147483647 w 360"/>
              <a:gd name="T11" fmla="*/ 2147483647 h 288"/>
              <a:gd name="T12" fmla="*/ 2147483647 w 360"/>
              <a:gd name="T13" fmla="*/ 2147483647 h 288"/>
              <a:gd name="T14" fmla="*/ 2147483647 w 360"/>
              <a:gd name="T15" fmla="*/ 2147483647 h 288"/>
              <a:gd name="T16" fmla="*/ 2147483647 w 360"/>
              <a:gd name="T17" fmla="*/ 2147483647 h 288"/>
              <a:gd name="T18" fmla="*/ 2147483647 w 360"/>
              <a:gd name="T19" fmla="*/ 2147483647 h 288"/>
              <a:gd name="T20" fmla="*/ 2147483647 w 360"/>
              <a:gd name="T21" fmla="*/ 2147483647 h 288"/>
              <a:gd name="T22" fmla="*/ 2147483647 w 360"/>
              <a:gd name="T23" fmla="*/ 2147483647 h 288"/>
              <a:gd name="T24" fmla="*/ 2147483647 w 360"/>
              <a:gd name="T25" fmla="*/ 2147483647 h 288"/>
              <a:gd name="T26" fmla="*/ 2147483647 w 360"/>
              <a:gd name="T27" fmla="*/ 0 h 288"/>
              <a:gd name="T28" fmla="*/ 2147483647 w 360"/>
              <a:gd name="T29" fmla="*/ 2147483647 h 288"/>
              <a:gd name="T30" fmla="*/ 2147483647 w 360"/>
              <a:gd name="T31" fmla="*/ 2147483647 h 288"/>
              <a:gd name="T32" fmla="*/ 2147483647 w 360"/>
              <a:gd name="T33" fmla="*/ 2147483647 h 288"/>
              <a:gd name="T34" fmla="*/ 2147483647 w 360"/>
              <a:gd name="T35" fmla="*/ 2147483647 h 288"/>
              <a:gd name="T36" fmla="*/ 2147483647 w 360"/>
              <a:gd name="T37" fmla="*/ 2147483647 h 288"/>
              <a:gd name="T38" fmla="*/ 2147483647 w 360"/>
              <a:gd name="T39" fmla="*/ 0 h 288"/>
              <a:gd name="T40" fmla="*/ 2147483647 w 360"/>
              <a:gd name="T41" fmla="*/ 2147483647 h 288"/>
              <a:gd name="T42" fmla="*/ 2147483647 w 360"/>
              <a:gd name="T43" fmla="*/ 2147483647 h 288"/>
              <a:gd name="T44" fmla="*/ 2147483647 w 360"/>
              <a:gd name="T45" fmla="*/ 2147483647 h 288"/>
              <a:gd name="T46" fmla="*/ 2147483647 w 360"/>
              <a:gd name="T47" fmla="*/ 2147483647 h 288"/>
              <a:gd name="T48" fmla="*/ 2147483647 w 360"/>
              <a:gd name="T49" fmla="*/ 2147483647 h 288"/>
              <a:gd name="T50" fmla="*/ 2147483647 w 360"/>
              <a:gd name="T51" fmla="*/ 2147483647 h 288"/>
              <a:gd name="T52" fmla="*/ 2147483647 w 360"/>
              <a:gd name="T53" fmla="*/ 2147483647 h 288"/>
              <a:gd name="T54" fmla="*/ 0 w 360"/>
              <a:gd name="T55" fmla="*/ 2147483647 h 288"/>
              <a:gd name="T56" fmla="*/ 2147483647 w 360"/>
              <a:gd name="T57" fmla="*/ 2147483647 h 288"/>
              <a:gd name="T58" fmla="*/ 2147483647 w 360"/>
              <a:gd name="T59" fmla="*/ 2147483647 h 288"/>
              <a:gd name="T60" fmla="*/ 2147483647 w 360"/>
              <a:gd name="T61" fmla="*/ 2147483647 h 288"/>
              <a:gd name="T62" fmla="*/ 2147483647 w 360"/>
              <a:gd name="T63" fmla="*/ 2147483647 h 288"/>
              <a:gd name="T64" fmla="*/ 2147483647 w 360"/>
              <a:gd name="T65" fmla="*/ 2147483647 h 288"/>
              <a:gd name="T66" fmla="*/ 2147483647 w 360"/>
              <a:gd name="T67" fmla="*/ 2147483647 h 288"/>
              <a:gd name="T68" fmla="*/ 2147483647 w 360"/>
              <a:gd name="T69" fmla="*/ 2147483647 h 288"/>
              <a:gd name="T70" fmla="*/ 2147483647 w 360"/>
              <a:gd name="T71" fmla="*/ 2147483647 h 288"/>
              <a:gd name="T72" fmla="*/ 2147483647 w 360"/>
              <a:gd name="T73" fmla="*/ 2147483647 h 288"/>
              <a:gd name="T74" fmla="*/ 2147483647 w 360"/>
              <a:gd name="T75" fmla="*/ 2147483647 h 288"/>
              <a:gd name="T76" fmla="*/ 2147483647 w 360"/>
              <a:gd name="T77" fmla="*/ 2147483647 h 288"/>
              <a:gd name="T78" fmla="*/ 2147483647 w 360"/>
              <a:gd name="T79" fmla="*/ 2147483647 h 288"/>
              <a:gd name="T80" fmla="*/ 2147483647 w 360"/>
              <a:gd name="T81" fmla="*/ 2147483647 h 288"/>
              <a:gd name="T82" fmla="*/ 2147483647 w 360"/>
              <a:gd name="T83" fmla="*/ 2147483647 h 288"/>
              <a:gd name="T84" fmla="*/ 2147483647 w 360"/>
              <a:gd name="T85" fmla="*/ 2147483647 h 288"/>
              <a:gd name="T86" fmla="*/ 2147483647 w 360"/>
              <a:gd name="T87" fmla="*/ 2147483647 h 288"/>
              <a:gd name="T88" fmla="*/ 2147483647 w 360"/>
              <a:gd name="T89" fmla="*/ 2147483647 h 288"/>
              <a:gd name="T90" fmla="*/ 2147483647 w 360"/>
              <a:gd name="T91" fmla="*/ 2147483647 h 288"/>
              <a:gd name="T92" fmla="*/ 2147483647 w 360"/>
              <a:gd name="T93" fmla="*/ 2147483647 h 288"/>
              <a:gd name="T94" fmla="*/ 2147483647 w 360"/>
              <a:gd name="T95" fmla="*/ 2147483647 h 288"/>
              <a:gd name="T96" fmla="*/ 2147483647 w 360"/>
              <a:gd name="T97" fmla="*/ 2147483647 h 288"/>
              <a:gd name="T98" fmla="*/ 2147483647 w 360"/>
              <a:gd name="T99" fmla="*/ 2147483647 h 288"/>
              <a:gd name="T100" fmla="*/ 2147483647 w 360"/>
              <a:gd name="T101" fmla="*/ 2147483647 h 288"/>
              <a:gd name="T102" fmla="*/ 2147483647 w 360"/>
              <a:gd name="T103" fmla="*/ 2147483647 h 288"/>
              <a:gd name="T104" fmla="*/ 2147483647 w 360"/>
              <a:gd name="T105" fmla="*/ 2147483647 h 288"/>
              <a:gd name="T106" fmla="*/ 2147483647 w 360"/>
              <a:gd name="T107" fmla="*/ 2147483647 h 288"/>
              <a:gd name="T108" fmla="*/ 2147483647 w 360"/>
              <a:gd name="T109" fmla="*/ 2147483647 h 288"/>
              <a:gd name="T110" fmla="*/ 2147483647 w 360"/>
              <a:gd name="T111" fmla="*/ 2147483647 h 288"/>
              <a:gd name="T112" fmla="*/ 2147483647 w 360"/>
              <a:gd name="T113" fmla="*/ 2147483647 h 288"/>
              <a:gd name="T114" fmla="*/ 2147483647 w 360"/>
              <a:gd name="T115" fmla="*/ 2147483647 h 288"/>
              <a:gd name="T116" fmla="*/ 2147483647 w 360"/>
              <a:gd name="T117" fmla="*/ 2147483647 h 288"/>
              <a:gd name="T118" fmla="*/ 2147483647 w 360"/>
              <a:gd name="T119" fmla="*/ 2147483647 h 288"/>
              <a:gd name="T120" fmla="*/ 2147483647 w 360"/>
              <a:gd name="T121" fmla="*/ 2147483647 h 28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60"/>
              <a:gd name="T184" fmla="*/ 0 h 288"/>
              <a:gd name="T185" fmla="*/ 360 w 360"/>
              <a:gd name="T186" fmla="*/ 288 h 28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60" h="288">
                <a:moveTo>
                  <a:pt x="66" y="186"/>
                </a:moveTo>
                <a:lnTo>
                  <a:pt x="36" y="186"/>
                </a:lnTo>
                <a:lnTo>
                  <a:pt x="24" y="174"/>
                </a:lnTo>
                <a:lnTo>
                  <a:pt x="6" y="174"/>
                </a:lnTo>
                <a:lnTo>
                  <a:pt x="12" y="186"/>
                </a:lnTo>
                <a:lnTo>
                  <a:pt x="12" y="192"/>
                </a:lnTo>
                <a:lnTo>
                  <a:pt x="18" y="204"/>
                </a:lnTo>
                <a:lnTo>
                  <a:pt x="36" y="222"/>
                </a:lnTo>
                <a:lnTo>
                  <a:pt x="48" y="228"/>
                </a:lnTo>
                <a:lnTo>
                  <a:pt x="84" y="240"/>
                </a:lnTo>
                <a:lnTo>
                  <a:pt x="90" y="240"/>
                </a:lnTo>
                <a:lnTo>
                  <a:pt x="84" y="234"/>
                </a:lnTo>
                <a:lnTo>
                  <a:pt x="84" y="222"/>
                </a:lnTo>
                <a:lnTo>
                  <a:pt x="78" y="216"/>
                </a:lnTo>
                <a:lnTo>
                  <a:pt x="78" y="204"/>
                </a:lnTo>
                <a:lnTo>
                  <a:pt x="72" y="198"/>
                </a:lnTo>
                <a:lnTo>
                  <a:pt x="72" y="186"/>
                </a:lnTo>
                <a:lnTo>
                  <a:pt x="66" y="186"/>
                </a:lnTo>
                <a:close/>
                <a:moveTo>
                  <a:pt x="354" y="108"/>
                </a:moveTo>
                <a:lnTo>
                  <a:pt x="348" y="102"/>
                </a:lnTo>
                <a:lnTo>
                  <a:pt x="330" y="102"/>
                </a:lnTo>
                <a:lnTo>
                  <a:pt x="318" y="108"/>
                </a:lnTo>
                <a:lnTo>
                  <a:pt x="306" y="108"/>
                </a:lnTo>
                <a:lnTo>
                  <a:pt x="288" y="90"/>
                </a:lnTo>
                <a:lnTo>
                  <a:pt x="288" y="84"/>
                </a:lnTo>
                <a:lnTo>
                  <a:pt x="264" y="54"/>
                </a:lnTo>
                <a:lnTo>
                  <a:pt x="264" y="42"/>
                </a:lnTo>
                <a:lnTo>
                  <a:pt x="216" y="0"/>
                </a:lnTo>
                <a:lnTo>
                  <a:pt x="216" y="30"/>
                </a:lnTo>
                <a:lnTo>
                  <a:pt x="210" y="36"/>
                </a:lnTo>
                <a:lnTo>
                  <a:pt x="192" y="36"/>
                </a:lnTo>
                <a:lnTo>
                  <a:pt x="192" y="48"/>
                </a:lnTo>
                <a:lnTo>
                  <a:pt x="186" y="54"/>
                </a:lnTo>
                <a:lnTo>
                  <a:pt x="162" y="54"/>
                </a:lnTo>
                <a:lnTo>
                  <a:pt x="156" y="48"/>
                </a:lnTo>
                <a:lnTo>
                  <a:pt x="144" y="42"/>
                </a:lnTo>
                <a:lnTo>
                  <a:pt x="138" y="30"/>
                </a:lnTo>
                <a:lnTo>
                  <a:pt x="120" y="12"/>
                </a:lnTo>
                <a:lnTo>
                  <a:pt x="84" y="0"/>
                </a:lnTo>
                <a:lnTo>
                  <a:pt x="72" y="0"/>
                </a:lnTo>
                <a:lnTo>
                  <a:pt x="60" y="12"/>
                </a:lnTo>
                <a:lnTo>
                  <a:pt x="78" y="30"/>
                </a:lnTo>
                <a:lnTo>
                  <a:pt x="84" y="30"/>
                </a:lnTo>
                <a:lnTo>
                  <a:pt x="90" y="36"/>
                </a:lnTo>
                <a:lnTo>
                  <a:pt x="96" y="48"/>
                </a:lnTo>
                <a:lnTo>
                  <a:pt x="102" y="54"/>
                </a:lnTo>
                <a:lnTo>
                  <a:pt x="108" y="66"/>
                </a:lnTo>
                <a:lnTo>
                  <a:pt x="102" y="72"/>
                </a:lnTo>
                <a:lnTo>
                  <a:pt x="84" y="54"/>
                </a:lnTo>
                <a:lnTo>
                  <a:pt x="72" y="54"/>
                </a:lnTo>
                <a:lnTo>
                  <a:pt x="60" y="60"/>
                </a:lnTo>
                <a:lnTo>
                  <a:pt x="42" y="42"/>
                </a:lnTo>
                <a:lnTo>
                  <a:pt x="42" y="36"/>
                </a:lnTo>
                <a:lnTo>
                  <a:pt x="36" y="30"/>
                </a:lnTo>
                <a:lnTo>
                  <a:pt x="12" y="30"/>
                </a:lnTo>
                <a:lnTo>
                  <a:pt x="0" y="42"/>
                </a:lnTo>
                <a:lnTo>
                  <a:pt x="0" y="48"/>
                </a:lnTo>
                <a:lnTo>
                  <a:pt x="6" y="48"/>
                </a:lnTo>
                <a:lnTo>
                  <a:pt x="12" y="54"/>
                </a:lnTo>
                <a:lnTo>
                  <a:pt x="12" y="66"/>
                </a:lnTo>
                <a:lnTo>
                  <a:pt x="30" y="66"/>
                </a:lnTo>
                <a:lnTo>
                  <a:pt x="36" y="72"/>
                </a:lnTo>
                <a:lnTo>
                  <a:pt x="36" y="96"/>
                </a:lnTo>
                <a:lnTo>
                  <a:pt x="30" y="102"/>
                </a:lnTo>
                <a:lnTo>
                  <a:pt x="36" y="102"/>
                </a:lnTo>
                <a:lnTo>
                  <a:pt x="42" y="108"/>
                </a:lnTo>
                <a:lnTo>
                  <a:pt x="66" y="120"/>
                </a:lnTo>
                <a:lnTo>
                  <a:pt x="72" y="126"/>
                </a:lnTo>
                <a:lnTo>
                  <a:pt x="72" y="132"/>
                </a:lnTo>
                <a:lnTo>
                  <a:pt x="54" y="150"/>
                </a:lnTo>
                <a:lnTo>
                  <a:pt x="42" y="150"/>
                </a:lnTo>
                <a:lnTo>
                  <a:pt x="72" y="162"/>
                </a:lnTo>
                <a:lnTo>
                  <a:pt x="84" y="180"/>
                </a:lnTo>
                <a:lnTo>
                  <a:pt x="114" y="186"/>
                </a:lnTo>
                <a:lnTo>
                  <a:pt x="114" y="198"/>
                </a:lnTo>
                <a:lnTo>
                  <a:pt x="120" y="210"/>
                </a:lnTo>
                <a:lnTo>
                  <a:pt x="120" y="240"/>
                </a:lnTo>
                <a:lnTo>
                  <a:pt x="132" y="240"/>
                </a:lnTo>
                <a:lnTo>
                  <a:pt x="138" y="228"/>
                </a:lnTo>
                <a:lnTo>
                  <a:pt x="144" y="222"/>
                </a:lnTo>
                <a:lnTo>
                  <a:pt x="144" y="216"/>
                </a:lnTo>
                <a:lnTo>
                  <a:pt x="156" y="204"/>
                </a:lnTo>
                <a:lnTo>
                  <a:pt x="174" y="192"/>
                </a:lnTo>
                <a:lnTo>
                  <a:pt x="186" y="186"/>
                </a:lnTo>
                <a:lnTo>
                  <a:pt x="198" y="174"/>
                </a:lnTo>
                <a:lnTo>
                  <a:pt x="210" y="168"/>
                </a:lnTo>
                <a:lnTo>
                  <a:pt x="222" y="168"/>
                </a:lnTo>
                <a:lnTo>
                  <a:pt x="228" y="180"/>
                </a:lnTo>
                <a:lnTo>
                  <a:pt x="234" y="186"/>
                </a:lnTo>
                <a:lnTo>
                  <a:pt x="234" y="204"/>
                </a:lnTo>
                <a:lnTo>
                  <a:pt x="228" y="210"/>
                </a:lnTo>
                <a:lnTo>
                  <a:pt x="228" y="222"/>
                </a:lnTo>
                <a:lnTo>
                  <a:pt x="234" y="222"/>
                </a:lnTo>
                <a:lnTo>
                  <a:pt x="240" y="228"/>
                </a:lnTo>
                <a:lnTo>
                  <a:pt x="240" y="234"/>
                </a:lnTo>
                <a:lnTo>
                  <a:pt x="234" y="240"/>
                </a:lnTo>
                <a:lnTo>
                  <a:pt x="222" y="240"/>
                </a:lnTo>
                <a:lnTo>
                  <a:pt x="222" y="246"/>
                </a:lnTo>
                <a:lnTo>
                  <a:pt x="234" y="258"/>
                </a:lnTo>
                <a:lnTo>
                  <a:pt x="246" y="264"/>
                </a:lnTo>
                <a:lnTo>
                  <a:pt x="252" y="270"/>
                </a:lnTo>
                <a:lnTo>
                  <a:pt x="258" y="270"/>
                </a:lnTo>
                <a:lnTo>
                  <a:pt x="264" y="276"/>
                </a:lnTo>
                <a:lnTo>
                  <a:pt x="264" y="282"/>
                </a:lnTo>
                <a:lnTo>
                  <a:pt x="282" y="282"/>
                </a:lnTo>
                <a:lnTo>
                  <a:pt x="282" y="288"/>
                </a:lnTo>
                <a:lnTo>
                  <a:pt x="288" y="282"/>
                </a:lnTo>
                <a:lnTo>
                  <a:pt x="288" y="258"/>
                </a:lnTo>
                <a:lnTo>
                  <a:pt x="282" y="252"/>
                </a:lnTo>
                <a:lnTo>
                  <a:pt x="276" y="252"/>
                </a:lnTo>
                <a:lnTo>
                  <a:pt x="270" y="246"/>
                </a:lnTo>
                <a:lnTo>
                  <a:pt x="288" y="240"/>
                </a:lnTo>
                <a:lnTo>
                  <a:pt x="288" y="210"/>
                </a:lnTo>
                <a:lnTo>
                  <a:pt x="300" y="222"/>
                </a:lnTo>
                <a:lnTo>
                  <a:pt x="306" y="222"/>
                </a:lnTo>
                <a:lnTo>
                  <a:pt x="318" y="210"/>
                </a:lnTo>
                <a:lnTo>
                  <a:pt x="300" y="192"/>
                </a:lnTo>
                <a:lnTo>
                  <a:pt x="300" y="138"/>
                </a:lnTo>
                <a:lnTo>
                  <a:pt x="318" y="138"/>
                </a:lnTo>
                <a:lnTo>
                  <a:pt x="330" y="126"/>
                </a:lnTo>
                <a:lnTo>
                  <a:pt x="360" y="132"/>
                </a:lnTo>
                <a:lnTo>
                  <a:pt x="360" y="120"/>
                </a:lnTo>
                <a:lnTo>
                  <a:pt x="354" y="10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0" name="Austria"/>
          <p:cNvSpPr>
            <a:spLocks/>
          </p:cNvSpPr>
          <p:nvPr/>
        </p:nvSpPr>
        <p:spPr bwMode="gray">
          <a:xfrm>
            <a:off x="4291871" y="2675605"/>
            <a:ext cx="184150" cy="80963"/>
          </a:xfrm>
          <a:custGeom>
            <a:avLst/>
            <a:gdLst>
              <a:gd name="T0" fmla="*/ 2147483647 w 456"/>
              <a:gd name="T1" fmla="*/ 2147483647 h 204"/>
              <a:gd name="T2" fmla="*/ 2147483647 w 456"/>
              <a:gd name="T3" fmla="*/ 2147483647 h 204"/>
              <a:gd name="T4" fmla="*/ 2147483647 w 456"/>
              <a:gd name="T5" fmla="*/ 2147483647 h 204"/>
              <a:gd name="T6" fmla="*/ 2147483647 w 456"/>
              <a:gd name="T7" fmla="*/ 2147483647 h 204"/>
              <a:gd name="T8" fmla="*/ 2147483647 w 456"/>
              <a:gd name="T9" fmla="*/ 2147483647 h 204"/>
              <a:gd name="T10" fmla="*/ 2147483647 w 456"/>
              <a:gd name="T11" fmla="*/ 2147483647 h 204"/>
              <a:gd name="T12" fmla="*/ 2147483647 w 456"/>
              <a:gd name="T13" fmla="*/ 2147483647 h 204"/>
              <a:gd name="T14" fmla="*/ 2147483647 w 456"/>
              <a:gd name="T15" fmla="*/ 0 h 204"/>
              <a:gd name="T16" fmla="*/ 2147483647 w 456"/>
              <a:gd name="T17" fmla="*/ 2147483647 h 204"/>
              <a:gd name="T18" fmla="*/ 2147483647 w 456"/>
              <a:gd name="T19" fmla="*/ 2147483647 h 204"/>
              <a:gd name="T20" fmla="*/ 2147483647 w 456"/>
              <a:gd name="T21" fmla="*/ 2147483647 h 204"/>
              <a:gd name="T22" fmla="*/ 2147483647 w 456"/>
              <a:gd name="T23" fmla="*/ 2147483647 h 204"/>
              <a:gd name="T24" fmla="*/ 2147483647 w 456"/>
              <a:gd name="T25" fmla="*/ 2147483647 h 204"/>
              <a:gd name="T26" fmla="*/ 2147483647 w 456"/>
              <a:gd name="T27" fmla="*/ 2147483647 h 204"/>
              <a:gd name="T28" fmla="*/ 2147483647 w 456"/>
              <a:gd name="T29" fmla="*/ 2147483647 h 204"/>
              <a:gd name="T30" fmla="*/ 2147483647 w 456"/>
              <a:gd name="T31" fmla="*/ 2147483647 h 204"/>
              <a:gd name="T32" fmla="*/ 2147483647 w 456"/>
              <a:gd name="T33" fmla="*/ 2147483647 h 204"/>
              <a:gd name="T34" fmla="*/ 2147483647 w 456"/>
              <a:gd name="T35" fmla="*/ 2147483647 h 204"/>
              <a:gd name="T36" fmla="*/ 2147483647 w 456"/>
              <a:gd name="T37" fmla="*/ 2147483647 h 204"/>
              <a:gd name="T38" fmla="*/ 2147483647 w 456"/>
              <a:gd name="T39" fmla="*/ 2147483647 h 204"/>
              <a:gd name="T40" fmla="*/ 2147483647 w 456"/>
              <a:gd name="T41" fmla="*/ 2147483647 h 204"/>
              <a:gd name="T42" fmla="*/ 2147483647 w 456"/>
              <a:gd name="T43" fmla="*/ 2147483647 h 204"/>
              <a:gd name="T44" fmla="*/ 2147483647 w 456"/>
              <a:gd name="T45" fmla="*/ 2147483647 h 204"/>
              <a:gd name="T46" fmla="*/ 2147483647 w 456"/>
              <a:gd name="T47" fmla="*/ 2147483647 h 204"/>
              <a:gd name="T48" fmla="*/ 2147483647 w 456"/>
              <a:gd name="T49" fmla="*/ 2147483647 h 204"/>
              <a:gd name="T50" fmla="*/ 2147483647 w 456"/>
              <a:gd name="T51" fmla="*/ 2147483647 h 204"/>
              <a:gd name="T52" fmla="*/ 2147483647 w 456"/>
              <a:gd name="T53" fmla="*/ 2147483647 h 204"/>
              <a:gd name="T54" fmla="*/ 0 w 456"/>
              <a:gd name="T55" fmla="*/ 2147483647 h 204"/>
              <a:gd name="T56" fmla="*/ 2147483647 w 456"/>
              <a:gd name="T57" fmla="*/ 2147483647 h 204"/>
              <a:gd name="T58" fmla="*/ 2147483647 w 456"/>
              <a:gd name="T59" fmla="*/ 2147483647 h 204"/>
              <a:gd name="T60" fmla="*/ 2147483647 w 456"/>
              <a:gd name="T61" fmla="*/ 2147483647 h 204"/>
              <a:gd name="T62" fmla="*/ 2147483647 w 456"/>
              <a:gd name="T63" fmla="*/ 2147483647 h 204"/>
              <a:gd name="T64" fmla="*/ 2147483647 w 456"/>
              <a:gd name="T65" fmla="*/ 2147483647 h 204"/>
              <a:gd name="T66" fmla="*/ 2147483647 w 456"/>
              <a:gd name="T67" fmla="*/ 2147483647 h 204"/>
              <a:gd name="T68" fmla="*/ 2147483647 w 456"/>
              <a:gd name="T69" fmla="*/ 2147483647 h 204"/>
              <a:gd name="T70" fmla="*/ 2147483647 w 456"/>
              <a:gd name="T71" fmla="*/ 2147483647 h 204"/>
              <a:gd name="T72" fmla="*/ 2147483647 w 456"/>
              <a:gd name="T73" fmla="*/ 2147483647 h 204"/>
              <a:gd name="T74" fmla="*/ 2147483647 w 456"/>
              <a:gd name="T75" fmla="*/ 2147483647 h 204"/>
              <a:gd name="T76" fmla="*/ 2147483647 w 456"/>
              <a:gd name="T77" fmla="*/ 2147483647 h 204"/>
              <a:gd name="T78" fmla="*/ 2147483647 w 456"/>
              <a:gd name="T79" fmla="*/ 2147483647 h 204"/>
              <a:gd name="T80" fmla="*/ 2147483647 w 456"/>
              <a:gd name="T81" fmla="*/ 2147483647 h 204"/>
              <a:gd name="T82" fmla="*/ 2147483647 w 456"/>
              <a:gd name="T83" fmla="*/ 2147483647 h 204"/>
              <a:gd name="T84" fmla="*/ 2147483647 w 456"/>
              <a:gd name="T85" fmla="*/ 2147483647 h 204"/>
              <a:gd name="T86" fmla="*/ 2147483647 w 456"/>
              <a:gd name="T87" fmla="*/ 2147483647 h 204"/>
              <a:gd name="T88" fmla="*/ 2147483647 w 456"/>
              <a:gd name="T89" fmla="*/ 2147483647 h 204"/>
              <a:gd name="T90" fmla="*/ 2147483647 w 456"/>
              <a:gd name="T91" fmla="*/ 2147483647 h 20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56"/>
              <a:gd name="T139" fmla="*/ 0 h 204"/>
              <a:gd name="T140" fmla="*/ 456 w 456"/>
              <a:gd name="T141" fmla="*/ 204 h 20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56" h="204">
                <a:moveTo>
                  <a:pt x="456" y="102"/>
                </a:moveTo>
                <a:lnTo>
                  <a:pt x="456" y="60"/>
                </a:lnTo>
                <a:lnTo>
                  <a:pt x="450" y="60"/>
                </a:lnTo>
                <a:lnTo>
                  <a:pt x="450" y="48"/>
                </a:lnTo>
                <a:lnTo>
                  <a:pt x="456" y="24"/>
                </a:lnTo>
                <a:lnTo>
                  <a:pt x="444" y="18"/>
                </a:lnTo>
                <a:lnTo>
                  <a:pt x="438" y="18"/>
                </a:lnTo>
                <a:lnTo>
                  <a:pt x="432" y="12"/>
                </a:lnTo>
                <a:lnTo>
                  <a:pt x="420" y="12"/>
                </a:lnTo>
                <a:lnTo>
                  <a:pt x="414" y="18"/>
                </a:lnTo>
                <a:lnTo>
                  <a:pt x="402" y="24"/>
                </a:lnTo>
                <a:lnTo>
                  <a:pt x="390" y="12"/>
                </a:lnTo>
                <a:lnTo>
                  <a:pt x="378" y="18"/>
                </a:lnTo>
                <a:lnTo>
                  <a:pt x="366" y="6"/>
                </a:lnTo>
                <a:lnTo>
                  <a:pt x="354" y="0"/>
                </a:lnTo>
                <a:lnTo>
                  <a:pt x="336" y="0"/>
                </a:lnTo>
                <a:lnTo>
                  <a:pt x="330" y="6"/>
                </a:lnTo>
                <a:lnTo>
                  <a:pt x="324" y="18"/>
                </a:lnTo>
                <a:lnTo>
                  <a:pt x="318" y="18"/>
                </a:lnTo>
                <a:lnTo>
                  <a:pt x="318" y="36"/>
                </a:lnTo>
                <a:lnTo>
                  <a:pt x="306" y="30"/>
                </a:lnTo>
                <a:lnTo>
                  <a:pt x="300" y="30"/>
                </a:lnTo>
                <a:lnTo>
                  <a:pt x="288" y="36"/>
                </a:lnTo>
                <a:lnTo>
                  <a:pt x="276" y="36"/>
                </a:lnTo>
                <a:lnTo>
                  <a:pt x="258" y="18"/>
                </a:lnTo>
                <a:lnTo>
                  <a:pt x="252" y="36"/>
                </a:lnTo>
                <a:lnTo>
                  <a:pt x="234" y="36"/>
                </a:lnTo>
                <a:lnTo>
                  <a:pt x="240" y="48"/>
                </a:lnTo>
                <a:lnTo>
                  <a:pt x="240" y="66"/>
                </a:lnTo>
                <a:lnTo>
                  <a:pt x="234" y="66"/>
                </a:lnTo>
                <a:lnTo>
                  <a:pt x="228" y="60"/>
                </a:lnTo>
                <a:lnTo>
                  <a:pt x="210" y="60"/>
                </a:lnTo>
                <a:lnTo>
                  <a:pt x="204" y="66"/>
                </a:lnTo>
                <a:lnTo>
                  <a:pt x="204" y="72"/>
                </a:lnTo>
                <a:lnTo>
                  <a:pt x="198" y="78"/>
                </a:lnTo>
                <a:lnTo>
                  <a:pt x="198" y="84"/>
                </a:lnTo>
                <a:lnTo>
                  <a:pt x="210" y="84"/>
                </a:lnTo>
                <a:lnTo>
                  <a:pt x="210" y="126"/>
                </a:lnTo>
                <a:lnTo>
                  <a:pt x="204" y="126"/>
                </a:lnTo>
                <a:lnTo>
                  <a:pt x="192" y="114"/>
                </a:lnTo>
                <a:lnTo>
                  <a:pt x="174" y="108"/>
                </a:lnTo>
                <a:lnTo>
                  <a:pt x="162" y="102"/>
                </a:lnTo>
                <a:lnTo>
                  <a:pt x="144" y="114"/>
                </a:lnTo>
                <a:lnTo>
                  <a:pt x="126" y="114"/>
                </a:lnTo>
                <a:lnTo>
                  <a:pt x="108" y="126"/>
                </a:lnTo>
                <a:lnTo>
                  <a:pt x="102" y="132"/>
                </a:lnTo>
                <a:lnTo>
                  <a:pt x="84" y="132"/>
                </a:lnTo>
                <a:lnTo>
                  <a:pt x="66" y="114"/>
                </a:lnTo>
                <a:lnTo>
                  <a:pt x="48" y="114"/>
                </a:lnTo>
                <a:lnTo>
                  <a:pt x="48" y="126"/>
                </a:lnTo>
                <a:lnTo>
                  <a:pt x="42" y="132"/>
                </a:lnTo>
                <a:lnTo>
                  <a:pt x="30" y="132"/>
                </a:lnTo>
                <a:lnTo>
                  <a:pt x="30" y="126"/>
                </a:lnTo>
                <a:lnTo>
                  <a:pt x="24" y="120"/>
                </a:lnTo>
                <a:lnTo>
                  <a:pt x="0" y="120"/>
                </a:lnTo>
                <a:lnTo>
                  <a:pt x="0" y="156"/>
                </a:lnTo>
                <a:lnTo>
                  <a:pt x="18" y="156"/>
                </a:lnTo>
                <a:lnTo>
                  <a:pt x="18" y="174"/>
                </a:lnTo>
                <a:lnTo>
                  <a:pt x="24" y="174"/>
                </a:lnTo>
                <a:lnTo>
                  <a:pt x="42" y="156"/>
                </a:lnTo>
                <a:lnTo>
                  <a:pt x="48" y="156"/>
                </a:lnTo>
                <a:lnTo>
                  <a:pt x="60" y="168"/>
                </a:lnTo>
                <a:lnTo>
                  <a:pt x="60" y="174"/>
                </a:lnTo>
                <a:lnTo>
                  <a:pt x="72" y="174"/>
                </a:lnTo>
                <a:lnTo>
                  <a:pt x="84" y="180"/>
                </a:lnTo>
                <a:lnTo>
                  <a:pt x="96" y="162"/>
                </a:lnTo>
                <a:lnTo>
                  <a:pt x="138" y="162"/>
                </a:lnTo>
                <a:lnTo>
                  <a:pt x="138" y="156"/>
                </a:lnTo>
                <a:lnTo>
                  <a:pt x="144" y="150"/>
                </a:lnTo>
                <a:lnTo>
                  <a:pt x="162" y="150"/>
                </a:lnTo>
                <a:lnTo>
                  <a:pt x="168" y="156"/>
                </a:lnTo>
                <a:lnTo>
                  <a:pt x="168" y="174"/>
                </a:lnTo>
                <a:lnTo>
                  <a:pt x="180" y="174"/>
                </a:lnTo>
                <a:lnTo>
                  <a:pt x="186" y="192"/>
                </a:lnTo>
                <a:lnTo>
                  <a:pt x="240" y="192"/>
                </a:lnTo>
                <a:lnTo>
                  <a:pt x="240" y="204"/>
                </a:lnTo>
                <a:lnTo>
                  <a:pt x="258" y="204"/>
                </a:lnTo>
                <a:lnTo>
                  <a:pt x="264" y="198"/>
                </a:lnTo>
                <a:lnTo>
                  <a:pt x="282" y="198"/>
                </a:lnTo>
                <a:lnTo>
                  <a:pt x="288" y="204"/>
                </a:lnTo>
                <a:lnTo>
                  <a:pt x="318" y="204"/>
                </a:lnTo>
                <a:lnTo>
                  <a:pt x="318" y="192"/>
                </a:lnTo>
                <a:lnTo>
                  <a:pt x="366" y="192"/>
                </a:lnTo>
                <a:lnTo>
                  <a:pt x="378" y="186"/>
                </a:lnTo>
                <a:lnTo>
                  <a:pt x="402" y="192"/>
                </a:lnTo>
                <a:lnTo>
                  <a:pt x="414" y="156"/>
                </a:lnTo>
                <a:lnTo>
                  <a:pt x="432" y="156"/>
                </a:lnTo>
                <a:lnTo>
                  <a:pt x="432" y="132"/>
                </a:lnTo>
                <a:lnTo>
                  <a:pt x="444" y="114"/>
                </a:lnTo>
                <a:lnTo>
                  <a:pt x="432" y="114"/>
                </a:lnTo>
                <a:lnTo>
                  <a:pt x="438" y="102"/>
                </a:lnTo>
                <a:lnTo>
                  <a:pt x="456" y="102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1" name="Australia"/>
          <p:cNvSpPr>
            <a:spLocks noEditPoints="1"/>
          </p:cNvSpPr>
          <p:nvPr/>
        </p:nvSpPr>
        <p:spPr bwMode="gray">
          <a:xfrm>
            <a:off x="7133496" y="4604418"/>
            <a:ext cx="1143000" cy="1071562"/>
          </a:xfrm>
          <a:custGeom>
            <a:avLst/>
            <a:gdLst>
              <a:gd name="T0" fmla="*/ 2147483647 w 2838"/>
              <a:gd name="T1" fmla="*/ 2147483647 h 2664"/>
              <a:gd name="T2" fmla="*/ 2147483647 w 2838"/>
              <a:gd name="T3" fmla="*/ 2147483647 h 2664"/>
              <a:gd name="T4" fmla="*/ 2147483647 w 2838"/>
              <a:gd name="T5" fmla="*/ 2147483647 h 2664"/>
              <a:gd name="T6" fmla="*/ 2147483647 w 2838"/>
              <a:gd name="T7" fmla="*/ 2147483647 h 2664"/>
              <a:gd name="T8" fmla="*/ 2147483647 w 2838"/>
              <a:gd name="T9" fmla="*/ 2147483647 h 2664"/>
              <a:gd name="T10" fmla="*/ 2147483647 w 2838"/>
              <a:gd name="T11" fmla="*/ 2147483647 h 2664"/>
              <a:gd name="T12" fmla="*/ 2147483647 w 2838"/>
              <a:gd name="T13" fmla="*/ 2147483647 h 2664"/>
              <a:gd name="T14" fmla="*/ 2147483647 w 2838"/>
              <a:gd name="T15" fmla="*/ 2147483647 h 2664"/>
              <a:gd name="T16" fmla="*/ 2147483647 w 2838"/>
              <a:gd name="T17" fmla="*/ 2147483647 h 2664"/>
              <a:gd name="T18" fmla="*/ 2147483647 w 2838"/>
              <a:gd name="T19" fmla="*/ 2147483647 h 2664"/>
              <a:gd name="T20" fmla="*/ 2147483647 w 2838"/>
              <a:gd name="T21" fmla="*/ 2147483647 h 2664"/>
              <a:gd name="T22" fmla="*/ 2147483647 w 2838"/>
              <a:gd name="T23" fmla="*/ 2147483647 h 2664"/>
              <a:gd name="T24" fmla="*/ 2147483647 w 2838"/>
              <a:gd name="T25" fmla="*/ 2147483647 h 2664"/>
              <a:gd name="T26" fmla="*/ 2147483647 w 2838"/>
              <a:gd name="T27" fmla="*/ 2147483647 h 2664"/>
              <a:gd name="T28" fmla="*/ 2147483647 w 2838"/>
              <a:gd name="T29" fmla="*/ 2147483647 h 2664"/>
              <a:gd name="T30" fmla="*/ 2147483647 w 2838"/>
              <a:gd name="T31" fmla="*/ 2147483647 h 2664"/>
              <a:gd name="T32" fmla="*/ 2147483647 w 2838"/>
              <a:gd name="T33" fmla="*/ 2147483647 h 2664"/>
              <a:gd name="T34" fmla="*/ 2147483647 w 2838"/>
              <a:gd name="T35" fmla="*/ 2147483647 h 2664"/>
              <a:gd name="T36" fmla="*/ 2147483647 w 2838"/>
              <a:gd name="T37" fmla="*/ 2147483647 h 2664"/>
              <a:gd name="T38" fmla="*/ 2147483647 w 2838"/>
              <a:gd name="T39" fmla="*/ 2147483647 h 2664"/>
              <a:gd name="T40" fmla="*/ 2147483647 w 2838"/>
              <a:gd name="T41" fmla="*/ 2147483647 h 2664"/>
              <a:gd name="T42" fmla="*/ 2147483647 w 2838"/>
              <a:gd name="T43" fmla="*/ 2147483647 h 2664"/>
              <a:gd name="T44" fmla="*/ 2147483647 w 2838"/>
              <a:gd name="T45" fmla="*/ 2147483647 h 2664"/>
              <a:gd name="T46" fmla="*/ 2147483647 w 2838"/>
              <a:gd name="T47" fmla="*/ 2147483647 h 2664"/>
              <a:gd name="T48" fmla="*/ 2147483647 w 2838"/>
              <a:gd name="T49" fmla="*/ 2147483647 h 2664"/>
              <a:gd name="T50" fmla="*/ 2147483647 w 2838"/>
              <a:gd name="T51" fmla="*/ 2147483647 h 2664"/>
              <a:gd name="T52" fmla="*/ 2147483647 w 2838"/>
              <a:gd name="T53" fmla="*/ 2147483647 h 2664"/>
              <a:gd name="T54" fmla="*/ 2147483647 w 2838"/>
              <a:gd name="T55" fmla="*/ 2147483647 h 2664"/>
              <a:gd name="T56" fmla="*/ 2147483647 w 2838"/>
              <a:gd name="T57" fmla="*/ 2147483647 h 2664"/>
              <a:gd name="T58" fmla="*/ 2147483647 w 2838"/>
              <a:gd name="T59" fmla="*/ 2147483647 h 2664"/>
              <a:gd name="T60" fmla="*/ 2147483647 w 2838"/>
              <a:gd name="T61" fmla="*/ 2147483647 h 2664"/>
              <a:gd name="T62" fmla="*/ 2147483647 w 2838"/>
              <a:gd name="T63" fmla="*/ 2147483647 h 2664"/>
              <a:gd name="T64" fmla="*/ 2147483647 w 2838"/>
              <a:gd name="T65" fmla="*/ 2147483647 h 2664"/>
              <a:gd name="T66" fmla="*/ 2147483647 w 2838"/>
              <a:gd name="T67" fmla="*/ 2147483647 h 2664"/>
              <a:gd name="T68" fmla="*/ 2147483647 w 2838"/>
              <a:gd name="T69" fmla="*/ 2147483647 h 2664"/>
              <a:gd name="T70" fmla="*/ 2147483647 w 2838"/>
              <a:gd name="T71" fmla="*/ 2147483647 h 2664"/>
              <a:gd name="T72" fmla="*/ 2147483647 w 2838"/>
              <a:gd name="T73" fmla="*/ 2147483647 h 2664"/>
              <a:gd name="T74" fmla="*/ 2147483647 w 2838"/>
              <a:gd name="T75" fmla="*/ 2147483647 h 2664"/>
              <a:gd name="T76" fmla="*/ 2147483647 w 2838"/>
              <a:gd name="T77" fmla="*/ 2147483647 h 2664"/>
              <a:gd name="T78" fmla="*/ 2147483647 w 2838"/>
              <a:gd name="T79" fmla="*/ 2147483647 h 2664"/>
              <a:gd name="T80" fmla="*/ 2147483647 w 2838"/>
              <a:gd name="T81" fmla="*/ 2147483647 h 2664"/>
              <a:gd name="T82" fmla="*/ 2147483647 w 2838"/>
              <a:gd name="T83" fmla="*/ 2147483647 h 2664"/>
              <a:gd name="T84" fmla="*/ 2147483647 w 2838"/>
              <a:gd name="T85" fmla="*/ 2147483647 h 2664"/>
              <a:gd name="T86" fmla="*/ 2147483647 w 2838"/>
              <a:gd name="T87" fmla="*/ 2147483647 h 2664"/>
              <a:gd name="T88" fmla="*/ 2147483647 w 2838"/>
              <a:gd name="T89" fmla="*/ 2147483647 h 2664"/>
              <a:gd name="T90" fmla="*/ 2147483647 w 2838"/>
              <a:gd name="T91" fmla="*/ 2147483647 h 2664"/>
              <a:gd name="T92" fmla="*/ 2147483647 w 2838"/>
              <a:gd name="T93" fmla="*/ 2147483647 h 2664"/>
              <a:gd name="T94" fmla="*/ 2147483647 w 2838"/>
              <a:gd name="T95" fmla="*/ 2147483647 h 2664"/>
              <a:gd name="T96" fmla="*/ 2147483647 w 2838"/>
              <a:gd name="T97" fmla="*/ 2147483647 h 2664"/>
              <a:gd name="T98" fmla="*/ 2147483647 w 2838"/>
              <a:gd name="T99" fmla="*/ 2147483647 h 2664"/>
              <a:gd name="T100" fmla="*/ 2147483647 w 2838"/>
              <a:gd name="T101" fmla="*/ 2147483647 h 2664"/>
              <a:gd name="T102" fmla="*/ 2147483647 w 2838"/>
              <a:gd name="T103" fmla="*/ 2147483647 h 2664"/>
              <a:gd name="T104" fmla="*/ 2147483647 w 2838"/>
              <a:gd name="T105" fmla="*/ 2147483647 h 2664"/>
              <a:gd name="T106" fmla="*/ 2147483647 w 2838"/>
              <a:gd name="T107" fmla="*/ 2147483647 h 2664"/>
              <a:gd name="T108" fmla="*/ 2147483647 w 2838"/>
              <a:gd name="T109" fmla="*/ 2147483647 h 2664"/>
              <a:gd name="T110" fmla="*/ 2147483647 w 2838"/>
              <a:gd name="T111" fmla="*/ 2147483647 h 2664"/>
              <a:gd name="T112" fmla="*/ 2147483647 w 2838"/>
              <a:gd name="T113" fmla="*/ 2147483647 h 2664"/>
              <a:gd name="T114" fmla="*/ 2147483647 w 2838"/>
              <a:gd name="T115" fmla="*/ 2147483647 h 2664"/>
              <a:gd name="T116" fmla="*/ 2147483647 w 2838"/>
              <a:gd name="T117" fmla="*/ 2147483647 h 266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838"/>
              <a:gd name="T178" fmla="*/ 0 h 2664"/>
              <a:gd name="T179" fmla="*/ 2838 w 2838"/>
              <a:gd name="T180" fmla="*/ 2664 h 266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838" h="2664">
                <a:moveTo>
                  <a:pt x="1530" y="66"/>
                </a:moveTo>
                <a:lnTo>
                  <a:pt x="1524" y="60"/>
                </a:lnTo>
                <a:lnTo>
                  <a:pt x="1518" y="60"/>
                </a:lnTo>
                <a:lnTo>
                  <a:pt x="1506" y="66"/>
                </a:lnTo>
                <a:lnTo>
                  <a:pt x="1500" y="72"/>
                </a:lnTo>
                <a:lnTo>
                  <a:pt x="1494" y="84"/>
                </a:lnTo>
                <a:lnTo>
                  <a:pt x="1494" y="102"/>
                </a:lnTo>
                <a:lnTo>
                  <a:pt x="1506" y="102"/>
                </a:lnTo>
                <a:lnTo>
                  <a:pt x="1512" y="90"/>
                </a:lnTo>
                <a:lnTo>
                  <a:pt x="1524" y="78"/>
                </a:lnTo>
                <a:lnTo>
                  <a:pt x="1530" y="66"/>
                </a:lnTo>
                <a:close/>
                <a:moveTo>
                  <a:pt x="1476" y="2016"/>
                </a:moveTo>
                <a:lnTo>
                  <a:pt x="1464" y="2016"/>
                </a:lnTo>
                <a:lnTo>
                  <a:pt x="1440" y="2028"/>
                </a:lnTo>
                <a:lnTo>
                  <a:pt x="1440" y="2034"/>
                </a:lnTo>
                <a:lnTo>
                  <a:pt x="1452" y="2046"/>
                </a:lnTo>
                <a:lnTo>
                  <a:pt x="1452" y="2052"/>
                </a:lnTo>
                <a:lnTo>
                  <a:pt x="1470" y="2052"/>
                </a:lnTo>
                <a:lnTo>
                  <a:pt x="1482" y="2046"/>
                </a:lnTo>
                <a:lnTo>
                  <a:pt x="1488" y="2040"/>
                </a:lnTo>
                <a:lnTo>
                  <a:pt x="1506" y="2040"/>
                </a:lnTo>
                <a:lnTo>
                  <a:pt x="1512" y="2034"/>
                </a:lnTo>
                <a:lnTo>
                  <a:pt x="1530" y="2034"/>
                </a:lnTo>
                <a:lnTo>
                  <a:pt x="1536" y="2028"/>
                </a:lnTo>
                <a:lnTo>
                  <a:pt x="1512" y="2028"/>
                </a:lnTo>
                <a:lnTo>
                  <a:pt x="1500" y="2016"/>
                </a:lnTo>
                <a:lnTo>
                  <a:pt x="1476" y="2016"/>
                </a:lnTo>
                <a:close/>
                <a:moveTo>
                  <a:pt x="2802" y="1164"/>
                </a:moveTo>
                <a:lnTo>
                  <a:pt x="2802" y="1134"/>
                </a:lnTo>
                <a:lnTo>
                  <a:pt x="2796" y="1116"/>
                </a:lnTo>
                <a:lnTo>
                  <a:pt x="2796" y="1092"/>
                </a:lnTo>
                <a:lnTo>
                  <a:pt x="2790" y="1086"/>
                </a:lnTo>
                <a:lnTo>
                  <a:pt x="2778" y="1086"/>
                </a:lnTo>
                <a:lnTo>
                  <a:pt x="2772" y="1080"/>
                </a:lnTo>
                <a:lnTo>
                  <a:pt x="2760" y="1080"/>
                </a:lnTo>
                <a:lnTo>
                  <a:pt x="2760" y="1062"/>
                </a:lnTo>
                <a:lnTo>
                  <a:pt x="2742" y="1050"/>
                </a:lnTo>
                <a:lnTo>
                  <a:pt x="2742" y="1014"/>
                </a:lnTo>
                <a:lnTo>
                  <a:pt x="2736" y="1008"/>
                </a:lnTo>
                <a:lnTo>
                  <a:pt x="2724" y="1002"/>
                </a:lnTo>
                <a:lnTo>
                  <a:pt x="2718" y="996"/>
                </a:lnTo>
                <a:lnTo>
                  <a:pt x="2706" y="996"/>
                </a:lnTo>
                <a:lnTo>
                  <a:pt x="2712" y="996"/>
                </a:lnTo>
                <a:lnTo>
                  <a:pt x="2718" y="990"/>
                </a:lnTo>
                <a:lnTo>
                  <a:pt x="2730" y="990"/>
                </a:lnTo>
                <a:lnTo>
                  <a:pt x="2742" y="984"/>
                </a:lnTo>
                <a:lnTo>
                  <a:pt x="2760" y="966"/>
                </a:lnTo>
                <a:lnTo>
                  <a:pt x="2754" y="954"/>
                </a:lnTo>
                <a:lnTo>
                  <a:pt x="2736" y="936"/>
                </a:lnTo>
                <a:lnTo>
                  <a:pt x="2730" y="936"/>
                </a:lnTo>
                <a:lnTo>
                  <a:pt x="2730" y="930"/>
                </a:lnTo>
                <a:lnTo>
                  <a:pt x="2712" y="912"/>
                </a:lnTo>
                <a:lnTo>
                  <a:pt x="2700" y="906"/>
                </a:lnTo>
                <a:lnTo>
                  <a:pt x="2694" y="912"/>
                </a:lnTo>
                <a:lnTo>
                  <a:pt x="2694" y="936"/>
                </a:lnTo>
                <a:lnTo>
                  <a:pt x="2670" y="930"/>
                </a:lnTo>
                <a:lnTo>
                  <a:pt x="2670" y="924"/>
                </a:lnTo>
                <a:lnTo>
                  <a:pt x="2676" y="918"/>
                </a:lnTo>
                <a:lnTo>
                  <a:pt x="2676" y="906"/>
                </a:lnTo>
                <a:lnTo>
                  <a:pt x="2682" y="894"/>
                </a:lnTo>
                <a:lnTo>
                  <a:pt x="2688" y="876"/>
                </a:lnTo>
                <a:lnTo>
                  <a:pt x="2688" y="858"/>
                </a:lnTo>
                <a:lnTo>
                  <a:pt x="2682" y="852"/>
                </a:lnTo>
                <a:lnTo>
                  <a:pt x="2676" y="840"/>
                </a:lnTo>
                <a:lnTo>
                  <a:pt x="2670" y="840"/>
                </a:lnTo>
                <a:lnTo>
                  <a:pt x="2652" y="822"/>
                </a:lnTo>
                <a:lnTo>
                  <a:pt x="2652" y="816"/>
                </a:lnTo>
                <a:lnTo>
                  <a:pt x="2658" y="804"/>
                </a:lnTo>
                <a:lnTo>
                  <a:pt x="2658" y="792"/>
                </a:lnTo>
                <a:lnTo>
                  <a:pt x="2664" y="774"/>
                </a:lnTo>
                <a:lnTo>
                  <a:pt x="2664" y="762"/>
                </a:lnTo>
                <a:lnTo>
                  <a:pt x="2652" y="750"/>
                </a:lnTo>
                <a:lnTo>
                  <a:pt x="2628" y="732"/>
                </a:lnTo>
                <a:lnTo>
                  <a:pt x="2598" y="720"/>
                </a:lnTo>
                <a:lnTo>
                  <a:pt x="2580" y="708"/>
                </a:lnTo>
                <a:lnTo>
                  <a:pt x="2568" y="702"/>
                </a:lnTo>
                <a:lnTo>
                  <a:pt x="2556" y="708"/>
                </a:lnTo>
                <a:lnTo>
                  <a:pt x="2550" y="696"/>
                </a:lnTo>
                <a:lnTo>
                  <a:pt x="2538" y="684"/>
                </a:lnTo>
                <a:lnTo>
                  <a:pt x="2532" y="672"/>
                </a:lnTo>
                <a:lnTo>
                  <a:pt x="2520" y="660"/>
                </a:lnTo>
                <a:lnTo>
                  <a:pt x="2514" y="642"/>
                </a:lnTo>
                <a:lnTo>
                  <a:pt x="2514" y="594"/>
                </a:lnTo>
                <a:lnTo>
                  <a:pt x="2520" y="576"/>
                </a:lnTo>
                <a:lnTo>
                  <a:pt x="2526" y="564"/>
                </a:lnTo>
                <a:lnTo>
                  <a:pt x="2526" y="546"/>
                </a:lnTo>
                <a:lnTo>
                  <a:pt x="2520" y="504"/>
                </a:lnTo>
                <a:lnTo>
                  <a:pt x="2502" y="462"/>
                </a:lnTo>
                <a:lnTo>
                  <a:pt x="2490" y="426"/>
                </a:lnTo>
                <a:lnTo>
                  <a:pt x="2490" y="402"/>
                </a:lnTo>
                <a:lnTo>
                  <a:pt x="2496" y="390"/>
                </a:lnTo>
                <a:lnTo>
                  <a:pt x="2502" y="384"/>
                </a:lnTo>
                <a:lnTo>
                  <a:pt x="2502" y="324"/>
                </a:lnTo>
                <a:lnTo>
                  <a:pt x="2496" y="312"/>
                </a:lnTo>
                <a:lnTo>
                  <a:pt x="2496" y="300"/>
                </a:lnTo>
                <a:lnTo>
                  <a:pt x="2472" y="294"/>
                </a:lnTo>
                <a:lnTo>
                  <a:pt x="2460" y="288"/>
                </a:lnTo>
                <a:lnTo>
                  <a:pt x="2454" y="276"/>
                </a:lnTo>
                <a:lnTo>
                  <a:pt x="2442" y="270"/>
                </a:lnTo>
                <a:lnTo>
                  <a:pt x="2424" y="270"/>
                </a:lnTo>
                <a:lnTo>
                  <a:pt x="2418" y="282"/>
                </a:lnTo>
                <a:lnTo>
                  <a:pt x="2412" y="288"/>
                </a:lnTo>
                <a:lnTo>
                  <a:pt x="2412" y="282"/>
                </a:lnTo>
                <a:lnTo>
                  <a:pt x="2406" y="276"/>
                </a:lnTo>
                <a:lnTo>
                  <a:pt x="2400" y="264"/>
                </a:lnTo>
                <a:lnTo>
                  <a:pt x="2400" y="228"/>
                </a:lnTo>
                <a:lnTo>
                  <a:pt x="2406" y="216"/>
                </a:lnTo>
                <a:lnTo>
                  <a:pt x="2406" y="204"/>
                </a:lnTo>
                <a:lnTo>
                  <a:pt x="2388" y="180"/>
                </a:lnTo>
                <a:lnTo>
                  <a:pt x="2394" y="96"/>
                </a:lnTo>
                <a:lnTo>
                  <a:pt x="2382" y="90"/>
                </a:lnTo>
                <a:lnTo>
                  <a:pt x="2364" y="72"/>
                </a:lnTo>
                <a:lnTo>
                  <a:pt x="2364" y="66"/>
                </a:lnTo>
                <a:lnTo>
                  <a:pt x="2370" y="48"/>
                </a:lnTo>
                <a:lnTo>
                  <a:pt x="2370" y="24"/>
                </a:lnTo>
                <a:lnTo>
                  <a:pt x="2364" y="18"/>
                </a:lnTo>
                <a:lnTo>
                  <a:pt x="2346" y="18"/>
                </a:lnTo>
                <a:lnTo>
                  <a:pt x="2346" y="0"/>
                </a:lnTo>
                <a:lnTo>
                  <a:pt x="2316" y="12"/>
                </a:lnTo>
                <a:lnTo>
                  <a:pt x="2310" y="30"/>
                </a:lnTo>
                <a:lnTo>
                  <a:pt x="2298" y="36"/>
                </a:lnTo>
                <a:lnTo>
                  <a:pt x="2292" y="42"/>
                </a:lnTo>
                <a:lnTo>
                  <a:pt x="2280" y="48"/>
                </a:lnTo>
                <a:lnTo>
                  <a:pt x="2280" y="66"/>
                </a:lnTo>
                <a:lnTo>
                  <a:pt x="2286" y="78"/>
                </a:lnTo>
                <a:lnTo>
                  <a:pt x="2286" y="90"/>
                </a:lnTo>
                <a:lnTo>
                  <a:pt x="2292" y="102"/>
                </a:lnTo>
                <a:lnTo>
                  <a:pt x="2292" y="114"/>
                </a:lnTo>
                <a:lnTo>
                  <a:pt x="2286" y="126"/>
                </a:lnTo>
                <a:lnTo>
                  <a:pt x="2274" y="138"/>
                </a:lnTo>
                <a:lnTo>
                  <a:pt x="2268" y="150"/>
                </a:lnTo>
                <a:lnTo>
                  <a:pt x="2238" y="180"/>
                </a:lnTo>
                <a:lnTo>
                  <a:pt x="2256" y="192"/>
                </a:lnTo>
                <a:lnTo>
                  <a:pt x="2256" y="198"/>
                </a:lnTo>
                <a:lnTo>
                  <a:pt x="2250" y="204"/>
                </a:lnTo>
                <a:lnTo>
                  <a:pt x="2238" y="228"/>
                </a:lnTo>
                <a:lnTo>
                  <a:pt x="2232" y="234"/>
                </a:lnTo>
                <a:lnTo>
                  <a:pt x="2232" y="264"/>
                </a:lnTo>
                <a:lnTo>
                  <a:pt x="2238" y="276"/>
                </a:lnTo>
                <a:lnTo>
                  <a:pt x="2238" y="288"/>
                </a:lnTo>
                <a:lnTo>
                  <a:pt x="2232" y="300"/>
                </a:lnTo>
                <a:lnTo>
                  <a:pt x="2214" y="408"/>
                </a:lnTo>
                <a:lnTo>
                  <a:pt x="2208" y="432"/>
                </a:lnTo>
                <a:lnTo>
                  <a:pt x="2202" y="438"/>
                </a:lnTo>
                <a:lnTo>
                  <a:pt x="2190" y="462"/>
                </a:lnTo>
                <a:lnTo>
                  <a:pt x="2178" y="474"/>
                </a:lnTo>
                <a:lnTo>
                  <a:pt x="2172" y="486"/>
                </a:lnTo>
                <a:lnTo>
                  <a:pt x="2166" y="492"/>
                </a:lnTo>
                <a:lnTo>
                  <a:pt x="2166" y="516"/>
                </a:lnTo>
                <a:lnTo>
                  <a:pt x="2160" y="534"/>
                </a:lnTo>
                <a:lnTo>
                  <a:pt x="2154" y="546"/>
                </a:lnTo>
                <a:lnTo>
                  <a:pt x="2142" y="552"/>
                </a:lnTo>
                <a:lnTo>
                  <a:pt x="2088" y="570"/>
                </a:lnTo>
                <a:lnTo>
                  <a:pt x="2076" y="570"/>
                </a:lnTo>
                <a:lnTo>
                  <a:pt x="2064" y="576"/>
                </a:lnTo>
                <a:lnTo>
                  <a:pt x="2058" y="576"/>
                </a:lnTo>
                <a:lnTo>
                  <a:pt x="2058" y="570"/>
                </a:lnTo>
                <a:lnTo>
                  <a:pt x="2052" y="564"/>
                </a:lnTo>
                <a:lnTo>
                  <a:pt x="2028" y="516"/>
                </a:lnTo>
                <a:lnTo>
                  <a:pt x="2022" y="510"/>
                </a:lnTo>
                <a:lnTo>
                  <a:pt x="1998" y="492"/>
                </a:lnTo>
                <a:lnTo>
                  <a:pt x="1956" y="474"/>
                </a:lnTo>
                <a:lnTo>
                  <a:pt x="1920" y="462"/>
                </a:lnTo>
                <a:lnTo>
                  <a:pt x="1908" y="456"/>
                </a:lnTo>
                <a:lnTo>
                  <a:pt x="1896" y="438"/>
                </a:lnTo>
                <a:lnTo>
                  <a:pt x="1884" y="426"/>
                </a:lnTo>
                <a:lnTo>
                  <a:pt x="1872" y="402"/>
                </a:lnTo>
                <a:lnTo>
                  <a:pt x="1866" y="396"/>
                </a:lnTo>
                <a:lnTo>
                  <a:pt x="1830" y="396"/>
                </a:lnTo>
                <a:lnTo>
                  <a:pt x="1806" y="348"/>
                </a:lnTo>
                <a:lnTo>
                  <a:pt x="1824" y="330"/>
                </a:lnTo>
                <a:lnTo>
                  <a:pt x="1824" y="306"/>
                </a:lnTo>
                <a:lnTo>
                  <a:pt x="1830" y="294"/>
                </a:lnTo>
                <a:lnTo>
                  <a:pt x="1836" y="288"/>
                </a:lnTo>
                <a:lnTo>
                  <a:pt x="1848" y="282"/>
                </a:lnTo>
                <a:lnTo>
                  <a:pt x="1854" y="276"/>
                </a:lnTo>
                <a:lnTo>
                  <a:pt x="1848" y="228"/>
                </a:lnTo>
                <a:lnTo>
                  <a:pt x="1866" y="210"/>
                </a:lnTo>
                <a:lnTo>
                  <a:pt x="1872" y="216"/>
                </a:lnTo>
                <a:lnTo>
                  <a:pt x="1884" y="216"/>
                </a:lnTo>
                <a:lnTo>
                  <a:pt x="1890" y="222"/>
                </a:lnTo>
                <a:lnTo>
                  <a:pt x="1896" y="222"/>
                </a:lnTo>
                <a:lnTo>
                  <a:pt x="1902" y="216"/>
                </a:lnTo>
                <a:lnTo>
                  <a:pt x="1908" y="204"/>
                </a:lnTo>
                <a:lnTo>
                  <a:pt x="1908" y="180"/>
                </a:lnTo>
                <a:lnTo>
                  <a:pt x="1944" y="144"/>
                </a:lnTo>
                <a:lnTo>
                  <a:pt x="1938" y="132"/>
                </a:lnTo>
                <a:lnTo>
                  <a:pt x="1914" y="108"/>
                </a:lnTo>
                <a:lnTo>
                  <a:pt x="1890" y="108"/>
                </a:lnTo>
                <a:lnTo>
                  <a:pt x="1872" y="114"/>
                </a:lnTo>
                <a:lnTo>
                  <a:pt x="1848" y="126"/>
                </a:lnTo>
                <a:lnTo>
                  <a:pt x="1842" y="138"/>
                </a:lnTo>
                <a:lnTo>
                  <a:pt x="1842" y="120"/>
                </a:lnTo>
                <a:lnTo>
                  <a:pt x="1812" y="126"/>
                </a:lnTo>
                <a:lnTo>
                  <a:pt x="1794" y="138"/>
                </a:lnTo>
                <a:lnTo>
                  <a:pt x="1788" y="120"/>
                </a:lnTo>
                <a:lnTo>
                  <a:pt x="1752" y="114"/>
                </a:lnTo>
                <a:lnTo>
                  <a:pt x="1746" y="108"/>
                </a:lnTo>
                <a:lnTo>
                  <a:pt x="1734" y="102"/>
                </a:lnTo>
                <a:lnTo>
                  <a:pt x="1728" y="96"/>
                </a:lnTo>
                <a:lnTo>
                  <a:pt x="1716" y="90"/>
                </a:lnTo>
                <a:lnTo>
                  <a:pt x="1674" y="90"/>
                </a:lnTo>
                <a:lnTo>
                  <a:pt x="1662" y="84"/>
                </a:lnTo>
                <a:lnTo>
                  <a:pt x="1650" y="84"/>
                </a:lnTo>
                <a:lnTo>
                  <a:pt x="1650" y="78"/>
                </a:lnTo>
                <a:lnTo>
                  <a:pt x="1644" y="72"/>
                </a:lnTo>
                <a:lnTo>
                  <a:pt x="1632" y="48"/>
                </a:lnTo>
                <a:lnTo>
                  <a:pt x="1626" y="42"/>
                </a:lnTo>
                <a:lnTo>
                  <a:pt x="1620" y="42"/>
                </a:lnTo>
                <a:lnTo>
                  <a:pt x="1620" y="54"/>
                </a:lnTo>
                <a:lnTo>
                  <a:pt x="1614" y="60"/>
                </a:lnTo>
                <a:lnTo>
                  <a:pt x="1602" y="54"/>
                </a:lnTo>
                <a:lnTo>
                  <a:pt x="1596" y="54"/>
                </a:lnTo>
                <a:lnTo>
                  <a:pt x="1584" y="48"/>
                </a:lnTo>
                <a:lnTo>
                  <a:pt x="1566" y="48"/>
                </a:lnTo>
                <a:lnTo>
                  <a:pt x="1566" y="60"/>
                </a:lnTo>
                <a:lnTo>
                  <a:pt x="1572" y="66"/>
                </a:lnTo>
                <a:lnTo>
                  <a:pt x="1554" y="66"/>
                </a:lnTo>
                <a:lnTo>
                  <a:pt x="1548" y="72"/>
                </a:lnTo>
                <a:lnTo>
                  <a:pt x="1548" y="78"/>
                </a:lnTo>
                <a:lnTo>
                  <a:pt x="1554" y="84"/>
                </a:lnTo>
                <a:lnTo>
                  <a:pt x="1566" y="84"/>
                </a:lnTo>
                <a:lnTo>
                  <a:pt x="1590" y="96"/>
                </a:lnTo>
                <a:lnTo>
                  <a:pt x="1596" y="96"/>
                </a:lnTo>
                <a:lnTo>
                  <a:pt x="1608" y="90"/>
                </a:lnTo>
                <a:lnTo>
                  <a:pt x="1614" y="84"/>
                </a:lnTo>
                <a:lnTo>
                  <a:pt x="1644" y="102"/>
                </a:lnTo>
                <a:lnTo>
                  <a:pt x="1638" y="102"/>
                </a:lnTo>
                <a:lnTo>
                  <a:pt x="1632" y="108"/>
                </a:lnTo>
                <a:lnTo>
                  <a:pt x="1596" y="126"/>
                </a:lnTo>
                <a:lnTo>
                  <a:pt x="1572" y="126"/>
                </a:lnTo>
                <a:lnTo>
                  <a:pt x="1554" y="132"/>
                </a:lnTo>
                <a:lnTo>
                  <a:pt x="1512" y="132"/>
                </a:lnTo>
                <a:lnTo>
                  <a:pt x="1500" y="138"/>
                </a:lnTo>
                <a:lnTo>
                  <a:pt x="1482" y="144"/>
                </a:lnTo>
                <a:lnTo>
                  <a:pt x="1470" y="156"/>
                </a:lnTo>
                <a:lnTo>
                  <a:pt x="1452" y="162"/>
                </a:lnTo>
                <a:lnTo>
                  <a:pt x="1440" y="168"/>
                </a:lnTo>
                <a:lnTo>
                  <a:pt x="1434" y="174"/>
                </a:lnTo>
                <a:lnTo>
                  <a:pt x="1428" y="174"/>
                </a:lnTo>
                <a:lnTo>
                  <a:pt x="1428" y="186"/>
                </a:lnTo>
                <a:lnTo>
                  <a:pt x="1422" y="204"/>
                </a:lnTo>
                <a:lnTo>
                  <a:pt x="1422" y="228"/>
                </a:lnTo>
                <a:lnTo>
                  <a:pt x="1428" y="234"/>
                </a:lnTo>
                <a:lnTo>
                  <a:pt x="1440" y="240"/>
                </a:lnTo>
                <a:lnTo>
                  <a:pt x="1446" y="246"/>
                </a:lnTo>
                <a:lnTo>
                  <a:pt x="1452" y="246"/>
                </a:lnTo>
                <a:lnTo>
                  <a:pt x="1398" y="246"/>
                </a:lnTo>
                <a:lnTo>
                  <a:pt x="1368" y="282"/>
                </a:lnTo>
                <a:lnTo>
                  <a:pt x="1368" y="312"/>
                </a:lnTo>
                <a:lnTo>
                  <a:pt x="1362" y="324"/>
                </a:lnTo>
                <a:lnTo>
                  <a:pt x="1362" y="330"/>
                </a:lnTo>
                <a:lnTo>
                  <a:pt x="1368" y="336"/>
                </a:lnTo>
                <a:lnTo>
                  <a:pt x="1380" y="336"/>
                </a:lnTo>
                <a:lnTo>
                  <a:pt x="1404" y="348"/>
                </a:lnTo>
                <a:lnTo>
                  <a:pt x="1410" y="354"/>
                </a:lnTo>
                <a:lnTo>
                  <a:pt x="1410" y="390"/>
                </a:lnTo>
                <a:lnTo>
                  <a:pt x="1386" y="366"/>
                </a:lnTo>
                <a:lnTo>
                  <a:pt x="1356" y="366"/>
                </a:lnTo>
                <a:lnTo>
                  <a:pt x="1344" y="390"/>
                </a:lnTo>
                <a:lnTo>
                  <a:pt x="1308" y="354"/>
                </a:lnTo>
                <a:lnTo>
                  <a:pt x="1302" y="384"/>
                </a:lnTo>
                <a:lnTo>
                  <a:pt x="1278" y="396"/>
                </a:lnTo>
                <a:lnTo>
                  <a:pt x="1284" y="420"/>
                </a:lnTo>
                <a:lnTo>
                  <a:pt x="1254" y="414"/>
                </a:lnTo>
                <a:lnTo>
                  <a:pt x="1284" y="354"/>
                </a:lnTo>
                <a:lnTo>
                  <a:pt x="1278" y="348"/>
                </a:lnTo>
                <a:lnTo>
                  <a:pt x="1272" y="336"/>
                </a:lnTo>
                <a:lnTo>
                  <a:pt x="1272" y="324"/>
                </a:lnTo>
                <a:lnTo>
                  <a:pt x="1266" y="318"/>
                </a:lnTo>
                <a:lnTo>
                  <a:pt x="1254" y="312"/>
                </a:lnTo>
                <a:lnTo>
                  <a:pt x="1236" y="312"/>
                </a:lnTo>
                <a:lnTo>
                  <a:pt x="1224" y="282"/>
                </a:lnTo>
                <a:lnTo>
                  <a:pt x="1224" y="276"/>
                </a:lnTo>
                <a:lnTo>
                  <a:pt x="1230" y="270"/>
                </a:lnTo>
                <a:lnTo>
                  <a:pt x="1230" y="258"/>
                </a:lnTo>
                <a:lnTo>
                  <a:pt x="1224" y="246"/>
                </a:lnTo>
                <a:lnTo>
                  <a:pt x="1218" y="240"/>
                </a:lnTo>
                <a:lnTo>
                  <a:pt x="1206" y="234"/>
                </a:lnTo>
                <a:lnTo>
                  <a:pt x="1194" y="240"/>
                </a:lnTo>
                <a:lnTo>
                  <a:pt x="1188" y="246"/>
                </a:lnTo>
                <a:lnTo>
                  <a:pt x="1176" y="252"/>
                </a:lnTo>
                <a:lnTo>
                  <a:pt x="1176" y="264"/>
                </a:lnTo>
                <a:lnTo>
                  <a:pt x="1182" y="270"/>
                </a:lnTo>
                <a:lnTo>
                  <a:pt x="1182" y="282"/>
                </a:lnTo>
                <a:lnTo>
                  <a:pt x="1146" y="276"/>
                </a:lnTo>
                <a:lnTo>
                  <a:pt x="1152" y="306"/>
                </a:lnTo>
                <a:lnTo>
                  <a:pt x="1134" y="300"/>
                </a:lnTo>
                <a:lnTo>
                  <a:pt x="1116" y="306"/>
                </a:lnTo>
                <a:lnTo>
                  <a:pt x="1122" y="312"/>
                </a:lnTo>
                <a:lnTo>
                  <a:pt x="1122" y="330"/>
                </a:lnTo>
                <a:lnTo>
                  <a:pt x="1116" y="342"/>
                </a:lnTo>
                <a:lnTo>
                  <a:pt x="1110" y="348"/>
                </a:lnTo>
                <a:lnTo>
                  <a:pt x="1098" y="354"/>
                </a:lnTo>
                <a:lnTo>
                  <a:pt x="1092" y="360"/>
                </a:lnTo>
                <a:lnTo>
                  <a:pt x="1104" y="324"/>
                </a:lnTo>
                <a:lnTo>
                  <a:pt x="1080" y="348"/>
                </a:lnTo>
                <a:lnTo>
                  <a:pt x="1062" y="348"/>
                </a:lnTo>
                <a:lnTo>
                  <a:pt x="1056" y="360"/>
                </a:lnTo>
                <a:lnTo>
                  <a:pt x="1050" y="366"/>
                </a:lnTo>
                <a:lnTo>
                  <a:pt x="1050" y="378"/>
                </a:lnTo>
                <a:lnTo>
                  <a:pt x="1056" y="390"/>
                </a:lnTo>
                <a:lnTo>
                  <a:pt x="1056" y="396"/>
                </a:lnTo>
                <a:lnTo>
                  <a:pt x="1062" y="408"/>
                </a:lnTo>
                <a:lnTo>
                  <a:pt x="1014" y="384"/>
                </a:lnTo>
                <a:lnTo>
                  <a:pt x="1008" y="420"/>
                </a:lnTo>
                <a:lnTo>
                  <a:pt x="996" y="426"/>
                </a:lnTo>
                <a:lnTo>
                  <a:pt x="1008" y="450"/>
                </a:lnTo>
                <a:lnTo>
                  <a:pt x="1032" y="450"/>
                </a:lnTo>
                <a:lnTo>
                  <a:pt x="1026" y="468"/>
                </a:lnTo>
                <a:lnTo>
                  <a:pt x="954" y="474"/>
                </a:lnTo>
                <a:lnTo>
                  <a:pt x="948" y="468"/>
                </a:lnTo>
                <a:lnTo>
                  <a:pt x="936" y="462"/>
                </a:lnTo>
                <a:lnTo>
                  <a:pt x="930" y="462"/>
                </a:lnTo>
                <a:lnTo>
                  <a:pt x="918" y="468"/>
                </a:lnTo>
                <a:lnTo>
                  <a:pt x="912" y="474"/>
                </a:lnTo>
                <a:lnTo>
                  <a:pt x="918" y="486"/>
                </a:lnTo>
                <a:lnTo>
                  <a:pt x="918" y="492"/>
                </a:lnTo>
                <a:lnTo>
                  <a:pt x="924" y="504"/>
                </a:lnTo>
                <a:lnTo>
                  <a:pt x="930" y="510"/>
                </a:lnTo>
                <a:lnTo>
                  <a:pt x="930" y="540"/>
                </a:lnTo>
                <a:lnTo>
                  <a:pt x="924" y="564"/>
                </a:lnTo>
                <a:lnTo>
                  <a:pt x="930" y="600"/>
                </a:lnTo>
                <a:lnTo>
                  <a:pt x="912" y="600"/>
                </a:lnTo>
                <a:lnTo>
                  <a:pt x="906" y="522"/>
                </a:lnTo>
                <a:lnTo>
                  <a:pt x="888" y="510"/>
                </a:lnTo>
                <a:lnTo>
                  <a:pt x="888" y="480"/>
                </a:lnTo>
                <a:lnTo>
                  <a:pt x="870" y="480"/>
                </a:lnTo>
                <a:lnTo>
                  <a:pt x="852" y="504"/>
                </a:lnTo>
                <a:lnTo>
                  <a:pt x="822" y="534"/>
                </a:lnTo>
                <a:lnTo>
                  <a:pt x="804" y="546"/>
                </a:lnTo>
                <a:lnTo>
                  <a:pt x="792" y="558"/>
                </a:lnTo>
                <a:lnTo>
                  <a:pt x="786" y="570"/>
                </a:lnTo>
                <a:lnTo>
                  <a:pt x="786" y="600"/>
                </a:lnTo>
                <a:lnTo>
                  <a:pt x="792" y="606"/>
                </a:lnTo>
                <a:lnTo>
                  <a:pt x="792" y="618"/>
                </a:lnTo>
                <a:lnTo>
                  <a:pt x="798" y="618"/>
                </a:lnTo>
                <a:lnTo>
                  <a:pt x="816" y="636"/>
                </a:lnTo>
                <a:lnTo>
                  <a:pt x="810" y="648"/>
                </a:lnTo>
                <a:lnTo>
                  <a:pt x="792" y="654"/>
                </a:lnTo>
                <a:lnTo>
                  <a:pt x="774" y="666"/>
                </a:lnTo>
                <a:lnTo>
                  <a:pt x="750" y="678"/>
                </a:lnTo>
                <a:lnTo>
                  <a:pt x="750" y="696"/>
                </a:lnTo>
                <a:lnTo>
                  <a:pt x="720" y="726"/>
                </a:lnTo>
                <a:lnTo>
                  <a:pt x="702" y="732"/>
                </a:lnTo>
                <a:lnTo>
                  <a:pt x="690" y="744"/>
                </a:lnTo>
                <a:lnTo>
                  <a:pt x="666" y="756"/>
                </a:lnTo>
                <a:lnTo>
                  <a:pt x="630" y="762"/>
                </a:lnTo>
                <a:lnTo>
                  <a:pt x="600" y="768"/>
                </a:lnTo>
                <a:lnTo>
                  <a:pt x="588" y="768"/>
                </a:lnTo>
                <a:lnTo>
                  <a:pt x="534" y="762"/>
                </a:lnTo>
                <a:lnTo>
                  <a:pt x="492" y="780"/>
                </a:lnTo>
                <a:lnTo>
                  <a:pt x="438" y="786"/>
                </a:lnTo>
                <a:lnTo>
                  <a:pt x="432" y="798"/>
                </a:lnTo>
                <a:lnTo>
                  <a:pt x="414" y="798"/>
                </a:lnTo>
                <a:lnTo>
                  <a:pt x="402" y="804"/>
                </a:lnTo>
                <a:lnTo>
                  <a:pt x="396" y="810"/>
                </a:lnTo>
                <a:lnTo>
                  <a:pt x="384" y="816"/>
                </a:lnTo>
                <a:lnTo>
                  <a:pt x="372" y="828"/>
                </a:lnTo>
                <a:lnTo>
                  <a:pt x="342" y="828"/>
                </a:lnTo>
                <a:lnTo>
                  <a:pt x="324" y="834"/>
                </a:lnTo>
                <a:lnTo>
                  <a:pt x="312" y="840"/>
                </a:lnTo>
                <a:lnTo>
                  <a:pt x="306" y="852"/>
                </a:lnTo>
                <a:lnTo>
                  <a:pt x="294" y="858"/>
                </a:lnTo>
                <a:lnTo>
                  <a:pt x="288" y="870"/>
                </a:lnTo>
                <a:lnTo>
                  <a:pt x="282" y="876"/>
                </a:lnTo>
                <a:lnTo>
                  <a:pt x="282" y="882"/>
                </a:lnTo>
                <a:lnTo>
                  <a:pt x="276" y="882"/>
                </a:lnTo>
                <a:lnTo>
                  <a:pt x="270" y="888"/>
                </a:lnTo>
                <a:lnTo>
                  <a:pt x="252" y="888"/>
                </a:lnTo>
                <a:lnTo>
                  <a:pt x="240" y="894"/>
                </a:lnTo>
                <a:lnTo>
                  <a:pt x="228" y="894"/>
                </a:lnTo>
                <a:lnTo>
                  <a:pt x="216" y="900"/>
                </a:lnTo>
                <a:lnTo>
                  <a:pt x="210" y="906"/>
                </a:lnTo>
                <a:lnTo>
                  <a:pt x="198" y="912"/>
                </a:lnTo>
                <a:lnTo>
                  <a:pt x="192" y="930"/>
                </a:lnTo>
                <a:lnTo>
                  <a:pt x="150" y="972"/>
                </a:lnTo>
                <a:lnTo>
                  <a:pt x="150" y="978"/>
                </a:lnTo>
                <a:lnTo>
                  <a:pt x="162" y="912"/>
                </a:lnTo>
                <a:lnTo>
                  <a:pt x="144" y="918"/>
                </a:lnTo>
                <a:lnTo>
                  <a:pt x="120" y="978"/>
                </a:lnTo>
                <a:lnTo>
                  <a:pt x="90" y="1038"/>
                </a:lnTo>
                <a:lnTo>
                  <a:pt x="90" y="1056"/>
                </a:lnTo>
                <a:lnTo>
                  <a:pt x="96" y="1062"/>
                </a:lnTo>
                <a:lnTo>
                  <a:pt x="108" y="1068"/>
                </a:lnTo>
                <a:lnTo>
                  <a:pt x="114" y="1068"/>
                </a:lnTo>
                <a:lnTo>
                  <a:pt x="108" y="1080"/>
                </a:lnTo>
                <a:lnTo>
                  <a:pt x="96" y="1086"/>
                </a:lnTo>
                <a:lnTo>
                  <a:pt x="90" y="1098"/>
                </a:lnTo>
                <a:lnTo>
                  <a:pt x="66" y="1122"/>
                </a:lnTo>
                <a:lnTo>
                  <a:pt x="66" y="1134"/>
                </a:lnTo>
                <a:lnTo>
                  <a:pt x="72" y="1152"/>
                </a:lnTo>
                <a:lnTo>
                  <a:pt x="72" y="1164"/>
                </a:lnTo>
                <a:lnTo>
                  <a:pt x="84" y="1188"/>
                </a:lnTo>
                <a:lnTo>
                  <a:pt x="84" y="1200"/>
                </a:lnTo>
                <a:lnTo>
                  <a:pt x="102" y="1236"/>
                </a:lnTo>
                <a:lnTo>
                  <a:pt x="108" y="1254"/>
                </a:lnTo>
                <a:lnTo>
                  <a:pt x="114" y="1266"/>
                </a:lnTo>
                <a:lnTo>
                  <a:pt x="114" y="1278"/>
                </a:lnTo>
                <a:lnTo>
                  <a:pt x="108" y="1278"/>
                </a:lnTo>
                <a:lnTo>
                  <a:pt x="96" y="1266"/>
                </a:lnTo>
                <a:lnTo>
                  <a:pt x="90" y="1254"/>
                </a:lnTo>
                <a:lnTo>
                  <a:pt x="72" y="1236"/>
                </a:lnTo>
                <a:lnTo>
                  <a:pt x="66" y="1224"/>
                </a:lnTo>
                <a:lnTo>
                  <a:pt x="48" y="1218"/>
                </a:lnTo>
                <a:lnTo>
                  <a:pt x="66" y="1266"/>
                </a:lnTo>
                <a:lnTo>
                  <a:pt x="30" y="1236"/>
                </a:lnTo>
                <a:lnTo>
                  <a:pt x="30" y="1290"/>
                </a:lnTo>
                <a:lnTo>
                  <a:pt x="60" y="1350"/>
                </a:lnTo>
                <a:lnTo>
                  <a:pt x="66" y="1356"/>
                </a:lnTo>
                <a:lnTo>
                  <a:pt x="66" y="1368"/>
                </a:lnTo>
                <a:lnTo>
                  <a:pt x="60" y="1374"/>
                </a:lnTo>
                <a:lnTo>
                  <a:pt x="54" y="1386"/>
                </a:lnTo>
                <a:lnTo>
                  <a:pt x="54" y="1398"/>
                </a:lnTo>
                <a:lnTo>
                  <a:pt x="48" y="1410"/>
                </a:lnTo>
                <a:lnTo>
                  <a:pt x="54" y="1416"/>
                </a:lnTo>
                <a:lnTo>
                  <a:pt x="60" y="1428"/>
                </a:lnTo>
                <a:lnTo>
                  <a:pt x="78" y="1446"/>
                </a:lnTo>
                <a:lnTo>
                  <a:pt x="84" y="1458"/>
                </a:lnTo>
                <a:lnTo>
                  <a:pt x="90" y="1464"/>
                </a:lnTo>
                <a:lnTo>
                  <a:pt x="96" y="1476"/>
                </a:lnTo>
                <a:lnTo>
                  <a:pt x="96" y="1506"/>
                </a:lnTo>
                <a:lnTo>
                  <a:pt x="90" y="1518"/>
                </a:lnTo>
                <a:lnTo>
                  <a:pt x="84" y="1524"/>
                </a:lnTo>
                <a:lnTo>
                  <a:pt x="90" y="1542"/>
                </a:lnTo>
                <a:lnTo>
                  <a:pt x="90" y="1554"/>
                </a:lnTo>
                <a:lnTo>
                  <a:pt x="96" y="1572"/>
                </a:lnTo>
                <a:lnTo>
                  <a:pt x="96" y="1590"/>
                </a:lnTo>
                <a:lnTo>
                  <a:pt x="102" y="1596"/>
                </a:lnTo>
                <a:lnTo>
                  <a:pt x="102" y="1602"/>
                </a:lnTo>
                <a:lnTo>
                  <a:pt x="96" y="1602"/>
                </a:lnTo>
                <a:lnTo>
                  <a:pt x="78" y="1620"/>
                </a:lnTo>
                <a:lnTo>
                  <a:pt x="84" y="1626"/>
                </a:lnTo>
                <a:lnTo>
                  <a:pt x="84" y="1638"/>
                </a:lnTo>
                <a:lnTo>
                  <a:pt x="90" y="1650"/>
                </a:lnTo>
                <a:lnTo>
                  <a:pt x="90" y="1662"/>
                </a:lnTo>
                <a:lnTo>
                  <a:pt x="96" y="1668"/>
                </a:lnTo>
                <a:lnTo>
                  <a:pt x="96" y="1674"/>
                </a:lnTo>
                <a:lnTo>
                  <a:pt x="102" y="1674"/>
                </a:lnTo>
                <a:lnTo>
                  <a:pt x="108" y="1680"/>
                </a:lnTo>
                <a:lnTo>
                  <a:pt x="126" y="1716"/>
                </a:lnTo>
                <a:lnTo>
                  <a:pt x="126" y="1728"/>
                </a:lnTo>
                <a:lnTo>
                  <a:pt x="108" y="1764"/>
                </a:lnTo>
                <a:lnTo>
                  <a:pt x="90" y="1782"/>
                </a:lnTo>
                <a:lnTo>
                  <a:pt x="90" y="1824"/>
                </a:lnTo>
                <a:lnTo>
                  <a:pt x="84" y="1842"/>
                </a:lnTo>
                <a:lnTo>
                  <a:pt x="60" y="1866"/>
                </a:lnTo>
                <a:lnTo>
                  <a:pt x="42" y="1866"/>
                </a:lnTo>
                <a:lnTo>
                  <a:pt x="30" y="1872"/>
                </a:lnTo>
                <a:lnTo>
                  <a:pt x="18" y="1866"/>
                </a:lnTo>
                <a:lnTo>
                  <a:pt x="6" y="1866"/>
                </a:lnTo>
                <a:lnTo>
                  <a:pt x="0" y="1920"/>
                </a:lnTo>
                <a:lnTo>
                  <a:pt x="12" y="1920"/>
                </a:lnTo>
                <a:lnTo>
                  <a:pt x="24" y="1926"/>
                </a:lnTo>
                <a:lnTo>
                  <a:pt x="42" y="1926"/>
                </a:lnTo>
                <a:lnTo>
                  <a:pt x="54" y="1932"/>
                </a:lnTo>
                <a:lnTo>
                  <a:pt x="72" y="1950"/>
                </a:lnTo>
                <a:lnTo>
                  <a:pt x="78" y="1962"/>
                </a:lnTo>
                <a:lnTo>
                  <a:pt x="108" y="1956"/>
                </a:lnTo>
                <a:lnTo>
                  <a:pt x="114" y="1968"/>
                </a:lnTo>
                <a:lnTo>
                  <a:pt x="138" y="1980"/>
                </a:lnTo>
                <a:lnTo>
                  <a:pt x="174" y="1980"/>
                </a:lnTo>
                <a:lnTo>
                  <a:pt x="210" y="1968"/>
                </a:lnTo>
                <a:lnTo>
                  <a:pt x="234" y="1968"/>
                </a:lnTo>
                <a:lnTo>
                  <a:pt x="234" y="1950"/>
                </a:lnTo>
                <a:lnTo>
                  <a:pt x="228" y="1944"/>
                </a:lnTo>
                <a:lnTo>
                  <a:pt x="264" y="1950"/>
                </a:lnTo>
                <a:lnTo>
                  <a:pt x="276" y="1932"/>
                </a:lnTo>
                <a:lnTo>
                  <a:pt x="318" y="1926"/>
                </a:lnTo>
                <a:lnTo>
                  <a:pt x="354" y="1890"/>
                </a:lnTo>
                <a:lnTo>
                  <a:pt x="366" y="1884"/>
                </a:lnTo>
                <a:lnTo>
                  <a:pt x="372" y="1884"/>
                </a:lnTo>
                <a:lnTo>
                  <a:pt x="420" y="1908"/>
                </a:lnTo>
                <a:lnTo>
                  <a:pt x="426" y="1902"/>
                </a:lnTo>
                <a:lnTo>
                  <a:pt x="474" y="1878"/>
                </a:lnTo>
                <a:lnTo>
                  <a:pt x="480" y="1872"/>
                </a:lnTo>
                <a:lnTo>
                  <a:pt x="486" y="1872"/>
                </a:lnTo>
                <a:lnTo>
                  <a:pt x="498" y="1878"/>
                </a:lnTo>
                <a:lnTo>
                  <a:pt x="504" y="1884"/>
                </a:lnTo>
                <a:lnTo>
                  <a:pt x="516" y="1884"/>
                </a:lnTo>
                <a:lnTo>
                  <a:pt x="528" y="1890"/>
                </a:lnTo>
                <a:lnTo>
                  <a:pt x="534" y="1890"/>
                </a:lnTo>
                <a:lnTo>
                  <a:pt x="552" y="1884"/>
                </a:lnTo>
                <a:lnTo>
                  <a:pt x="576" y="1872"/>
                </a:lnTo>
                <a:lnTo>
                  <a:pt x="582" y="1872"/>
                </a:lnTo>
                <a:lnTo>
                  <a:pt x="594" y="1878"/>
                </a:lnTo>
                <a:lnTo>
                  <a:pt x="606" y="1878"/>
                </a:lnTo>
                <a:lnTo>
                  <a:pt x="624" y="1884"/>
                </a:lnTo>
                <a:lnTo>
                  <a:pt x="636" y="1884"/>
                </a:lnTo>
                <a:lnTo>
                  <a:pt x="648" y="1878"/>
                </a:lnTo>
                <a:lnTo>
                  <a:pt x="654" y="1872"/>
                </a:lnTo>
                <a:lnTo>
                  <a:pt x="654" y="1848"/>
                </a:lnTo>
                <a:lnTo>
                  <a:pt x="666" y="1848"/>
                </a:lnTo>
                <a:lnTo>
                  <a:pt x="672" y="1842"/>
                </a:lnTo>
                <a:lnTo>
                  <a:pt x="678" y="1842"/>
                </a:lnTo>
                <a:lnTo>
                  <a:pt x="684" y="1836"/>
                </a:lnTo>
                <a:lnTo>
                  <a:pt x="690" y="1824"/>
                </a:lnTo>
                <a:lnTo>
                  <a:pt x="702" y="1788"/>
                </a:lnTo>
                <a:lnTo>
                  <a:pt x="714" y="1776"/>
                </a:lnTo>
                <a:lnTo>
                  <a:pt x="726" y="1770"/>
                </a:lnTo>
                <a:lnTo>
                  <a:pt x="744" y="1764"/>
                </a:lnTo>
                <a:lnTo>
                  <a:pt x="756" y="1764"/>
                </a:lnTo>
                <a:lnTo>
                  <a:pt x="774" y="1770"/>
                </a:lnTo>
                <a:lnTo>
                  <a:pt x="798" y="1770"/>
                </a:lnTo>
                <a:lnTo>
                  <a:pt x="822" y="1758"/>
                </a:lnTo>
                <a:lnTo>
                  <a:pt x="840" y="1752"/>
                </a:lnTo>
                <a:lnTo>
                  <a:pt x="858" y="1740"/>
                </a:lnTo>
                <a:lnTo>
                  <a:pt x="876" y="1734"/>
                </a:lnTo>
                <a:lnTo>
                  <a:pt x="912" y="1734"/>
                </a:lnTo>
                <a:lnTo>
                  <a:pt x="918" y="1740"/>
                </a:lnTo>
                <a:lnTo>
                  <a:pt x="930" y="1740"/>
                </a:lnTo>
                <a:lnTo>
                  <a:pt x="942" y="1746"/>
                </a:lnTo>
                <a:lnTo>
                  <a:pt x="972" y="1740"/>
                </a:lnTo>
                <a:lnTo>
                  <a:pt x="1044" y="1704"/>
                </a:lnTo>
                <a:lnTo>
                  <a:pt x="1074" y="1692"/>
                </a:lnTo>
                <a:lnTo>
                  <a:pt x="1098" y="1686"/>
                </a:lnTo>
                <a:lnTo>
                  <a:pt x="1140" y="1680"/>
                </a:lnTo>
                <a:lnTo>
                  <a:pt x="1176" y="1674"/>
                </a:lnTo>
                <a:lnTo>
                  <a:pt x="1224" y="1674"/>
                </a:lnTo>
                <a:lnTo>
                  <a:pt x="1236" y="1662"/>
                </a:lnTo>
                <a:lnTo>
                  <a:pt x="1254" y="1680"/>
                </a:lnTo>
                <a:lnTo>
                  <a:pt x="1266" y="1686"/>
                </a:lnTo>
                <a:lnTo>
                  <a:pt x="1278" y="1698"/>
                </a:lnTo>
                <a:lnTo>
                  <a:pt x="1302" y="1710"/>
                </a:lnTo>
                <a:lnTo>
                  <a:pt x="1320" y="1716"/>
                </a:lnTo>
                <a:lnTo>
                  <a:pt x="1332" y="1716"/>
                </a:lnTo>
                <a:lnTo>
                  <a:pt x="1338" y="1710"/>
                </a:lnTo>
                <a:lnTo>
                  <a:pt x="1338" y="1716"/>
                </a:lnTo>
                <a:lnTo>
                  <a:pt x="1344" y="1722"/>
                </a:lnTo>
                <a:lnTo>
                  <a:pt x="1350" y="1734"/>
                </a:lnTo>
                <a:lnTo>
                  <a:pt x="1356" y="1740"/>
                </a:lnTo>
                <a:lnTo>
                  <a:pt x="1374" y="1740"/>
                </a:lnTo>
                <a:lnTo>
                  <a:pt x="1380" y="1734"/>
                </a:lnTo>
                <a:lnTo>
                  <a:pt x="1380" y="1752"/>
                </a:lnTo>
                <a:lnTo>
                  <a:pt x="1392" y="1752"/>
                </a:lnTo>
                <a:lnTo>
                  <a:pt x="1398" y="1758"/>
                </a:lnTo>
                <a:lnTo>
                  <a:pt x="1398" y="1770"/>
                </a:lnTo>
                <a:lnTo>
                  <a:pt x="1386" y="1794"/>
                </a:lnTo>
                <a:lnTo>
                  <a:pt x="1380" y="1800"/>
                </a:lnTo>
                <a:lnTo>
                  <a:pt x="1374" y="1812"/>
                </a:lnTo>
                <a:lnTo>
                  <a:pt x="1392" y="1842"/>
                </a:lnTo>
                <a:lnTo>
                  <a:pt x="1410" y="1830"/>
                </a:lnTo>
                <a:lnTo>
                  <a:pt x="1428" y="1866"/>
                </a:lnTo>
                <a:lnTo>
                  <a:pt x="1428" y="1872"/>
                </a:lnTo>
                <a:lnTo>
                  <a:pt x="1434" y="1878"/>
                </a:lnTo>
                <a:lnTo>
                  <a:pt x="1434" y="1902"/>
                </a:lnTo>
                <a:lnTo>
                  <a:pt x="1440" y="1914"/>
                </a:lnTo>
                <a:lnTo>
                  <a:pt x="1440" y="1926"/>
                </a:lnTo>
                <a:lnTo>
                  <a:pt x="1422" y="1926"/>
                </a:lnTo>
                <a:lnTo>
                  <a:pt x="1410" y="1920"/>
                </a:lnTo>
                <a:lnTo>
                  <a:pt x="1404" y="1920"/>
                </a:lnTo>
                <a:lnTo>
                  <a:pt x="1410" y="1956"/>
                </a:lnTo>
                <a:lnTo>
                  <a:pt x="1446" y="1956"/>
                </a:lnTo>
                <a:lnTo>
                  <a:pt x="1452" y="1962"/>
                </a:lnTo>
                <a:lnTo>
                  <a:pt x="1452" y="1968"/>
                </a:lnTo>
                <a:lnTo>
                  <a:pt x="1470" y="1968"/>
                </a:lnTo>
                <a:lnTo>
                  <a:pt x="1470" y="1956"/>
                </a:lnTo>
                <a:lnTo>
                  <a:pt x="1464" y="1938"/>
                </a:lnTo>
                <a:lnTo>
                  <a:pt x="1464" y="1926"/>
                </a:lnTo>
                <a:lnTo>
                  <a:pt x="1470" y="1914"/>
                </a:lnTo>
                <a:lnTo>
                  <a:pt x="1476" y="1908"/>
                </a:lnTo>
                <a:lnTo>
                  <a:pt x="1500" y="1896"/>
                </a:lnTo>
                <a:lnTo>
                  <a:pt x="1512" y="1896"/>
                </a:lnTo>
                <a:lnTo>
                  <a:pt x="1518" y="1890"/>
                </a:lnTo>
                <a:lnTo>
                  <a:pt x="1530" y="1884"/>
                </a:lnTo>
                <a:lnTo>
                  <a:pt x="1542" y="1872"/>
                </a:lnTo>
                <a:lnTo>
                  <a:pt x="1548" y="1860"/>
                </a:lnTo>
                <a:lnTo>
                  <a:pt x="1566" y="1842"/>
                </a:lnTo>
                <a:lnTo>
                  <a:pt x="1566" y="1836"/>
                </a:lnTo>
                <a:lnTo>
                  <a:pt x="1590" y="1842"/>
                </a:lnTo>
                <a:lnTo>
                  <a:pt x="1608" y="1788"/>
                </a:lnTo>
                <a:lnTo>
                  <a:pt x="1638" y="1788"/>
                </a:lnTo>
                <a:lnTo>
                  <a:pt x="1650" y="1782"/>
                </a:lnTo>
                <a:lnTo>
                  <a:pt x="1662" y="1770"/>
                </a:lnTo>
                <a:lnTo>
                  <a:pt x="1668" y="1752"/>
                </a:lnTo>
                <a:lnTo>
                  <a:pt x="1668" y="1740"/>
                </a:lnTo>
                <a:lnTo>
                  <a:pt x="1668" y="1746"/>
                </a:lnTo>
                <a:lnTo>
                  <a:pt x="1674" y="1752"/>
                </a:lnTo>
                <a:lnTo>
                  <a:pt x="1674" y="1764"/>
                </a:lnTo>
                <a:lnTo>
                  <a:pt x="1680" y="1776"/>
                </a:lnTo>
                <a:lnTo>
                  <a:pt x="1680" y="1782"/>
                </a:lnTo>
                <a:lnTo>
                  <a:pt x="1668" y="1794"/>
                </a:lnTo>
                <a:lnTo>
                  <a:pt x="1662" y="1806"/>
                </a:lnTo>
                <a:lnTo>
                  <a:pt x="1650" y="1812"/>
                </a:lnTo>
                <a:lnTo>
                  <a:pt x="1644" y="1818"/>
                </a:lnTo>
                <a:lnTo>
                  <a:pt x="1620" y="1818"/>
                </a:lnTo>
                <a:lnTo>
                  <a:pt x="1614" y="1830"/>
                </a:lnTo>
                <a:lnTo>
                  <a:pt x="1632" y="1866"/>
                </a:lnTo>
                <a:lnTo>
                  <a:pt x="1620" y="1866"/>
                </a:lnTo>
                <a:lnTo>
                  <a:pt x="1614" y="1872"/>
                </a:lnTo>
                <a:lnTo>
                  <a:pt x="1602" y="1878"/>
                </a:lnTo>
                <a:lnTo>
                  <a:pt x="1566" y="1914"/>
                </a:lnTo>
                <a:lnTo>
                  <a:pt x="1566" y="1926"/>
                </a:lnTo>
                <a:lnTo>
                  <a:pt x="1560" y="1932"/>
                </a:lnTo>
                <a:lnTo>
                  <a:pt x="1554" y="1944"/>
                </a:lnTo>
                <a:lnTo>
                  <a:pt x="1542" y="1956"/>
                </a:lnTo>
                <a:lnTo>
                  <a:pt x="1518" y="1968"/>
                </a:lnTo>
                <a:lnTo>
                  <a:pt x="1512" y="1974"/>
                </a:lnTo>
                <a:lnTo>
                  <a:pt x="1512" y="1980"/>
                </a:lnTo>
                <a:lnTo>
                  <a:pt x="1518" y="1986"/>
                </a:lnTo>
                <a:lnTo>
                  <a:pt x="1548" y="1986"/>
                </a:lnTo>
                <a:lnTo>
                  <a:pt x="1560" y="1980"/>
                </a:lnTo>
                <a:lnTo>
                  <a:pt x="1572" y="1980"/>
                </a:lnTo>
                <a:lnTo>
                  <a:pt x="1584" y="1968"/>
                </a:lnTo>
                <a:lnTo>
                  <a:pt x="1602" y="1932"/>
                </a:lnTo>
                <a:lnTo>
                  <a:pt x="1608" y="1926"/>
                </a:lnTo>
                <a:lnTo>
                  <a:pt x="1614" y="1914"/>
                </a:lnTo>
                <a:lnTo>
                  <a:pt x="1626" y="1908"/>
                </a:lnTo>
                <a:lnTo>
                  <a:pt x="1632" y="1902"/>
                </a:lnTo>
                <a:lnTo>
                  <a:pt x="1632" y="1920"/>
                </a:lnTo>
                <a:lnTo>
                  <a:pt x="1638" y="1932"/>
                </a:lnTo>
                <a:lnTo>
                  <a:pt x="1638" y="1956"/>
                </a:lnTo>
                <a:lnTo>
                  <a:pt x="1626" y="1968"/>
                </a:lnTo>
                <a:lnTo>
                  <a:pt x="1614" y="1974"/>
                </a:lnTo>
                <a:lnTo>
                  <a:pt x="1602" y="1986"/>
                </a:lnTo>
                <a:lnTo>
                  <a:pt x="1602" y="2004"/>
                </a:lnTo>
                <a:lnTo>
                  <a:pt x="1608" y="2010"/>
                </a:lnTo>
                <a:lnTo>
                  <a:pt x="1614" y="2010"/>
                </a:lnTo>
                <a:lnTo>
                  <a:pt x="1632" y="2016"/>
                </a:lnTo>
                <a:lnTo>
                  <a:pt x="1662" y="2016"/>
                </a:lnTo>
                <a:lnTo>
                  <a:pt x="1668" y="2028"/>
                </a:lnTo>
                <a:lnTo>
                  <a:pt x="1644" y="2052"/>
                </a:lnTo>
                <a:lnTo>
                  <a:pt x="1644" y="2058"/>
                </a:lnTo>
                <a:lnTo>
                  <a:pt x="1650" y="2064"/>
                </a:lnTo>
                <a:lnTo>
                  <a:pt x="1668" y="2100"/>
                </a:lnTo>
                <a:lnTo>
                  <a:pt x="1674" y="2106"/>
                </a:lnTo>
                <a:lnTo>
                  <a:pt x="1674" y="2118"/>
                </a:lnTo>
                <a:lnTo>
                  <a:pt x="1626" y="2166"/>
                </a:lnTo>
                <a:lnTo>
                  <a:pt x="1626" y="2178"/>
                </a:lnTo>
                <a:lnTo>
                  <a:pt x="1638" y="2190"/>
                </a:lnTo>
                <a:lnTo>
                  <a:pt x="1644" y="2202"/>
                </a:lnTo>
                <a:lnTo>
                  <a:pt x="1668" y="2214"/>
                </a:lnTo>
                <a:lnTo>
                  <a:pt x="1680" y="2226"/>
                </a:lnTo>
                <a:lnTo>
                  <a:pt x="1692" y="2232"/>
                </a:lnTo>
                <a:lnTo>
                  <a:pt x="1716" y="2256"/>
                </a:lnTo>
                <a:lnTo>
                  <a:pt x="1728" y="2262"/>
                </a:lnTo>
                <a:lnTo>
                  <a:pt x="1800" y="2262"/>
                </a:lnTo>
                <a:lnTo>
                  <a:pt x="1824" y="2286"/>
                </a:lnTo>
                <a:lnTo>
                  <a:pt x="1842" y="2292"/>
                </a:lnTo>
                <a:lnTo>
                  <a:pt x="1872" y="2286"/>
                </a:lnTo>
                <a:lnTo>
                  <a:pt x="1902" y="2274"/>
                </a:lnTo>
                <a:lnTo>
                  <a:pt x="1932" y="2256"/>
                </a:lnTo>
                <a:lnTo>
                  <a:pt x="1944" y="2250"/>
                </a:lnTo>
                <a:lnTo>
                  <a:pt x="1944" y="2226"/>
                </a:lnTo>
                <a:lnTo>
                  <a:pt x="1956" y="2214"/>
                </a:lnTo>
                <a:lnTo>
                  <a:pt x="1962" y="2214"/>
                </a:lnTo>
                <a:lnTo>
                  <a:pt x="1974" y="2226"/>
                </a:lnTo>
                <a:lnTo>
                  <a:pt x="1974" y="2256"/>
                </a:lnTo>
                <a:lnTo>
                  <a:pt x="1992" y="2256"/>
                </a:lnTo>
                <a:lnTo>
                  <a:pt x="1980" y="2280"/>
                </a:lnTo>
                <a:lnTo>
                  <a:pt x="1998" y="2280"/>
                </a:lnTo>
                <a:lnTo>
                  <a:pt x="1998" y="2292"/>
                </a:lnTo>
                <a:lnTo>
                  <a:pt x="2004" y="2298"/>
                </a:lnTo>
                <a:lnTo>
                  <a:pt x="2010" y="2310"/>
                </a:lnTo>
                <a:lnTo>
                  <a:pt x="2016" y="2316"/>
                </a:lnTo>
                <a:lnTo>
                  <a:pt x="2028" y="2316"/>
                </a:lnTo>
                <a:lnTo>
                  <a:pt x="2040" y="2304"/>
                </a:lnTo>
                <a:lnTo>
                  <a:pt x="2046" y="2304"/>
                </a:lnTo>
                <a:lnTo>
                  <a:pt x="2052" y="2298"/>
                </a:lnTo>
                <a:lnTo>
                  <a:pt x="2070" y="2292"/>
                </a:lnTo>
                <a:lnTo>
                  <a:pt x="2082" y="2286"/>
                </a:lnTo>
                <a:lnTo>
                  <a:pt x="2088" y="2280"/>
                </a:lnTo>
                <a:lnTo>
                  <a:pt x="2100" y="2274"/>
                </a:lnTo>
                <a:lnTo>
                  <a:pt x="2124" y="2250"/>
                </a:lnTo>
                <a:lnTo>
                  <a:pt x="2136" y="2244"/>
                </a:lnTo>
                <a:lnTo>
                  <a:pt x="2148" y="2232"/>
                </a:lnTo>
                <a:lnTo>
                  <a:pt x="2160" y="2226"/>
                </a:lnTo>
                <a:lnTo>
                  <a:pt x="2154" y="2214"/>
                </a:lnTo>
                <a:lnTo>
                  <a:pt x="2190" y="2202"/>
                </a:lnTo>
                <a:lnTo>
                  <a:pt x="2202" y="2214"/>
                </a:lnTo>
                <a:lnTo>
                  <a:pt x="2220" y="2214"/>
                </a:lnTo>
                <a:lnTo>
                  <a:pt x="2256" y="2208"/>
                </a:lnTo>
                <a:lnTo>
                  <a:pt x="2298" y="2196"/>
                </a:lnTo>
                <a:lnTo>
                  <a:pt x="2316" y="2178"/>
                </a:lnTo>
                <a:lnTo>
                  <a:pt x="2328" y="2148"/>
                </a:lnTo>
                <a:lnTo>
                  <a:pt x="2334" y="2118"/>
                </a:lnTo>
                <a:lnTo>
                  <a:pt x="2340" y="2100"/>
                </a:lnTo>
                <a:lnTo>
                  <a:pt x="2346" y="2088"/>
                </a:lnTo>
                <a:lnTo>
                  <a:pt x="2376" y="2058"/>
                </a:lnTo>
                <a:lnTo>
                  <a:pt x="2382" y="2058"/>
                </a:lnTo>
                <a:lnTo>
                  <a:pt x="2382" y="2034"/>
                </a:lnTo>
                <a:lnTo>
                  <a:pt x="2388" y="2034"/>
                </a:lnTo>
                <a:lnTo>
                  <a:pt x="2394" y="2028"/>
                </a:lnTo>
                <a:lnTo>
                  <a:pt x="2406" y="2022"/>
                </a:lnTo>
                <a:lnTo>
                  <a:pt x="2418" y="2010"/>
                </a:lnTo>
                <a:lnTo>
                  <a:pt x="2424" y="1998"/>
                </a:lnTo>
                <a:lnTo>
                  <a:pt x="2442" y="1980"/>
                </a:lnTo>
                <a:lnTo>
                  <a:pt x="2442" y="1956"/>
                </a:lnTo>
                <a:lnTo>
                  <a:pt x="2448" y="1944"/>
                </a:lnTo>
                <a:lnTo>
                  <a:pt x="2454" y="1926"/>
                </a:lnTo>
                <a:lnTo>
                  <a:pt x="2460" y="1914"/>
                </a:lnTo>
                <a:lnTo>
                  <a:pt x="2490" y="1884"/>
                </a:lnTo>
                <a:lnTo>
                  <a:pt x="2502" y="1866"/>
                </a:lnTo>
                <a:lnTo>
                  <a:pt x="2526" y="1842"/>
                </a:lnTo>
                <a:lnTo>
                  <a:pt x="2538" y="1836"/>
                </a:lnTo>
                <a:lnTo>
                  <a:pt x="2550" y="1824"/>
                </a:lnTo>
                <a:lnTo>
                  <a:pt x="2556" y="1812"/>
                </a:lnTo>
                <a:lnTo>
                  <a:pt x="2556" y="1800"/>
                </a:lnTo>
                <a:lnTo>
                  <a:pt x="2562" y="1788"/>
                </a:lnTo>
                <a:lnTo>
                  <a:pt x="2562" y="1782"/>
                </a:lnTo>
                <a:lnTo>
                  <a:pt x="2586" y="1782"/>
                </a:lnTo>
                <a:lnTo>
                  <a:pt x="2610" y="1770"/>
                </a:lnTo>
                <a:lnTo>
                  <a:pt x="2622" y="1752"/>
                </a:lnTo>
                <a:lnTo>
                  <a:pt x="2646" y="1728"/>
                </a:lnTo>
                <a:lnTo>
                  <a:pt x="2670" y="1698"/>
                </a:lnTo>
                <a:lnTo>
                  <a:pt x="2688" y="1674"/>
                </a:lnTo>
                <a:lnTo>
                  <a:pt x="2700" y="1662"/>
                </a:lnTo>
                <a:lnTo>
                  <a:pt x="2700" y="1656"/>
                </a:lnTo>
                <a:lnTo>
                  <a:pt x="2706" y="1638"/>
                </a:lnTo>
                <a:lnTo>
                  <a:pt x="2706" y="1614"/>
                </a:lnTo>
                <a:lnTo>
                  <a:pt x="2712" y="1596"/>
                </a:lnTo>
                <a:lnTo>
                  <a:pt x="2718" y="1590"/>
                </a:lnTo>
                <a:lnTo>
                  <a:pt x="2730" y="1572"/>
                </a:lnTo>
                <a:lnTo>
                  <a:pt x="2754" y="1542"/>
                </a:lnTo>
                <a:lnTo>
                  <a:pt x="2772" y="1494"/>
                </a:lnTo>
                <a:lnTo>
                  <a:pt x="2796" y="1458"/>
                </a:lnTo>
                <a:lnTo>
                  <a:pt x="2808" y="1428"/>
                </a:lnTo>
                <a:lnTo>
                  <a:pt x="2814" y="1416"/>
                </a:lnTo>
                <a:lnTo>
                  <a:pt x="2814" y="1386"/>
                </a:lnTo>
                <a:lnTo>
                  <a:pt x="2802" y="1362"/>
                </a:lnTo>
                <a:lnTo>
                  <a:pt x="2820" y="1308"/>
                </a:lnTo>
                <a:lnTo>
                  <a:pt x="2832" y="1290"/>
                </a:lnTo>
                <a:lnTo>
                  <a:pt x="2838" y="1266"/>
                </a:lnTo>
                <a:lnTo>
                  <a:pt x="2838" y="1224"/>
                </a:lnTo>
                <a:lnTo>
                  <a:pt x="2832" y="1194"/>
                </a:lnTo>
                <a:lnTo>
                  <a:pt x="2832" y="1176"/>
                </a:lnTo>
                <a:lnTo>
                  <a:pt x="2802" y="1164"/>
                </a:lnTo>
                <a:close/>
                <a:moveTo>
                  <a:pt x="2016" y="2436"/>
                </a:moveTo>
                <a:lnTo>
                  <a:pt x="2022" y="2442"/>
                </a:lnTo>
                <a:lnTo>
                  <a:pt x="2028" y="2442"/>
                </a:lnTo>
                <a:lnTo>
                  <a:pt x="2040" y="2436"/>
                </a:lnTo>
                <a:lnTo>
                  <a:pt x="2046" y="2430"/>
                </a:lnTo>
                <a:lnTo>
                  <a:pt x="2034" y="2418"/>
                </a:lnTo>
                <a:lnTo>
                  <a:pt x="2016" y="2436"/>
                </a:lnTo>
                <a:close/>
                <a:moveTo>
                  <a:pt x="1992" y="2454"/>
                </a:moveTo>
                <a:lnTo>
                  <a:pt x="1974" y="2454"/>
                </a:lnTo>
                <a:lnTo>
                  <a:pt x="1962" y="2466"/>
                </a:lnTo>
                <a:lnTo>
                  <a:pt x="1962" y="2472"/>
                </a:lnTo>
                <a:lnTo>
                  <a:pt x="1962" y="2460"/>
                </a:lnTo>
                <a:lnTo>
                  <a:pt x="1938" y="2460"/>
                </a:lnTo>
                <a:lnTo>
                  <a:pt x="1926" y="2466"/>
                </a:lnTo>
                <a:lnTo>
                  <a:pt x="1914" y="2466"/>
                </a:lnTo>
                <a:lnTo>
                  <a:pt x="1908" y="2478"/>
                </a:lnTo>
                <a:lnTo>
                  <a:pt x="1890" y="2460"/>
                </a:lnTo>
                <a:lnTo>
                  <a:pt x="1854" y="2460"/>
                </a:lnTo>
                <a:lnTo>
                  <a:pt x="1830" y="2430"/>
                </a:lnTo>
                <a:lnTo>
                  <a:pt x="1824" y="2436"/>
                </a:lnTo>
                <a:lnTo>
                  <a:pt x="1818" y="2436"/>
                </a:lnTo>
                <a:lnTo>
                  <a:pt x="1812" y="2442"/>
                </a:lnTo>
                <a:lnTo>
                  <a:pt x="1806" y="2442"/>
                </a:lnTo>
                <a:lnTo>
                  <a:pt x="1776" y="2412"/>
                </a:lnTo>
                <a:lnTo>
                  <a:pt x="1776" y="2424"/>
                </a:lnTo>
                <a:lnTo>
                  <a:pt x="1782" y="2448"/>
                </a:lnTo>
                <a:lnTo>
                  <a:pt x="1782" y="2472"/>
                </a:lnTo>
                <a:lnTo>
                  <a:pt x="1776" y="2478"/>
                </a:lnTo>
                <a:lnTo>
                  <a:pt x="1776" y="2484"/>
                </a:lnTo>
                <a:lnTo>
                  <a:pt x="1770" y="2490"/>
                </a:lnTo>
                <a:lnTo>
                  <a:pt x="1770" y="2502"/>
                </a:lnTo>
                <a:lnTo>
                  <a:pt x="1776" y="2514"/>
                </a:lnTo>
                <a:lnTo>
                  <a:pt x="1776" y="2532"/>
                </a:lnTo>
                <a:lnTo>
                  <a:pt x="1764" y="2538"/>
                </a:lnTo>
                <a:lnTo>
                  <a:pt x="1758" y="2544"/>
                </a:lnTo>
                <a:lnTo>
                  <a:pt x="1752" y="2544"/>
                </a:lnTo>
                <a:lnTo>
                  <a:pt x="1740" y="2532"/>
                </a:lnTo>
                <a:lnTo>
                  <a:pt x="1740" y="2538"/>
                </a:lnTo>
                <a:lnTo>
                  <a:pt x="1734" y="2544"/>
                </a:lnTo>
                <a:lnTo>
                  <a:pt x="1734" y="2556"/>
                </a:lnTo>
                <a:lnTo>
                  <a:pt x="1728" y="2574"/>
                </a:lnTo>
                <a:lnTo>
                  <a:pt x="1728" y="2586"/>
                </a:lnTo>
                <a:lnTo>
                  <a:pt x="1740" y="2610"/>
                </a:lnTo>
                <a:lnTo>
                  <a:pt x="1740" y="2616"/>
                </a:lnTo>
                <a:lnTo>
                  <a:pt x="1746" y="2628"/>
                </a:lnTo>
                <a:lnTo>
                  <a:pt x="1770" y="2628"/>
                </a:lnTo>
                <a:lnTo>
                  <a:pt x="1752" y="2640"/>
                </a:lnTo>
                <a:lnTo>
                  <a:pt x="1758" y="2664"/>
                </a:lnTo>
                <a:lnTo>
                  <a:pt x="1770" y="2658"/>
                </a:lnTo>
                <a:lnTo>
                  <a:pt x="1776" y="2658"/>
                </a:lnTo>
                <a:lnTo>
                  <a:pt x="1782" y="2652"/>
                </a:lnTo>
                <a:lnTo>
                  <a:pt x="1794" y="2652"/>
                </a:lnTo>
                <a:lnTo>
                  <a:pt x="1800" y="2658"/>
                </a:lnTo>
                <a:lnTo>
                  <a:pt x="1818" y="2658"/>
                </a:lnTo>
                <a:lnTo>
                  <a:pt x="1830" y="2652"/>
                </a:lnTo>
                <a:lnTo>
                  <a:pt x="1836" y="2646"/>
                </a:lnTo>
                <a:lnTo>
                  <a:pt x="1842" y="2634"/>
                </a:lnTo>
                <a:lnTo>
                  <a:pt x="1854" y="2634"/>
                </a:lnTo>
                <a:lnTo>
                  <a:pt x="1860" y="2640"/>
                </a:lnTo>
                <a:lnTo>
                  <a:pt x="1860" y="2646"/>
                </a:lnTo>
                <a:lnTo>
                  <a:pt x="1848" y="2658"/>
                </a:lnTo>
                <a:lnTo>
                  <a:pt x="1866" y="2664"/>
                </a:lnTo>
                <a:lnTo>
                  <a:pt x="1884" y="2646"/>
                </a:lnTo>
                <a:lnTo>
                  <a:pt x="1890" y="2634"/>
                </a:lnTo>
                <a:lnTo>
                  <a:pt x="1902" y="2628"/>
                </a:lnTo>
                <a:lnTo>
                  <a:pt x="1908" y="2616"/>
                </a:lnTo>
                <a:lnTo>
                  <a:pt x="1920" y="2604"/>
                </a:lnTo>
                <a:lnTo>
                  <a:pt x="1914" y="2604"/>
                </a:lnTo>
                <a:lnTo>
                  <a:pt x="1902" y="2592"/>
                </a:lnTo>
                <a:lnTo>
                  <a:pt x="1920" y="2562"/>
                </a:lnTo>
                <a:lnTo>
                  <a:pt x="1950" y="2562"/>
                </a:lnTo>
                <a:lnTo>
                  <a:pt x="1962" y="2538"/>
                </a:lnTo>
                <a:lnTo>
                  <a:pt x="1962" y="2514"/>
                </a:lnTo>
                <a:lnTo>
                  <a:pt x="1968" y="2502"/>
                </a:lnTo>
                <a:lnTo>
                  <a:pt x="1980" y="2496"/>
                </a:lnTo>
                <a:lnTo>
                  <a:pt x="1986" y="2484"/>
                </a:lnTo>
                <a:lnTo>
                  <a:pt x="1992" y="2478"/>
                </a:lnTo>
                <a:lnTo>
                  <a:pt x="1998" y="2466"/>
                </a:lnTo>
                <a:lnTo>
                  <a:pt x="1998" y="2460"/>
                </a:lnTo>
                <a:lnTo>
                  <a:pt x="1992" y="2454"/>
                </a:lnTo>
                <a:close/>
                <a:moveTo>
                  <a:pt x="1902" y="246"/>
                </a:moveTo>
                <a:lnTo>
                  <a:pt x="1890" y="258"/>
                </a:lnTo>
                <a:lnTo>
                  <a:pt x="1890" y="270"/>
                </a:lnTo>
                <a:lnTo>
                  <a:pt x="1884" y="282"/>
                </a:lnTo>
                <a:lnTo>
                  <a:pt x="1884" y="294"/>
                </a:lnTo>
                <a:lnTo>
                  <a:pt x="1896" y="300"/>
                </a:lnTo>
                <a:lnTo>
                  <a:pt x="1920" y="300"/>
                </a:lnTo>
                <a:lnTo>
                  <a:pt x="1926" y="294"/>
                </a:lnTo>
                <a:lnTo>
                  <a:pt x="1932" y="294"/>
                </a:lnTo>
                <a:lnTo>
                  <a:pt x="1926" y="282"/>
                </a:lnTo>
                <a:lnTo>
                  <a:pt x="1932" y="252"/>
                </a:lnTo>
                <a:lnTo>
                  <a:pt x="1920" y="252"/>
                </a:lnTo>
                <a:lnTo>
                  <a:pt x="1908" y="246"/>
                </a:lnTo>
                <a:lnTo>
                  <a:pt x="1902" y="246"/>
                </a:lnTo>
                <a:close/>
                <a:moveTo>
                  <a:pt x="1770" y="2334"/>
                </a:moveTo>
                <a:lnTo>
                  <a:pt x="1758" y="2376"/>
                </a:lnTo>
                <a:lnTo>
                  <a:pt x="1812" y="2328"/>
                </a:lnTo>
                <a:lnTo>
                  <a:pt x="1770" y="2334"/>
                </a:lnTo>
                <a:close/>
                <a:moveTo>
                  <a:pt x="2034" y="2400"/>
                </a:moveTo>
                <a:lnTo>
                  <a:pt x="2016" y="2358"/>
                </a:lnTo>
                <a:lnTo>
                  <a:pt x="1998" y="2376"/>
                </a:lnTo>
                <a:lnTo>
                  <a:pt x="1998" y="2394"/>
                </a:lnTo>
                <a:lnTo>
                  <a:pt x="2010" y="2406"/>
                </a:lnTo>
                <a:lnTo>
                  <a:pt x="2028" y="2406"/>
                </a:lnTo>
                <a:lnTo>
                  <a:pt x="2034" y="240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2" name="Armenia"/>
          <p:cNvSpPr>
            <a:spLocks/>
          </p:cNvSpPr>
          <p:nvPr/>
        </p:nvSpPr>
        <p:spPr bwMode="gray">
          <a:xfrm>
            <a:off x="5182458" y="2918493"/>
            <a:ext cx="88900" cy="85725"/>
          </a:xfrm>
          <a:custGeom>
            <a:avLst/>
            <a:gdLst>
              <a:gd name="T0" fmla="*/ 2147483647 w 222"/>
              <a:gd name="T1" fmla="*/ 2147483647 h 210"/>
              <a:gd name="T2" fmla="*/ 2147483647 w 222"/>
              <a:gd name="T3" fmla="*/ 2147483647 h 210"/>
              <a:gd name="T4" fmla="*/ 2147483647 w 222"/>
              <a:gd name="T5" fmla="*/ 2147483647 h 210"/>
              <a:gd name="T6" fmla="*/ 2147483647 w 222"/>
              <a:gd name="T7" fmla="*/ 2147483647 h 210"/>
              <a:gd name="T8" fmla="*/ 2147483647 w 222"/>
              <a:gd name="T9" fmla="*/ 2147483647 h 210"/>
              <a:gd name="T10" fmla="*/ 2147483647 w 222"/>
              <a:gd name="T11" fmla="*/ 2147483647 h 210"/>
              <a:gd name="T12" fmla="*/ 2147483647 w 222"/>
              <a:gd name="T13" fmla="*/ 2147483647 h 210"/>
              <a:gd name="T14" fmla="*/ 2147483647 w 222"/>
              <a:gd name="T15" fmla="*/ 2147483647 h 210"/>
              <a:gd name="T16" fmla="*/ 2147483647 w 222"/>
              <a:gd name="T17" fmla="*/ 2147483647 h 210"/>
              <a:gd name="T18" fmla="*/ 2147483647 w 222"/>
              <a:gd name="T19" fmla="*/ 2147483647 h 210"/>
              <a:gd name="T20" fmla="*/ 2147483647 w 222"/>
              <a:gd name="T21" fmla="*/ 2147483647 h 210"/>
              <a:gd name="T22" fmla="*/ 2147483647 w 222"/>
              <a:gd name="T23" fmla="*/ 2147483647 h 210"/>
              <a:gd name="T24" fmla="*/ 2147483647 w 222"/>
              <a:gd name="T25" fmla="*/ 2147483647 h 210"/>
              <a:gd name="T26" fmla="*/ 2147483647 w 222"/>
              <a:gd name="T27" fmla="*/ 2147483647 h 210"/>
              <a:gd name="T28" fmla="*/ 2147483647 w 222"/>
              <a:gd name="T29" fmla="*/ 2147483647 h 210"/>
              <a:gd name="T30" fmla="*/ 2147483647 w 222"/>
              <a:gd name="T31" fmla="*/ 2147483647 h 210"/>
              <a:gd name="T32" fmla="*/ 2147483647 w 222"/>
              <a:gd name="T33" fmla="*/ 2147483647 h 210"/>
              <a:gd name="T34" fmla="*/ 2147483647 w 222"/>
              <a:gd name="T35" fmla="*/ 2147483647 h 210"/>
              <a:gd name="T36" fmla="*/ 2147483647 w 222"/>
              <a:gd name="T37" fmla="*/ 2147483647 h 210"/>
              <a:gd name="T38" fmla="*/ 2147483647 w 222"/>
              <a:gd name="T39" fmla="*/ 0 h 210"/>
              <a:gd name="T40" fmla="*/ 2147483647 w 222"/>
              <a:gd name="T41" fmla="*/ 0 h 210"/>
              <a:gd name="T42" fmla="*/ 2147483647 w 222"/>
              <a:gd name="T43" fmla="*/ 2147483647 h 210"/>
              <a:gd name="T44" fmla="*/ 2147483647 w 222"/>
              <a:gd name="T45" fmla="*/ 2147483647 h 210"/>
              <a:gd name="T46" fmla="*/ 2147483647 w 222"/>
              <a:gd name="T47" fmla="*/ 2147483647 h 210"/>
              <a:gd name="T48" fmla="*/ 0 w 222"/>
              <a:gd name="T49" fmla="*/ 2147483647 h 210"/>
              <a:gd name="T50" fmla="*/ 2147483647 w 222"/>
              <a:gd name="T51" fmla="*/ 2147483647 h 210"/>
              <a:gd name="T52" fmla="*/ 2147483647 w 222"/>
              <a:gd name="T53" fmla="*/ 2147483647 h 210"/>
              <a:gd name="T54" fmla="*/ 2147483647 w 222"/>
              <a:gd name="T55" fmla="*/ 2147483647 h 210"/>
              <a:gd name="T56" fmla="*/ 2147483647 w 222"/>
              <a:gd name="T57" fmla="*/ 2147483647 h 210"/>
              <a:gd name="T58" fmla="*/ 2147483647 w 222"/>
              <a:gd name="T59" fmla="*/ 2147483647 h 210"/>
              <a:gd name="T60" fmla="*/ 2147483647 w 222"/>
              <a:gd name="T61" fmla="*/ 2147483647 h 210"/>
              <a:gd name="T62" fmla="*/ 2147483647 w 222"/>
              <a:gd name="T63" fmla="*/ 2147483647 h 210"/>
              <a:gd name="T64" fmla="*/ 2147483647 w 222"/>
              <a:gd name="T65" fmla="*/ 2147483647 h 210"/>
              <a:gd name="T66" fmla="*/ 2147483647 w 222"/>
              <a:gd name="T67" fmla="*/ 2147483647 h 210"/>
              <a:gd name="T68" fmla="*/ 2147483647 w 222"/>
              <a:gd name="T69" fmla="*/ 2147483647 h 210"/>
              <a:gd name="T70" fmla="*/ 2147483647 w 222"/>
              <a:gd name="T71" fmla="*/ 2147483647 h 210"/>
              <a:gd name="T72" fmla="*/ 2147483647 w 222"/>
              <a:gd name="T73" fmla="*/ 2147483647 h 210"/>
              <a:gd name="T74" fmla="*/ 2147483647 w 222"/>
              <a:gd name="T75" fmla="*/ 2147483647 h 210"/>
              <a:gd name="T76" fmla="*/ 2147483647 w 222"/>
              <a:gd name="T77" fmla="*/ 2147483647 h 210"/>
              <a:gd name="T78" fmla="*/ 2147483647 w 222"/>
              <a:gd name="T79" fmla="*/ 2147483647 h 210"/>
              <a:gd name="T80" fmla="*/ 2147483647 w 222"/>
              <a:gd name="T81" fmla="*/ 2147483647 h 210"/>
              <a:gd name="T82" fmla="*/ 2147483647 w 222"/>
              <a:gd name="T83" fmla="*/ 2147483647 h 210"/>
              <a:gd name="T84" fmla="*/ 2147483647 w 222"/>
              <a:gd name="T85" fmla="*/ 2147483647 h 210"/>
              <a:gd name="T86" fmla="*/ 2147483647 w 222"/>
              <a:gd name="T87" fmla="*/ 2147483647 h 210"/>
              <a:gd name="T88" fmla="*/ 2147483647 w 222"/>
              <a:gd name="T89" fmla="*/ 2147483647 h 210"/>
              <a:gd name="T90" fmla="*/ 2147483647 w 222"/>
              <a:gd name="T91" fmla="*/ 2147483647 h 210"/>
              <a:gd name="T92" fmla="*/ 2147483647 w 222"/>
              <a:gd name="T93" fmla="*/ 2147483647 h 210"/>
              <a:gd name="T94" fmla="*/ 2147483647 w 222"/>
              <a:gd name="T95" fmla="*/ 2147483647 h 210"/>
              <a:gd name="T96" fmla="*/ 2147483647 w 222"/>
              <a:gd name="T97" fmla="*/ 2147483647 h 210"/>
              <a:gd name="T98" fmla="*/ 2147483647 w 222"/>
              <a:gd name="T99" fmla="*/ 2147483647 h 210"/>
              <a:gd name="T100" fmla="*/ 2147483647 w 222"/>
              <a:gd name="T101" fmla="*/ 2147483647 h 210"/>
              <a:gd name="T102" fmla="*/ 2147483647 w 222"/>
              <a:gd name="T103" fmla="*/ 2147483647 h 210"/>
              <a:gd name="T104" fmla="*/ 2147483647 w 222"/>
              <a:gd name="T105" fmla="*/ 2147483647 h 210"/>
              <a:gd name="T106" fmla="*/ 2147483647 w 222"/>
              <a:gd name="T107" fmla="*/ 2147483647 h 21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22"/>
              <a:gd name="T163" fmla="*/ 0 h 210"/>
              <a:gd name="T164" fmla="*/ 222 w 222"/>
              <a:gd name="T165" fmla="*/ 210 h 21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22" h="210">
                <a:moveTo>
                  <a:pt x="222" y="168"/>
                </a:moveTo>
                <a:lnTo>
                  <a:pt x="216" y="156"/>
                </a:lnTo>
                <a:lnTo>
                  <a:pt x="216" y="144"/>
                </a:lnTo>
                <a:lnTo>
                  <a:pt x="186" y="138"/>
                </a:lnTo>
                <a:lnTo>
                  <a:pt x="174" y="120"/>
                </a:lnTo>
                <a:lnTo>
                  <a:pt x="144" y="108"/>
                </a:lnTo>
                <a:lnTo>
                  <a:pt x="156" y="108"/>
                </a:lnTo>
                <a:lnTo>
                  <a:pt x="174" y="90"/>
                </a:lnTo>
                <a:lnTo>
                  <a:pt x="174" y="84"/>
                </a:lnTo>
                <a:lnTo>
                  <a:pt x="168" y="78"/>
                </a:lnTo>
                <a:lnTo>
                  <a:pt x="144" y="66"/>
                </a:lnTo>
                <a:lnTo>
                  <a:pt x="138" y="60"/>
                </a:lnTo>
                <a:lnTo>
                  <a:pt x="132" y="60"/>
                </a:lnTo>
                <a:lnTo>
                  <a:pt x="138" y="54"/>
                </a:lnTo>
                <a:lnTo>
                  <a:pt x="138" y="30"/>
                </a:lnTo>
                <a:lnTo>
                  <a:pt x="132" y="24"/>
                </a:lnTo>
                <a:lnTo>
                  <a:pt x="114" y="24"/>
                </a:lnTo>
                <a:lnTo>
                  <a:pt x="114" y="12"/>
                </a:lnTo>
                <a:lnTo>
                  <a:pt x="102" y="6"/>
                </a:lnTo>
                <a:lnTo>
                  <a:pt x="96" y="0"/>
                </a:lnTo>
                <a:lnTo>
                  <a:pt x="84" y="0"/>
                </a:lnTo>
                <a:lnTo>
                  <a:pt x="84" y="18"/>
                </a:lnTo>
                <a:lnTo>
                  <a:pt x="30" y="12"/>
                </a:lnTo>
                <a:lnTo>
                  <a:pt x="24" y="18"/>
                </a:lnTo>
                <a:lnTo>
                  <a:pt x="0" y="24"/>
                </a:lnTo>
                <a:lnTo>
                  <a:pt x="6" y="30"/>
                </a:lnTo>
                <a:lnTo>
                  <a:pt x="6" y="42"/>
                </a:lnTo>
                <a:lnTo>
                  <a:pt x="18" y="78"/>
                </a:lnTo>
                <a:lnTo>
                  <a:pt x="18" y="90"/>
                </a:lnTo>
                <a:lnTo>
                  <a:pt x="24" y="102"/>
                </a:lnTo>
                <a:lnTo>
                  <a:pt x="30" y="108"/>
                </a:lnTo>
                <a:lnTo>
                  <a:pt x="42" y="114"/>
                </a:lnTo>
                <a:lnTo>
                  <a:pt x="54" y="114"/>
                </a:lnTo>
                <a:lnTo>
                  <a:pt x="66" y="108"/>
                </a:lnTo>
                <a:lnTo>
                  <a:pt x="72" y="108"/>
                </a:lnTo>
                <a:lnTo>
                  <a:pt x="72" y="114"/>
                </a:lnTo>
                <a:lnTo>
                  <a:pt x="78" y="120"/>
                </a:lnTo>
                <a:lnTo>
                  <a:pt x="78" y="132"/>
                </a:lnTo>
                <a:lnTo>
                  <a:pt x="84" y="144"/>
                </a:lnTo>
                <a:lnTo>
                  <a:pt x="84" y="150"/>
                </a:lnTo>
                <a:lnTo>
                  <a:pt x="90" y="156"/>
                </a:lnTo>
                <a:lnTo>
                  <a:pt x="108" y="132"/>
                </a:lnTo>
                <a:lnTo>
                  <a:pt x="126" y="132"/>
                </a:lnTo>
                <a:lnTo>
                  <a:pt x="138" y="144"/>
                </a:lnTo>
                <a:lnTo>
                  <a:pt x="174" y="144"/>
                </a:lnTo>
                <a:lnTo>
                  <a:pt x="174" y="156"/>
                </a:lnTo>
                <a:lnTo>
                  <a:pt x="180" y="162"/>
                </a:lnTo>
                <a:lnTo>
                  <a:pt x="180" y="174"/>
                </a:lnTo>
                <a:lnTo>
                  <a:pt x="186" y="186"/>
                </a:lnTo>
                <a:lnTo>
                  <a:pt x="186" y="198"/>
                </a:lnTo>
                <a:lnTo>
                  <a:pt x="192" y="204"/>
                </a:lnTo>
                <a:lnTo>
                  <a:pt x="192" y="210"/>
                </a:lnTo>
                <a:lnTo>
                  <a:pt x="222" y="210"/>
                </a:lnTo>
                <a:lnTo>
                  <a:pt x="222" y="16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3" name="Argentina"/>
          <p:cNvSpPr>
            <a:spLocks noEditPoints="1"/>
          </p:cNvSpPr>
          <p:nvPr/>
        </p:nvSpPr>
        <p:spPr bwMode="gray">
          <a:xfrm>
            <a:off x="2093183" y="4969543"/>
            <a:ext cx="439738" cy="982662"/>
          </a:xfrm>
          <a:custGeom>
            <a:avLst/>
            <a:gdLst>
              <a:gd name="T0" fmla="*/ 2147483647 w 1092"/>
              <a:gd name="T1" fmla="*/ 2147483647 h 2442"/>
              <a:gd name="T2" fmla="*/ 2147483647 w 1092"/>
              <a:gd name="T3" fmla="*/ 2147483647 h 2442"/>
              <a:gd name="T4" fmla="*/ 2147483647 w 1092"/>
              <a:gd name="T5" fmla="*/ 2147483647 h 2442"/>
              <a:gd name="T6" fmla="*/ 2147483647 w 1092"/>
              <a:gd name="T7" fmla="*/ 2147483647 h 2442"/>
              <a:gd name="T8" fmla="*/ 2147483647 w 1092"/>
              <a:gd name="T9" fmla="*/ 2147483647 h 2442"/>
              <a:gd name="T10" fmla="*/ 2147483647 w 1092"/>
              <a:gd name="T11" fmla="*/ 2147483647 h 2442"/>
              <a:gd name="T12" fmla="*/ 2147483647 w 1092"/>
              <a:gd name="T13" fmla="*/ 2147483647 h 2442"/>
              <a:gd name="T14" fmla="*/ 2147483647 w 1092"/>
              <a:gd name="T15" fmla="*/ 2147483647 h 2442"/>
              <a:gd name="T16" fmla="*/ 2147483647 w 1092"/>
              <a:gd name="T17" fmla="*/ 2147483647 h 2442"/>
              <a:gd name="T18" fmla="*/ 2147483647 w 1092"/>
              <a:gd name="T19" fmla="*/ 2147483647 h 2442"/>
              <a:gd name="T20" fmla="*/ 2147483647 w 1092"/>
              <a:gd name="T21" fmla="*/ 0 h 2442"/>
              <a:gd name="T22" fmla="*/ 2147483647 w 1092"/>
              <a:gd name="T23" fmla="*/ 2147483647 h 2442"/>
              <a:gd name="T24" fmla="*/ 2147483647 w 1092"/>
              <a:gd name="T25" fmla="*/ 2147483647 h 2442"/>
              <a:gd name="T26" fmla="*/ 2147483647 w 1092"/>
              <a:gd name="T27" fmla="*/ 2147483647 h 2442"/>
              <a:gd name="T28" fmla="*/ 2147483647 w 1092"/>
              <a:gd name="T29" fmla="*/ 2147483647 h 2442"/>
              <a:gd name="T30" fmla="*/ 2147483647 w 1092"/>
              <a:gd name="T31" fmla="*/ 2147483647 h 2442"/>
              <a:gd name="T32" fmla="*/ 2147483647 w 1092"/>
              <a:gd name="T33" fmla="*/ 2147483647 h 2442"/>
              <a:gd name="T34" fmla="*/ 2147483647 w 1092"/>
              <a:gd name="T35" fmla="*/ 2147483647 h 2442"/>
              <a:gd name="T36" fmla="*/ 2147483647 w 1092"/>
              <a:gd name="T37" fmla="*/ 2147483647 h 2442"/>
              <a:gd name="T38" fmla="*/ 2147483647 w 1092"/>
              <a:gd name="T39" fmla="*/ 2147483647 h 2442"/>
              <a:gd name="T40" fmla="*/ 2147483647 w 1092"/>
              <a:gd name="T41" fmla="*/ 2147483647 h 2442"/>
              <a:gd name="T42" fmla="*/ 2147483647 w 1092"/>
              <a:gd name="T43" fmla="*/ 2147483647 h 2442"/>
              <a:gd name="T44" fmla="*/ 2147483647 w 1092"/>
              <a:gd name="T45" fmla="*/ 2147483647 h 2442"/>
              <a:gd name="T46" fmla="*/ 2147483647 w 1092"/>
              <a:gd name="T47" fmla="*/ 2147483647 h 2442"/>
              <a:gd name="T48" fmla="*/ 2147483647 w 1092"/>
              <a:gd name="T49" fmla="*/ 2147483647 h 2442"/>
              <a:gd name="T50" fmla="*/ 2147483647 w 1092"/>
              <a:gd name="T51" fmla="*/ 2147483647 h 2442"/>
              <a:gd name="T52" fmla="*/ 2147483647 w 1092"/>
              <a:gd name="T53" fmla="*/ 2147483647 h 2442"/>
              <a:gd name="T54" fmla="*/ 2147483647 w 1092"/>
              <a:gd name="T55" fmla="*/ 2147483647 h 2442"/>
              <a:gd name="T56" fmla="*/ 2147483647 w 1092"/>
              <a:gd name="T57" fmla="*/ 2147483647 h 2442"/>
              <a:gd name="T58" fmla="*/ 2147483647 w 1092"/>
              <a:gd name="T59" fmla="*/ 2147483647 h 2442"/>
              <a:gd name="T60" fmla="*/ 2147483647 w 1092"/>
              <a:gd name="T61" fmla="*/ 2147483647 h 2442"/>
              <a:gd name="T62" fmla="*/ 2147483647 w 1092"/>
              <a:gd name="T63" fmla="*/ 2147483647 h 2442"/>
              <a:gd name="T64" fmla="*/ 2147483647 w 1092"/>
              <a:gd name="T65" fmla="*/ 2147483647 h 2442"/>
              <a:gd name="T66" fmla="*/ 2147483647 w 1092"/>
              <a:gd name="T67" fmla="*/ 2147483647 h 2442"/>
              <a:gd name="T68" fmla="*/ 2147483647 w 1092"/>
              <a:gd name="T69" fmla="*/ 2147483647 h 2442"/>
              <a:gd name="T70" fmla="*/ 2147483647 w 1092"/>
              <a:gd name="T71" fmla="*/ 2147483647 h 2442"/>
              <a:gd name="T72" fmla="*/ 2147483647 w 1092"/>
              <a:gd name="T73" fmla="*/ 2147483647 h 2442"/>
              <a:gd name="T74" fmla="*/ 2147483647 w 1092"/>
              <a:gd name="T75" fmla="*/ 2147483647 h 2442"/>
              <a:gd name="T76" fmla="*/ 2147483647 w 1092"/>
              <a:gd name="T77" fmla="*/ 2147483647 h 2442"/>
              <a:gd name="T78" fmla="*/ 2147483647 w 1092"/>
              <a:gd name="T79" fmla="*/ 2147483647 h 2442"/>
              <a:gd name="T80" fmla="*/ 2147483647 w 1092"/>
              <a:gd name="T81" fmla="*/ 2147483647 h 2442"/>
              <a:gd name="T82" fmla="*/ 2147483647 w 1092"/>
              <a:gd name="T83" fmla="*/ 2147483647 h 2442"/>
              <a:gd name="T84" fmla="*/ 2147483647 w 1092"/>
              <a:gd name="T85" fmla="*/ 2147483647 h 2442"/>
              <a:gd name="T86" fmla="*/ 2147483647 w 1092"/>
              <a:gd name="T87" fmla="*/ 2147483647 h 2442"/>
              <a:gd name="T88" fmla="*/ 2147483647 w 1092"/>
              <a:gd name="T89" fmla="*/ 2147483647 h 2442"/>
              <a:gd name="T90" fmla="*/ 2147483647 w 1092"/>
              <a:gd name="T91" fmla="*/ 2147483647 h 2442"/>
              <a:gd name="T92" fmla="*/ 2147483647 w 1092"/>
              <a:gd name="T93" fmla="*/ 2147483647 h 2442"/>
              <a:gd name="T94" fmla="*/ 2147483647 w 1092"/>
              <a:gd name="T95" fmla="*/ 2147483647 h 2442"/>
              <a:gd name="T96" fmla="*/ 2147483647 w 1092"/>
              <a:gd name="T97" fmla="*/ 2147483647 h 2442"/>
              <a:gd name="T98" fmla="*/ 2147483647 w 1092"/>
              <a:gd name="T99" fmla="*/ 2147483647 h 2442"/>
              <a:gd name="T100" fmla="*/ 2147483647 w 1092"/>
              <a:gd name="T101" fmla="*/ 2147483647 h 2442"/>
              <a:gd name="T102" fmla="*/ 2147483647 w 1092"/>
              <a:gd name="T103" fmla="*/ 2147483647 h 2442"/>
              <a:gd name="T104" fmla="*/ 2147483647 w 1092"/>
              <a:gd name="T105" fmla="*/ 2147483647 h 2442"/>
              <a:gd name="T106" fmla="*/ 2147483647 w 1092"/>
              <a:gd name="T107" fmla="*/ 2147483647 h 2442"/>
              <a:gd name="T108" fmla="*/ 2147483647 w 1092"/>
              <a:gd name="T109" fmla="*/ 2147483647 h 2442"/>
              <a:gd name="T110" fmla="*/ 2147483647 w 1092"/>
              <a:gd name="T111" fmla="*/ 2147483647 h 2442"/>
              <a:gd name="T112" fmla="*/ 2147483647 w 1092"/>
              <a:gd name="T113" fmla="*/ 2147483647 h 244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092"/>
              <a:gd name="T172" fmla="*/ 0 h 2442"/>
              <a:gd name="T173" fmla="*/ 1092 w 1092"/>
              <a:gd name="T174" fmla="*/ 2442 h 244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092" h="2442">
                <a:moveTo>
                  <a:pt x="954" y="534"/>
                </a:moveTo>
                <a:lnTo>
                  <a:pt x="978" y="528"/>
                </a:lnTo>
                <a:lnTo>
                  <a:pt x="984" y="504"/>
                </a:lnTo>
                <a:lnTo>
                  <a:pt x="990" y="498"/>
                </a:lnTo>
                <a:lnTo>
                  <a:pt x="990" y="480"/>
                </a:lnTo>
                <a:lnTo>
                  <a:pt x="1026" y="480"/>
                </a:lnTo>
                <a:lnTo>
                  <a:pt x="1026" y="462"/>
                </a:lnTo>
                <a:lnTo>
                  <a:pt x="1032" y="450"/>
                </a:lnTo>
                <a:lnTo>
                  <a:pt x="1038" y="444"/>
                </a:lnTo>
                <a:lnTo>
                  <a:pt x="1092" y="426"/>
                </a:lnTo>
                <a:lnTo>
                  <a:pt x="1092" y="390"/>
                </a:lnTo>
                <a:lnTo>
                  <a:pt x="1086" y="372"/>
                </a:lnTo>
                <a:lnTo>
                  <a:pt x="1086" y="342"/>
                </a:lnTo>
                <a:lnTo>
                  <a:pt x="1080" y="336"/>
                </a:lnTo>
                <a:lnTo>
                  <a:pt x="1074" y="336"/>
                </a:lnTo>
                <a:lnTo>
                  <a:pt x="1074" y="324"/>
                </a:lnTo>
                <a:lnTo>
                  <a:pt x="1062" y="300"/>
                </a:lnTo>
                <a:lnTo>
                  <a:pt x="1056" y="294"/>
                </a:lnTo>
                <a:lnTo>
                  <a:pt x="1038" y="294"/>
                </a:lnTo>
                <a:lnTo>
                  <a:pt x="1032" y="300"/>
                </a:lnTo>
                <a:lnTo>
                  <a:pt x="1020" y="306"/>
                </a:lnTo>
                <a:lnTo>
                  <a:pt x="1020" y="384"/>
                </a:lnTo>
                <a:lnTo>
                  <a:pt x="1008" y="390"/>
                </a:lnTo>
                <a:lnTo>
                  <a:pt x="1002" y="402"/>
                </a:lnTo>
                <a:lnTo>
                  <a:pt x="990" y="408"/>
                </a:lnTo>
                <a:lnTo>
                  <a:pt x="984" y="414"/>
                </a:lnTo>
                <a:lnTo>
                  <a:pt x="978" y="414"/>
                </a:lnTo>
                <a:lnTo>
                  <a:pt x="966" y="426"/>
                </a:lnTo>
                <a:lnTo>
                  <a:pt x="954" y="450"/>
                </a:lnTo>
                <a:lnTo>
                  <a:pt x="948" y="456"/>
                </a:lnTo>
                <a:lnTo>
                  <a:pt x="948" y="450"/>
                </a:lnTo>
                <a:lnTo>
                  <a:pt x="942" y="444"/>
                </a:lnTo>
                <a:lnTo>
                  <a:pt x="930" y="444"/>
                </a:lnTo>
                <a:lnTo>
                  <a:pt x="924" y="450"/>
                </a:lnTo>
                <a:lnTo>
                  <a:pt x="924" y="468"/>
                </a:lnTo>
                <a:lnTo>
                  <a:pt x="912" y="450"/>
                </a:lnTo>
                <a:lnTo>
                  <a:pt x="852" y="450"/>
                </a:lnTo>
                <a:lnTo>
                  <a:pt x="834" y="444"/>
                </a:lnTo>
                <a:lnTo>
                  <a:pt x="822" y="438"/>
                </a:lnTo>
                <a:lnTo>
                  <a:pt x="816" y="432"/>
                </a:lnTo>
                <a:lnTo>
                  <a:pt x="804" y="426"/>
                </a:lnTo>
                <a:lnTo>
                  <a:pt x="798" y="426"/>
                </a:lnTo>
                <a:lnTo>
                  <a:pt x="786" y="432"/>
                </a:lnTo>
                <a:lnTo>
                  <a:pt x="762" y="432"/>
                </a:lnTo>
                <a:lnTo>
                  <a:pt x="756" y="426"/>
                </a:lnTo>
                <a:lnTo>
                  <a:pt x="756" y="414"/>
                </a:lnTo>
                <a:lnTo>
                  <a:pt x="762" y="402"/>
                </a:lnTo>
                <a:lnTo>
                  <a:pt x="768" y="396"/>
                </a:lnTo>
                <a:lnTo>
                  <a:pt x="774" y="384"/>
                </a:lnTo>
                <a:lnTo>
                  <a:pt x="780" y="378"/>
                </a:lnTo>
                <a:lnTo>
                  <a:pt x="780" y="342"/>
                </a:lnTo>
                <a:lnTo>
                  <a:pt x="798" y="342"/>
                </a:lnTo>
                <a:lnTo>
                  <a:pt x="804" y="336"/>
                </a:lnTo>
                <a:lnTo>
                  <a:pt x="804" y="330"/>
                </a:lnTo>
                <a:lnTo>
                  <a:pt x="798" y="318"/>
                </a:lnTo>
                <a:lnTo>
                  <a:pt x="792" y="312"/>
                </a:lnTo>
                <a:lnTo>
                  <a:pt x="798" y="300"/>
                </a:lnTo>
                <a:lnTo>
                  <a:pt x="804" y="294"/>
                </a:lnTo>
                <a:lnTo>
                  <a:pt x="804" y="282"/>
                </a:lnTo>
                <a:lnTo>
                  <a:pt x="810" y="276"/>
                </a:lnTo>
                <a:lnTo>
                  <a:pt x="804" y="270"/>
                </a:lnTo>
                <a:lnTo>
                  <a:pt x="792" y="264"/>
                </a:lnTo>
                <a:lnTo>
                  <a:pt x="774" y="258"/>
                </a:lnTo>
                <a:lnTo>
                  <a:pt x="762" y="252"/>
                </a:lnTo>
                <a:lnTo>
                  <a:pt x="750" y="252"/>
                </a:lnTo>
                <a:lnTo>
                  <a:pt x="744" y="246"/>
                </a:lnTo>
                <a:lnTo>
                  <a:pt x="708" y="228"/>
                </a:lnTo>
                <a:lnTo>
                  <a:pt x="690" y="216"/>
                </a:lnTo>
                <a:lnTo>
                  <a:pt x="678" y="210"/>
                </a:lnTo>
                <a:lnTo>
                  <a:pt x="672" y="204"/>
                </a:lnTo>
                <a:lnTo>
                  <a:pt x="666" y="204"/>
                </a:lnTo>
                <a:lnTo>
                  <a:pt x="660" y="198"/>
                </a:lnTo>
                <a:lnTo>
                  <a:pt x="648" y="192"/>
                </a:lnTo>
                <a:lnTo>
                  <a:pt x="642" y="186"/>
                </a:lnTo>
                <a:lnTo>
                  <a:pt x="630" y="180"/>
                </a:lnTo>
                <a:lnTo>
                  <a:pt x="600" y="180"/>
                </a:lnTo>
                <a:lnTo>
                  <a:pt x="564" y="162"/>
                </a:lnTo>
                <a:lnTo>
                  <a:pt x="558" y="156"/>
                </a:lnTo>
                <a:lnTo>
                  <a:pt x="552" y="156"/>
                </a:lnTo>
                <a:lnTo>
                  <a:pt x="546" y="138"/>
                </a:lnTo>
                <a:lnTo>
                  <a:pt x="534" y="132"/>
                </a:lnTo>
                <a:lnTo>
                  <a:pt x="516" y="114"/>
                </a:lnTo>
                <a:lnTo>
                  <a:pt x="492" y="102"/>
                </a:lnTo>
                <a:lnTo>
                  <a:pt x="486" y="96"/>
                </a:lnTo>
                <a:lnTo>
                  <a:pt x="480" y="84"/>
                </a:lnTo>
                <a:lnTo>
                  <a:pt x="468" y="78"/>
                </a:lnTo>
                <a:lnTo>
                  <a:pt x="462" y="66"/>
                </a:lnTo>
                <a:lnTo>
                  <a:pt x="456" y="60"/>
                </a:lnTo>
                <a:lnTo>
                  <a:pt x="456" y="54"/>
                </a:lnTo>
                <a:lnTo>
                  <a:pt x="438" y="36"/>
                </a:lnTo>
                <a:lnTo>
                  <a:pt x="402" y="12"/>
                </a:lnTo>
                <a:lnTo>
                  <a:pt x="330" y="18"/>
                </a:lnTo>
                <a:lnTo>
                  <a:pt x="318" y="72"/>
                </a:lnTo>
                <a:lnTo>
                  <a:pt x="288" y="24"/>
                </a:lnTo>
                <a:lnTo>
                  <a:pt x="234" y="24"/>
                </a:lnTo>
                <a:lnTo>
                  <a:pt x="216" y="18"/>
                </a:lnTo>
                <a:lnTo>
                  <a:pt x="204" y="18"/>
                </a:lnTo>
                <a:lnTo>
                  <a:pt x="180" y="6"/>
                </a:lnTo>
                <a:lnTo>
                  <a:pt x="174" y="0"/>
                </a:lnTo>
                <a:lnTo>
                  <a:pt x="162" y="24"/>
                </a:lnTo>
                <a:lnTo>
                  <a:pt x="138" y="30"/>
                </a:lnTo>
                <a:lnTo>
                  <a:pt x="138" y="48"/>
                </a:lnTo>
                <a:lnTo>
                  <a:pt x="126" y="48"/>
                </a:lnTo>
                <a:lnTo>
                  <a:pt x="126" y="78"/>
                </a:lnTo>
                <a:lnTo>
                  <a:pt x="114" y="78"/>
                </a:lnTo>
                <a:lnTo>
                  <a:pt x="126" y="96"/>
                </a:lnTo>
                <a:lnTo>
                  <a:pt x="114" y="180"/>
                </a:lnTo>
                <a:lnTo>
                  <a:pt x="108" y="180"/>
                </a:lnTo>
                <a:lnTo>
                  <a:pt x="102" y="186"/>
                </a:lnTo>
                <a:lnTo>
                  <a:pt x="90" y="192"/>
                </a:lnTo>
                <a:lnTo>
                  <a:pt x="72" y="198"/>
                </a:lnTo>
                <a:lnTo>
                  <a:pt x="60" y="210"/>
                </a:lnTo>
                <a:lnTo>
                  <a:pt x="48" y="216"/>
                </a:lnTo>
                <a:lnTo>
                  <a:pt x="42" y="228"/>
                </a:lnTo>
                <a:lnTo>
                  <a:pt x="36" y="234"/>
                </a:lnTo>
                <a:lnTo>
                  <a:pt x="36" y="240"/>
                </a:lnTo>
                <a:lnTo>
                  <a:pt x="42" y="246"/>
                </a:lnTo>
                <a:lnTo>
                  <a:pt x="54" y="252"/>
                </a:lnTo>
                <a:lnTo>
                  <a:pt x="66" y="252"/>
                </a:lnTo>
                <a:lnTo>
                  <a:pt x="66" y="258"/>
                </a:lnTo>
                <a:lnTo>
                  <a:pt x="42" y="282"/>
                </a:lnTo>
                <a:lnTo>
                  <a:pt x="42" y="300"/>
                </a:lnTo>
                <a:lnTo>
                  <a:pt x="48" y="306"/>
                </a:lnTo>
                <a:lnTo>
                  <a:pt x="60" y="312"/>
                </a:lnTo>
                <a:lnTo>
                  <a:pt x="72" y="324"/>
                </a:lnTo>
                <a:lnTo>
                  <a:pt x="78" y="336"/>
                </a:lnTo>
                <a:lnTo>
                  <a:pt x="72" y="342"/>
                </a:lnTo>
                <a:lnTo>
                  <a:pt x="66" y="354"/>
                </a:lnTo>
                <a:lnTo>
                  <a:pt x="54" y="366"/>
                </a:lnTo>
                <a:lnTo>
                  <a:pt x="48" y="366"/>
                </a:lnTo>
                <a:lnTo>
                  <a:pt x="54" y="366"/>
                </a:lnTo>
                <a:lnTo>
                  <a:pt x="60" y="372"/>
                </a:lnTo>
                <a:lnTo>
                  <a:pt x="84" y="384"/>
                </a:lnTo>
                <a:lnTo>
                  <a:pt x="90" y="396"/>
                </a:lnTo>
                <a:lnTo>
                  <a:pt x="90" y="408"/>
                </a:lnTo>
                <a:lnTo>
                  <a:pt x="78" y="414"/>
                </a:lnTo>
                <a:lnTo>
                  <a:pt x="72" y="420"/>
                </a:lnTo>
                <a:lnTo>
                  <a:pt x="54" y="420"/>
                </a:lnTo>
                <a:lnTo>
                  <a:pt x="54" y="432"/>
                </a:lnTo>
                <a:lnTo>
                  <a:pt x="48" y="450"/>
                </a:lnTo>
                <a:lnTo>
                  <a:pt x="48" y="462"/>
                </a:lnTo>
                <a:lnTo>
                  <a:pt x="42" y="474"/>
                </a:lnTo>
                <a:lnTo>
                  <a:pt x="42" y="486"/>
                </a:lnTo>
                <a:lnTo>
                  <a:pt x="30" y="498"/>
                </a:lnTo>
                <a:lnTo>
                  <a:pt x="24" y="510"/>
                </a:lnTo>
                <a:lnTo>
                  <a:pt x="18" y="516"/>
                </a:lnTo>
                <a:lnTo>
                  <a:pt x="18" y="582"/>
                </a:lnTo>
                <a:lnTo>
                  <a:pt x="6" y="594"/>
                </a:lnTo>
                <a:lnTo>
                  <a:pt x="6" y="606"/>
                </a:lnTo>
                <a:lnTo>
                  <a:pt x="18" y="630"/>
                </a:lnTo>
                <a:lnTo>
                  <a:pt x="30" y="666"/>
                </a:lnTo>
                <a:lnTo>
                  <a:pt x="36" y="678"/>
                </a:lnTo>
                <a:lnTo>
                  <a:pt x="36" y="684"/>
                </a:lnTo>
                <a:lnTo>
                  <a:pt x="12" y="684"/>
                </a:lnTo>
                <a:lnTo>
                  <a:pt x="18" y="738"/>
                </a:lnTo>
                <a:lnTo>
                  <a:pt x="6" y="744"/>
                </a:lnTo>
                <a:lnTo>
                  <a:pt x="0" y="744"/>
                </a:lnTo>
                <a:lnTo>
                  <a:pt x="0" y="768"/>
                </a:lnTo>
                <a:lnTo>
                  <a:pt x="6" y="774"/>
                </a:lnTo>
                <a:lnTo>
                  <a:pt x="6" y="780"/>
                </a:lnTo>
                <a:lnTo>
                  <a:pt x="18" y="786"/>
                </a:lnTo>
                <a:lnTo>
                  <a:pt x="36" y="804"/>
                </a:lnTo>
                <a:lnTo>
                  <a:pt x="36" y="816"/>
                </a:lnTo>
                <a:lnTo>
                  <a:pt x="30" y="822"/>
                </a:lnTo>
                <a:lnTo>
                  <a:pt x="30" y="828"/>
                </a:lnTo>
                <a:lnTo>
                  <a:pt x="48" y="846"/>
                </a:lnTo>
                <a:lnTo>
                  <a:pt x="60" y="876"/>
                </a:lnTo>
                <a:lnTo>
                  <a:pt x="66" y="888"/>
                </a:lnTo>
                <a:lnTo>
                  <a:pt x="60" y="894"/>
                </a:lnTo>
                <a:lnTo>
                  <a:pt x="60" y="906"/>
                </a:lnTo>
                <a:lnTo>
                  <a:pt x="72" y="918"/>
                </a:lnTo>
                <a:lnTo>
                  <a:pt x="96" y="918"/>
                </a:lnTo>
                <a:lnTo>
                  <a:pt x="102" y="960"/>
                </a:lnTo>
                <a:lnTo>
                  <a:pt x="108" y="972"/>
                </a:lnTo>
                <a:lnTo>
                  <a:pt x="114" y="978"/>
                </a:lnTo>
                <a:lnTo>
                  <a:pt x="120" y="990"/>
                </a:lnTo>
                <a:lnTo>
                  <a:pt x="120" y="996"/>
                </a:lnTo>
                <a:lnTo>
                  <a:pt x="102" y="1014"/>
                </a:lnTo>
                <a:lnTo>
                  <a:pt x="102" y="1038"/>
                </a:lnTo>
                <a:lnTo>
                  <a:pt x="96" y="1056"/>
                </a:lnTo>
                <a:lnTo>
                  <a:pt x="96" y="1086"/>
                </a:lnTo>
                <a:lnTo>
                  <a:pt x="84" y="1086"/>
                </a:lnTo>
                <a:lnTo>
                  <a:pt x="90" y="1092"/>
                </a:lnTo>
                <a:lnTo>
                  <a:pt x="96" y="1104"/>
                </a:lnTo>
                <a:lnTo>
                  <a:pt x="102" y="1110"/>
                </a:lnTo>
                <a:lnTo>
                  <a:pt x="108" y="1122"/>
                </a:lnTo>
                <a:lnTo>
                  <a:pt x="114" y="1128"/>
                </a:lnTo>
                <a:lnTo>
                  <a:pt x="114" y="1140"/>
                </a:lnTo>
                <a:lnTo>
                  <a:pt x="108" y="1152"/>
                </a:lnTo>
                <a:lnTo>
                  <a:pt x="108" y="1158"/>
                </a:lnTo>
                <a:lnTo>
                  <a:pt x="102" y="1176"/>
                </a:lnTo>
                <a:lnTo>
                  <a:pt x="78" y="1182"/>
                </a:lnTo>
                <a:lnTo>
                  <a:pt x="78" y="1188"/>
                </a:lnTo>
                <a:lnTo>
                  <a:pt x="84" y="1194"/>
                </a:lnTo>
                <a:lnTo>
                  <a:pt x="84" y="1206"/>
                </a:lnTo>
                <a:lnTo>
                  <a:pt x="90" y="1224"/>
                </a:lnTo>
                <a:lnTo>
                  <a:pt x="96" y="1236"/>
                </a:lnTo>
                <a:lnTo>
                  <a:pt x="96" y="1284"/>
                </a:lnTo>
                <a:lnTo>
                  <a:pt x="126" y="1308"/>
                </a:lnTo>
                <a:lnTo>
                  <a:pt x="126" y="1326"/>
                </a:lnTo>
                <a:lnTo>
                  <a:pt x="132" y="1326"/>
                </a:lnTo>
                <a:lnTo>
                  <a:pt x="150" y="1344"/>
                </a:lnTo>
                <a:lnTo>
                  <a:pt x="150" y="1350"/>
                </a:lnTo>
                <a:lnTo>
                  <a:pt x="144" y="1362"/>
                </a:lnTo>
                <a:lnTo>
                  <a:pt x="132" y="1368"/>
                </a:lnTo>
                <a:lnTo>
                  <a:pt x="126" y="1374"/>
                </a:lnTo>
                <a:lnTo>
                  <a:pt x="120" y="1374"/>
                </a:lnTo>
                <a:lnTo>
                  <a:pt x="132" y="1416"/>
                </a:lnTo>
                <a:lnTo>
                  <a:pt x="114" y="1428"/>
                </a:lnTo>
                <a:lnTo>
                  <a:pt x="132" y="1446"/>
                </a:lnTo>
                <a:lnTo>
                  <a:pt x="132" y="1452"/>
                </a:lnTo>
                <a:lnTo>
                  <a:pt x="126" y="1464"/>
                </a:lnTo>
                <a:lnTo>
                  <a:pt x="126" y="1470"/>
                </a:lnTo>
                <a:lnTo>
                  <a:pt x="144" y="1482"/>
                </a:lnTo>
                <a:lnTo>
                  <a:pt x="144" y="1494"/>
                </a:lnTo>
                <a:lnTo>
                  <a:pt x="138" y="1500"/>
                </a:lnTo>
                <a:lnTo>
                  <a:pt x="138" y="1530"/>
                </a:lnTo>
                <a:lnTo>
                  <a:pt x="144" y="1536"/>
                </a:lnTo>
                <a:lnTo>
                  <a:pt x="150" y="1548"/>
                </a:lnTo>
                <a:lnTo>
                  <a:pt x="150" y="1572"/>
                </a:lnTo>
                <a:lnTo>
                  <a:pt x="156" y="1584"/>
                </a:lnTo>
                <a:lnTo>
                  <a:pt x="174" y="1602"/>
                </a:lnTo>
                <a:lnTo>
                  <a:pt x="186" y="1608"/>
                </a:lnTo>
                <a:lnTo>
                  <a:pt x="198" y="1620"/>
                </a:lnTo>
                <a:lnTo>
                  <a:pt x="192" y="1620"/>
                </a:lnTo>
                <a:lnTo>
                  <a:pt x="180" y="1626"/>
                </a:lnTo>
                <a:lnTo>
                  <a:pt x="174" y="1632"/>
                </a:lnTo>
                <a:lnTo>
                  <a:pt x="174" y="1644"/>
                </a:lnTo>
                <a:lnTo>
                  <a:pt x="180" y="1656"/>
                </a:lnTo>
                <a:lnTo>
                  <a:pt x="180" y="1674"/>
                </a:lnTo>
                <a:lnTo>
                  <a:pt x="186" y="1686"/>
                </a:lnTo>
                <a:lnTo>
                  <a:pt x="186" y="1698"/>
                </a:lnTo>
                <a:lnTo>
                  <a:pt x="192" y="1704"/>
                </a:lnTo>
                <a:lnTo>
                  <a:pt x="216" y="1716"/>
                </a:lnTo>
                <a:lnTo>
                  <a:pt x="210" y="1746"/>
                </a:lnTo>
                <a:lnTo>
                  <a:pt x="216" y="1746"/>
                </a:lnTo>
                <a:lnTo>
                  <a:pt x="228" y="1752"/>
                </a:lnTo>
                <a:lnTo>
                  <a:pt x="234" y="1758"/>
                </a:lnTo>
                <a:lnTo>
                  <a:pt x="234" y="1764"/>
                </a:lnTo>
                <a:lnTo>
                  <a:pt x="240" y="1776"/>
                </a:lnTo>
                <a:lnTo>
                  <a:pt x="240" y="1806"/>
                </a:lnTo>
                <a:lnTo>
                  <a:pt x="252" y="1818"/>
                </a:lnTo>
                <a:lnTo>
                  <a:pt x="282" y="1818"/>
                </a:lnTo>
                <a:lnTo>
                  <a:pt x="294" y="1824"/>
                </a:lnTo>
                <a:lnTo>
                  <a:pt x="294" y="1830"/>
                </a:lnTo>
                <a:lnTo>
                  <a:pt x="288" y="1836"/>
                </a:lnTo>
                <a:lnTo>
                  <a:pt x="276" y="1836"/>
                </a:lnTo>
                <a:lnTo>
                  <a:pt x="264" y="1842"/>
                </a:lnTo>
                <a:lnTo>
                  <a:pt x="246" y="1842"/>
                </a:lnTo>
                <a:lnTo>
                  <a:pt x="252" y="1848"/>
                </a:lnTo>
                <a:lnTo>
                  <a:pt x="258" y="1848"/>
                </a:lnTo>
                <a:lnTo>
                  <a:pt x="270" y="1854"/>
                </a:lnTo>
                <a:lnTo>
                  <a:pt x="276" y="1860"/>
                </a:lnTo>
                <a:lnTo>
                  <a:pt x="288" y="1860"/>
                </a:lnTo>
                <a:lnTo>
                  <a:pt x="312" y="1884"/>
                </a:lnTo>
                <a:lnTo>
                  <a:pt x="306" y="1890"/>
                </a:lnTo>
                <a:lnTo>
                  <a:pt x="300" y="1902"/>
                </a:lnTo>
                <a:lnTo>
                  <a:pt x="288" y="1914"/>
                </a:lnTo>
                <a:lnTo>
                  <a:pt x="312" y="1932"/>
                </a:lnTo>
                <a:lnTo>
                  <a:pt x="306" y="1956"/>
                </a:lnTo>
                <a:lnTo>
                  <a:pt x="330" y="1980"/>
                </a:lnTo>
                <a:lnTo>
                  <a:pt x="324" y="2016"/>
                </a:lnTo>
                <a:lnTo>
                  <a:pt x="336" y="2040"/>
                </a:lnTo>
                <a:lnTo>
                  <a:pt x="324" y="2046"/>
                </a:lnTo>
                <a:lnTo>
                  <a:pt x="318" y="2088"/>
                </a:lnTo>
                <a:lnTo>
                  <a:pt x="324" y="2088"/>
                </a:lnTo>
                <a:lnTo>
                  <a:pt x="348" y="2112"/>
                </a:lnTo>
                <a:lnTo>
                  <a:pt x="348" y="2118"/>
                </a:lnTo>
                <a:lnTo>
                  <a:pt x="342" y="2118"/>
                </a:lnTo>
                <a:lnTo>
                  <a:pt x="330" y="2124"/>
                </a:lnTo>
                <a:lnTo>
                  <a:pt x="324" y="2130"/>
                </a:lnTo>
                <a:lnTo>
                  <a:pt x="348" y="2154"/>
                </a:lnTo>
                <a:lnTo>
                  <a:pt x="348" y="2160"/>
                </a:lnTo>
                <a:lnTo>
                  <a:pt x="342" y="2166"/>
                </a:lnTo>
                <a:lnTo>
                  <a:pt x="336" y="2166"/>
                </a:lnTo>
                <a:lnTo>
                  <a:pt x="330" y="2172"/>
                </a:lnTo>
                <a:lnTo>
                  <a:pt x="324" y="2172"/>
                </a:lnTo>
                <a:lnTo>
                  <a:pt x="324" y="2196"/>
                </a:lnTo>
                <a:lnTo>
                  <a:pt x="312" y="2202"/>
                </a:lnTo>
                <a:lnTo>
                  <a:pt x="312" y="2214"/>
                </a:lnTo>
                <a:lnTo>
                  <a:pt x="318" y="2226"/>
                </a:lnTo>
                <a:lnTo>
                  <a:pt x="324" y="2232"/>
                </a:lnTo>
                <a:lnTo>
                  <a:pt x="324" y="2268"/>
                </a:lnTo>
                <a:lnTo>
                  <a:pt x="354" y="2274"/>
                </a:lnTo>
                <a:lnTo>
                  <a:pt x="354" y="2280"/>
                </a:lnTo>
                <a:lnTo>
                  <a:pt x="360" y="2286"/>
                </a:lnTo>
                <a:lnTo>
                  <a:pt x="360" y="2298"/>
                </a:lnTo>
                <a:lnTo>
                  <a:pt x="366" y="2304"/>
                </a:lnTo>
                <a:lnTo>
                  <a:pt x="378" y="2310"/>
                </a:lnTo>
                <a:lnTo>
                  <a:pt x="384" y="2310"/>
                </a:lnTo>
                <a:lnTo>
                  <a:pt x="396" y="2298"/>
                </a:lnTo>
                <a:lnTo>
                  <a:pt x="414" y="2298"/>
                </a:lnTo>
                <a:lnTo>
                  <a:pt x="426" y="2304"/>
                </a:lnTo>
                <a:lnTo>
                  <a:pt x="438" y="2316"/>
                </a:lnTo>
                <a:lnTo>
                  <a:pt x="438" y="2340"/>
                </a:lnTo>
                <a:lnTo>
                  <a:pt x="456" y="2364"/>
                </a:lnTo>
                <a:lnTo>
                  <a:pt x="468" y="2382"/>
                </a:lnTo>
                <a:lnTo>
                  <a:pt x="504" y="2400"/>
                </a:lnTo>
                <a:lnTo>
                  <a:pt x="522" y="2418"/>
                </a:lnTo>
                <a:lnTo>
                  <a:pt x="534" y="2418"/>
                </a:lnTo>
                <a:lnTo>
                  <a:pt x="546" y="2412"/>
                </a:lnTo>
                <a:lnTo>
                  <a:pt x="642" y="2412"/>
                </a:lnTo>
                <a:lnTo>
                  <a:pt x="666" y="2430"/>
                </a:lnTo>
                <a:lnTo>
                  <a:pt x="660" y="2442"/>
                </a:lnTo>
                <a:lnTo>
                  <a:pt x="666" y="2424"/>
                </a:lnTo>
                <a:lnTo>
                  <a:pt x="672" y="2418"/>
                </a:lnTo>
                <a:lnTo>
                  <a:pt x="684" y="2418"/>
                </a:lnTo>
                <a:lnTo>
                  <a:pt x="690" y="2424"/>
                </a:lnTo>
                <a:lnTo>
                  <a:pt x="702" y="2424"/>
                </a:lnTo>
                <a:lnTo>
                  <a:pt x="714" y="2430"/>
                </a:lnTo>
                <a:lnTo>
                  <a:pt x="720" y="2436"/>
                </a:lnTo>
                <a:lnTo>
                  <a:pt x="678" y="2382"/>
                </a:lnTo>
                <a:lnTo>
                  <a:pt x="660" y="2382"/>
                </a:lnTo>
                <a:lnTo>
                  <a:pt x="666" y="2370"/>
                </a:lnTo>
                <a:lnTo>
                  <a:pt x="630" y="2340"/>
                </a:lnTo>
                <a:lnTo>
                  <a:pt x="630" y="2310"/>
                </a:lnTo>
                <a:lnTo>
                  <a:pt x="618" y="2298"/>
                </a:lnTo>
                <a:lnTo>
                  <a:pt x="624" y="2286"/>
                </a:lnTo>
                <a:lnTo>
                  <a:pt x="630" y="2286"/>
                </a:lnTo>
                <a:lnTo>
                  <a:pt x="642" y="2274"/>
                </a:lnTo>
                <a:lnTo>
                  <a:pt x="642" y="2268"/>
                </a:lnTo>
                <a:lnTo>
                  <a:pt x="636" y="2268"/>
                </a:lnTo>
                <a:lnTo>
                  <a:pt x="624" y="2262"/>
                </a:lnTo>
                <a:lnTo>
                  <a:pt x="606" y="2262"/>
                </a:lnTo>
                <a:lnTo>
                  <a:pt x="618" y="2250"/>
                </a:lnTo>
                <a:lnTo>
                  <a:pt x="618" y="2232"/>
                </a:lnTo>
                <a:lnTo>
                  <a:pt x="636" y="2256"/>
                </a:lnTo>
                <a:lnTo>
                  <a:pt x="648" y="2262"/>
                </a:lnTo>
                <a:lnTo>
                  <a:pt x="666" y="2262"/>
                </a:lnTo>
                <a:lnTo>
                  <a:pt x="672" y="2256"/>
                </a:lnTo>
                <a:lnTo>
                  <a:pt x="678" y="2244"/>
                </a:lnTo>
                <a:lnTo>
                  <a:pt x="678" y="2226"/>
                </a:lnTo>
                <a:lnTo>
                  <a:pt x="672" y="2208"/>
                </a:lnTo>
                <a:lnTo>
                  <a:pt x="666" y="2196"/>
                </a:lnTo>
                <a:lnTo>
                  <a:pt x="666" y="2178"/>
                </a:lnTo>
                <a:lnTo>
                  <a:pt x="678" y="2154"/>
                </a:lnTo>
                <a:lnTo>
                  <a:pt x="690" y="2142"/>
                </a:lnTo>
                <a:lnTo>
                  <a:pt x="708" y="2130"/>
                </a:lnTo>
                <a:lnTo>
                  <a:pt x="738" y="2100"/>
                </a:lnTo>
                <a:lnTo>
                  <a:pt x="726" y="2088"/>
                </a:lnTo>
                <a:lnTo>
                  <a:pt x="702" y="2088"/>
                </a:lnTo>
                <a:lnTo>
                  <a:pt x="726" y="2082"/>
                </a:lnTo>
                <a:lnTo>
                  <a:pt x="726" y="2064"/>
                </a:lnTo>
                <a:lnTo>
                  <a:pt x="714" y="2040"/>
                </a:lnTo>
                <a:lnTo>
                  <a:pt x="708" y="2034"/>
                </a:lnTo>
                <a:lnTo>
                  <a:pt x="696" y="2028"/>
                </a:lnTo>
                <a:lnTo>
                  <a:pt x="690" y="2028"/>
                </a:lnTo>
                <a:lnTo>
                  <a:pt x="684" y="2034"/>
                </a:lnTo>
                <a:lnTo>
                  <a:pt x="672" y="2016"/>
                </a:lnTo>
                <a:lnTo>
                  <a:pt x="642" y="2016"/>
                </a:lnTo>
                <a:lnTo>
                  <a:pt x="636" y="2010"/>
                </a:lnTo>
                <a:lnTo>
                  <a:pt x="624" y="2004"/>
                </a:lnTo>
                <a:lnTo>
                  <a:pt x="606" y="1992"/>
                </a:lnTo>
                <a:lnTo>
                  <a:pt x="582" y="1968"/>
                </a:lnTo>
                <a:lnTo>
                  <a:pt x="570" y="1950"/>
                </a:lnTo>
                <a:lnTo>
                  <a:pt x="564" y="1938"/>
                </a:lnTo>
                <a:lnTo>
                  <a:pt x="564" y="1926"/>
                </a:lnTo>
                <a:lnTo>
                  <a:pt x="570" y="1914"/>
                </a:lnTo>
                <a:lnTo>
                  <a:pt x="570" y="1908"/>
                </a:lnTo>
                <a:lnTo>
                  <a:pt x="576" y="1908"/>
                </a:lnTo>
                <a:lnTo>
                  <a:pt x="582" y="1902"/>
                </a:lnTo>
                <a:lnTo>
                  <a:pt x="594" y="1878"/>
                </a:lnTo>
                <a:lnTo>
                  <a:pt x="606" y="1878"/>
                </a:lnTo>
                <a:lnTo>
                  <a:pt x="612" y="1860"/>
                </a:lnTo>
                <a:lnTo>
                  <a:pt x="666" y="1860"/>
                </a:lnTo>
                <a:lnTo>
                  <a:pt x="654" y="1848"/>
                </a:lnTo>
                <a:lnTo>
                  <a:pt x="654" y="1824"/>
                </a:lnTo>
                <a:lnTo>
                  <a:pt x="666" y="1824"/>
                </a:lnTo>
                <a:lnTo>
                  <a:pt x="666" y="1794"/>
                </a:lnTo>
                <a:lnTo>
                  <a:pt x="660" y="1788"/>
                </a:lnTo>
                <a:lnTo>
                  <a:pt x="654" y="1776"/>
                </a:lnTo>
                <a:lnTo>
                  <a:pt x="642" y="1764"/>
                </a:lnTo>
                <a:lnTo>
                  <a:pt x="642" y="1746"/>
                </a:lnTo>
                <a:lnTo>
                  <a:pt x="648" y="1728"/>
                </a:lnTo>
                <a:lnTo>
                  <a:pt x="654" y="1716"/>
                </a:lnTo>
                <a:lnTo>
                  <a:pt x="666" y="1710"/>
                </a:lnTo>
                <a:lnTo>
                  <a:pt x="672" y="1704"/>
                </a:lnTo>
                <a:lnTo>
                  <a:pt x="684" y="1704"/>
                </a:lnTo>
                <a:lnTo>
                  <a:pt x="684" y="1692"/>
                </a:lnTo>
                <a:lnTo>
                  <a:pt x="660" y="1692"/>
                </a:lnTo>
                <a:lnTo>
                  <a:pt x="648" y="1686"/>
                </a:lnTo>
                <a:lnTo>
                  <a:pt x="642" y="1680"/>
                </a:lnTo>
                <a:lnTo>
                  <a:pt x="642" y="1674"/>
                </a:lnTo>
                <a:lnTo>
                  <a:pt x="654" y="1668"/>
                </a:lnTo>
                <a:lnTo>
                  <a:pt x="666" y="1668"/>
                </a:lnTo>
                <a:lnTo>
                  <a:pt x="702" y="1686"/>
                </a:lnTo>
                <a:lnTo>
                  <a:pt x="708" y="1692"/>
                </a:lnTo>
                <a:lnTo>
                  <a:pt x="714" y="1692"/>
                </a:lnTo>
                <a:lnTo>
                  <a:pt x="720" y="1686"/>
                </a:lnTo>
                <a:lnTo>
                  <a:pt x="732" y="1680"/>
                </a:lnTo>
                <a:lnTo>
                  <a:pt x="732" y="1656"/>
                </a:lnTo>
                <a:lnTo>
                  <a:pt x="726" y="1644"/>
                </a:lnTo>
                <a:lnTo>
                  <a:pt x="708" y="1626"/>
                </a:lnTo>
                <a:lnTo>
                  <a:pt x="696" y="1626"/>
                </a:lnTo>
                <a:lnTo>
                  <a:pt x="690" y="1632"/>
                </a:lnTo>
                <a:lnTo>
                  <a:pt x="690" y="1650"/>
                </a:lnTo>
                <a:lnTo>
                  <a:pt x="684" y="1656"/>
                </a:lnTo>
                <a:lnTo>
                  <a:pt x="666" y="1656"/>
                </a:lnTo>
                <a:lnTo>
                  <a:pt x="654" y="1650"/>
                </a:lnTo>
                <a:lnTo>
                  <a:pt x="648" y="1644"/>
                </a:lnTo>
                <a:lnTo>
                  <a:pt x="648" y="1638"/>
                </a:lnTo>
                <a:lnTo>
                  <a:pt x="612" y="1638"/>
                </a:lnTo>
                <a:lnTo>
                  <a:pt x="606" y="1632"/>
                </a:lnTo>
                <a:lnTo>
                  <a:pt x="606" y="1572"/>
                </a:lnTo>
                <a:lnTo>
                  <a:pt x="600" y="1566"/>
                </a:lnTo>
                <a:lnTo>
                  <a:pt x="594" y="1554"/>
                </a:lnTo>
                <a:lnTo>
                  <a:pt x="588" y="1536"/>
                </a:lnTo>
                <a:lnTo>
                  <a:pt x="588" y="1524"/>
                </a:lnTo>
                <a:lnTo>
                  <a:pt x="594" y="1518"/>
                </a:lnTo>
                <a:lnTo>
                  <a:pt x="600" y="1518"/>
                </a:lnTo>
                <a:lnTo>
                  <a:pt x="606" y="1524"/>
                </a:lnTo>
                <a:lnTo>
                  <a:pt x="618" y="1524"/>
                </a:lnTo>
                <a:lnTo>
                  <a:pt x="624" y="1530"/>
                </a:lnTo>
                <a:lnTo>
                  <a:pt x="636" y="1536"/>
                </a:lnTo>
                <a:lnTo>
                  <a:pt x="672" y="1548"/>
                </a:lnTo>
                <a:lnTo>
                  <a:pt x="690" y="1560"/>
                </a:lnTo>
                <a:lnTo>
                  <a:pt x="708" y="1560"/>
                </a:lnTo>
                <a:lnTo>
                  <a:pt x="726" y="1554"/>
                </a:lnTo>
                <a:lnTo>
                  <a:pt x="738" y="1542"/>
                </a:lnTo>
                <a:lnTo>
                  <a:pt x="750" y="1536"/>
                </a:lnTo>
                <a:lnTo>
                  <a:pt x="768" y="1530"/>
                </a:lnTo>
                <a:lnTo>
                  <a:pt x="774" y="1524"/>
                </a:lnTo>
                <a:lnTo>
                  <a:pt x="774" y="1512"/>
                </a:lnTo>
                <a:lnTo>
                  <a:pt x="762" y="1506"/>
                </a:lnTo>
                <a:lnTo>
                  <a:pt x="750" y="1494"/>
                </a:lnTo>
                <a:lnTo>
                  <a:pt x="738" y="1488"/>
                </a:lnTo>
                <a:lnTo>
                  <a:pt x="738" y="1464"/>
                </a:lnTo>
                <a:lnTo>
                  <a:pt x="744" y="1452"/>
                </a:lnTo>
                <a:lnTo>
                  <a:pt x="750" y="1446"/>
                </a:lnTo>
                <a:lnTo>
                  <a:pt x="750" y="1434"/>
                </a:lnTo>
                <a:lnTo>
                  <a:pt x="756" y="1422"/>
                </a:lnTo>
                <a:lnTo>
                  <a:pt x="744" y="1410"/>
                </a:lnTo>
                <a:lnTo>
                  <a:pt x="726" y="1410"/>
                </a:lnTo>
                <a:lnTo>
                  <a:pt x="720" y="1386"/>
                </a:lnTo>
                <a:lnTo>
                  <a:pt x="714" y="1380"/>
                </a:lnTo>
                <a:lnTo>
                  <a:pt x="714" y="1368"/>
                </a:lnTo>
                <a:lnTo>
                  <a:pt x="720" y="1362"/>
                </a:lnTo>
                <a:lnTo>
                  <a:pt x="726" y="1362"/>
                </a:lnTo>
                <a:lnTo>
                  <a:pt x="732" y="1374"/>
                </a:lnTo>
                <a:lnTo>
                  <a:pt x="738" y="1380"/>
                </a:lnTo>
                <a:lnTo>
                  <a:pt x="738" y="1386"/>
                </a:lnTo>
                <a:lnTo>
                  <a:pt x="744" y="1398"/>
                </a:lnTo>
                <a:lnTo>
                  <a:pt x="756" y="1398"/>
                </a:lnTo>
                <a:lnTo>
                  <a:pt x="750" y="1380"/>
                </a:lnTo>
                <a:lnTo>
                  <a:pt x="828" y="1386"/>
                </a:lnTo>
                <a:lnTo>
                  <a:pt x="834" y="1380"/>
                </a:lnTo>
                <a:lnTo>
                  <a:pt x="840" y="1380"/>
                </a:lnTo>
                <a:lnTo>
                  <a:pt x="846" y="1374"/>
                </a:lnTo>
                <a:lnTo>
                  <a:pt x="864" y="1368"/>
                </a:lnTo>
                <a:lnTo>
                  <a:pt x="894" y="1362"/>
                </a:lnTo>
                <a:lnTo>
                  <a:pt x="930" y="1350"/>
                </a:lnTo>
                <a:lnTo>
                  <a:pt x="972" y="1338"/>
                </a:lnTo>
                <a:lnTo>
                  <a:pt x="1002" y="1326"/>
                </a:lnTo>
                <a:lnTo>
                  <a:pt x="1014" y="1320"/>
                </a:lnTo>
                <a:lnTo>
                  <a:pt x="1014" y="1284"/>
                </a:lnTo>
                <a:lnTo>
                  <a:pt x="1032" y="1272"/>
                </a:lnTo>
                <a:lnTo>
                  <a:pt x="1044" y="1218"/>
                </a:lnTo>
                <a:lnTo>
                  <a:pt x="1038" y="1194"/>
                </a:lnTo>
                <a:lnTo>
                  <a:pt x="1038" y="1170"/>
                </a:lnTo>
                <a:lnTo>
                  <a:pt x="1032" y="1170"/>
                </a:lnTo>
                <a:lnTo>
                  <a:pt x="1026" y="1164"/>
                </a:lnTo>
                <a:lnTo>
                  <a:pt x="1002" y="1152"/>
                </a:lnTo>
                <a:lnTo>
                  <a:pt x="990" y="1152"/>
                </a:lnTo>
                <a:lnTo>
                  <a:pt x="984" y="1146"/>
                </a:lnTo>
                <a:lnTo>
                  <a:pt x="978" y="1146"/>
                </a:lnTo>
                <a:lnTo>
                  <a:pt x="972" y="1140"/>
                </a:lnTo>
                <a:lnTo>
                  <a:pt x="990" y="1122"/>
                </a:lnTo>
                <a:lnTo>
                  <a:pt x="990" y="1092"/>
                </a:lnTo>
                <a:lnTo>
                  <a:pt x="984" y="1080"/>
                </a:lnTo>
                <a:lnTo>
                  <a:pt x="978" y="1074"/>
                </a:lnTo>
                <a:lnTo>
                  <a:pt x="954" y="1062"/>
                </a:lnTo>
                <a:lnTo>
                  <a:pt x="918" y="1050"/>
                </a:lnTo>
                <a:lnTo>
                  <a:pt x="906" y="1044"/>
                </a:lnTo>
                <a:lnTo>
                  <a:pt x="888" y="1032"/>
                </a:lnTo>
                <a:lnTo>
                  <a:pt x="876" y="1020"/>
                </a:lnTo>
                <a:lnTo>
                  <a:pt x="876" y="1002"/>
                </a:lnTo>
                <a:lnTo>
                  <a:pt x="882" y="990"/>
                </a:lnTo>
                <a:lnTo>
                  <a:pt x="888" y="990"/>
                </a:lnTo>
                <a:lnTo>
                  <a:pt x="888" y="984"/>
                </a:lnTo>
                <a:lnTo>
                  <a:pt x="858" y="948"/>
                </a:lnTo>
                <a:lnTo>
                  <a:pt x="858" y="900"/>
                </a:lnTo>
                <a:lnTo>
                  <a:pt x="882" y="900"/>
                </a:lnTo>
                <a:lnTo>
                  <a:pt x="888" y="894"/>
                </a:lnTo>
                <a:lnTo>
                  <a:pt x="894" y="894"/>
                </a:lnTo>
                <a:lnTo>
                  <a:pt x="894" y="888"/>
                </a:lnTo>
                <a:lnTo>
                  <a:pt x="888" y="876"/>
                </a:lnTo>
                <a:lnTo>
                  <a:pt x="876" y="870"/>
                </a:lnTo>
                <a:lnTo>
                  <a:pt x="870" y="858"/>
                </a:lnTo>
                <a:lnTo>
                  <a:pt x="864" y="852"/>
                </a:lnTo>
                <a:lnTo>
                  <a:pt x="876" y="834"/>
                </a:lnTo>
                <a:lnTo>
                  <a:pt x="864" y="822"/>
                </a:lnTo>
                <a:lnTo>
                  <a:pt x="858" y="810"/>
                </a:lnTo>
                <a:lnTo>
                  <a:pt x="852" y="804"/>
                </a:lnTo>
                <a:lnTo>
                  <a:pt x="864" y="792"/>
                </a:lnTo>
                <a:lnTo>
                  <a:pt x="882" y="792"/>
                </a:lnTo>
                <a:lnTo>
                  <a:pt x="858" y="774"/>
                </a:lnTo>
                <a:lnTo>
                  <a:pt x="858" y="738"/>
                </a:lnTo>
                <a:lnTo>
                  <a:pt x="882" y="726"/>
                </a:lnTo>
                <a:lnTo>
                  <a:pt x="876" y="726"/>
                </a:lnTo>
                <a:lnTo>
                  <a:pt x="852" y="702"/>
                </a:lnTo>
                <a:lnTo>
                  <a:pt x="852" y="696"/>
                </a:lnTo>
                <a:lnTo>
                  <a:pt x="870" y="678"/>
                </a:lnTo>
                <a:lnTo>
                  <a:pt x="870" y="666"/>
                </a:lnTo>
                <a:lnTo>
                  <a:pt x="876" y="654"/>
                </a:lnTo>
                <a:lnTo>
                  <a:pt x="876" y="642"/>
                </a:lnTo>
                <a:lnTo>
                  <a:pt x="882" y="636"/>
                </a:lnTo>
                <a:lnTo>
                  <a:pt x="900" y="636"/>
                </a:lnTo>
                <a:lnTo>
                  <a:pt x="906" y="630"/>
                </a:lnTo>
                <a:lnTo>
                  <a:pt x="912" y="618"/>
                </a:lnTo>
                <a:lnTo>
                  <a:pt x="918" y="612"/>
                </a:lnTo>
                <a:lnTo>
                  <a:pt x="918" y="588"/>
                </a:lnTo>
                <a:lnTo>
                  <a:pt x="930" y="588"/>
                </a:lnTo>
                <a:lnTo>
                  <a:pt x="948" y="570"/>
                </a:lnTo>
                <a:lnTo>
                  <a:pt x="948" y="558"/>
                </a:lnTo>
                <a:lnTo>
                  <a:pt x="954" y="546"/>
                </a:lnTo>
                <a:lnTo>
                  <a:pt x="954" y="534"/>
                </a:lnTo>
                <a:close/>
                <a:moveTo>
                  <a:pt x="930" y="1020"/>
                </a:moveTo>
                <a:lnTo>
                  <a:pt x="942" y="1020"/>
                </a:lnTo>
                <a:lnTo>
                  <a:pt x="930" y="1014"/>
                </a:lnTo>
                <a:lnTo>
                  <a:pt x="930" y="1020"/>
                </a:lnTo>
                <a:close/>
              </a:path>
            </a:pathLst>
          </a:cu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4" name="Angola"/>
          <p:cNvSpPr>
            <a:spLocks noEditPoints="1"/>
          </p:cNvSpPr>
          <p:nvPr/>
        </p:nvSpPr>
        <p:spPr bwMode="gray">
          <a:xfrm>
            <a:off x="4349021" y="4398043"/>
            <a:ext cx="357187" cy="446087"/>
          </a:xfrm>
          <a:custGeom>
            <a:avLst/>
            <a:gdLst>
              <a:gd name="T0" fmla="*/ 2147483647 w 888"/>
              <a:gd name="T1" fmla="*/ 2147483647 h 1104"/>
              <a:gd name="T2" fmla="*/ 2147483647 w 888"/>
              <a:gd name="T3" fmla="*/ 2147483647 h 1104"/>
              <a:gd name="T4" fmla="*/ 2147483647 w 888"/>
              <a:gd name="T5" fmla="*/ 2147483647 h 1104"/>
              <a:gd name="T6" fmla="*/ 2147483647 w 888"/>
              <a:gd name="T7" fmla="*/ 0 h 1104"/>
              <a:gd name="T8" fmla="*/ 2147483647 w 888"/>
              <a:gd name="T9" fmla="*/ 2147483647 h 1104"/>
              <a:gd name="T10" fmla="*/ 2147483647 w 888"/>
              <a:gd name="T11" fmla="*/ 2147483647 h 1104"/>
              <a:gd name="T12" fmla="*/ 2147483647 w 888"/>
              <a:gd name="T13" fmla="*/ 2147483647 h 1104"/>
              <a:gd name="T14" fmla="*/ 2147483647 w 888"/>
              <a:gd name="T15" fmla="*/ 2147483647 h 1104"/>
              <a:gd name="T16" fmla="*/ 2147483647 w 888"/>
              <a:gd name="T17" fmla="*/ 2147483647 h 1104"/>
              <a:gd name="T18" fmla="*/ 2147483647 w 888"/>
              <a:gd name="T19" fmla="*/ 2147483647 h 1104"/>
              <a:gd name="T20" fmla="*/ 2147483647 w 888"/>
              <a:gd name="T21" fmla="*/ 2147483647 h 1104"/>
              <a:gd name="T22" fmla="*/ 2147483647 w 888"/>
              <a:gd name="T23" fmla="*/ 2147483647 h 1104"/>
              <a:gd name="T24" fmla="*/ 2147483647 w 888"/>
              <a:gd name="T25" fmla="*/ 2147483647 h 1104"/>
              <a:gd name="T26" fmla="*/ 2147483647 w 888"/>
              <a:gd name="T27" fmla="*/ 2147483647 h 1104"/>
              <a:gd name="T28" fmla="*/ 2147483647 w 888"/>
              <a:gd name="T29" fmla="*/ 2147483647 h 1104"/>
              <a:gd name="T30" fmla="*/ 2147483647 w 888"/>
              <a:gd name="T31" fmla="*/ 2147483647 h 1104"/>
              <a:gd name="T32" fmla="*/ 2147483647 w 888"/>
              <a:gd name="T33" fmla="*/ 2147483647 h 1104"/>
              <a:gd name="T34" fmla="*/ 2147483647 w 888"/>
              <a:gd name="T35" fmla="*/ 2147483647 h 1104"/>
              <a:gd name="T36" fmla="*/ 2147483647 w 888"/>
              <a:gd name="T37" fmla="*/ 2147483647 h 1104"/>
              <a:gd name="T38" fmla="*/ 2147483647 w 888"/>
              <a:gd name="T39" fmla="*/ 2147483647 h 1104"/>
              <a:gd name="T40" fmla="*/ 2147483647 w 888"/>
              <a:gd name="T41" fmla="*/ 2147483647 h 1104"/>
              <a:gd name="T42" fmla="*/ 2147483647 w 888"/>
              <a:gd name="T43" fmla="*/ 2147483647 h 1104"/>
              <a:gd name="T44" fmla="*/ 2147483647 w 888"/>
              <a:gd name="T45" fmla="*/ 2147483647 h 1104"/>
              <a:gd name="T46" fmla="*/ 2147483647 w 888"/>
              <a:gd name="T47" fmla="*/ 2147483647 h 1104"/>
              <a:gd name="T48" fmla="*/ 2147483647 w 888"/>
              <a:gd name="T49" fmla="*/ 2147483647 h 1104"/>
              <a:gd name="T50" fmla="*/ 2147483647 w 888"/>
              <a:gd name="T51" fmla="*/ 2147483647 h 1104"/>
              <a:gd name="T52" fmla="*/ 2147483647 w 888"/>
              <a:gd name="T53" fmla="*/ 2147483647 h 1104"/>
              <a:gd name="T54" fmla="*/ 2147483647 w 888"/>
              <a:gd name="T55" fmla="*/ 2147483647 h 1104"/>
              <a:gd name="T56" fmla="*/ 2147483647 w 888"/>
              <a:gd name="T57" fmla="*/ 2147483647 h 1104"/>
              <a:gd name="T58" fmla="*/ 2147483647 w 888"/>
              <a:gd name="T59" fmla="*/ 2147483647 h 1104"/>
              <a:gd name="T60" fmla="*/ 2147483647 w 888"/>
              <a:gd name="T61" fmla="*/ 2147483647 h 1104"/>
              <a:gd name="T62" fmla="*/ 2147483647 w 888"/>
              <a:gd name="T63" fmla="*/ 2147483647 h 1104"/>
              <a:gd name="T64" fmla="*/ 2147483647 w 888"/>
              <a:gd name="T65" fmla="*/ 2147483647 h 1104"/>
              <a:gd name="T66" fmla="*/ 2147483647 w 888"/>
              <a:gd name="T67" fmla="*/ 2147483647 h 1104"/>
              <a:gd name="T68" fmla="*/ 2147483647 w 888"/>
              <a:gd name="T69" fmla="*/ 2147483647 h 1104"/>
              <a:gd name="T70" fmla="*/ 2147483647 w 888"/>
              <a:gd name="T71" fmla="*/ 2147483647 h 1104"/>
              <a:gd name="T72" fmla="*/ 2147483647 w 888"/>
              <a:gd name="T73" fmla="*/ 2147483647 h 1104"/>
              <a:gd name="T74" fmla="*/ 0 w 888"/>
              <a:gd name="T75" fmla="*/ 2147483647 h 1104"/>
              <a:gd name="T76" fmla="*/ 2147483647 w 888"/>
              <a:gd name="T77" fmla="*/ 2147483647 h 1104"/>
              <a:gd name="T78" fmla="*/ 2147483647 w 888"/>
              <a:gd name="T79" fmla="*/ 2147483647 h 1104"/>
              <a:gd name="T80" fmla="*/ 2147483647 w 888"/>
              <a:gd name="T81" fmla="*/ 2147483647 h 1104"/>
              <a:gd name="T82" fmla="*/ 2147483647 w 888"/>
              <a:gd name="T83" fmla="*/ 2147483647 h 1104"/>
              <a:gd name="T84" fmla="*/ 2147483647 w 888"/>
              <a:gd name="T85" fmla="*/ 2147483647 h 1104"/>
              <a:gd name="T86" fmla="*/ 2147483647 w 888"/>
              <a:gd name="T87" fmla="*/ 2147483647 h 1104"/>
              <a:gd name="T88" fmla="*/ 2147483647 w 888"/>
              <a:gd name="T89" fmla="*/ 2147483647 h 1104"/>
              <a:gd name="T90" fmla="*/ 2147483647 w 888"/>
              <a:gd name="T91" fmla="*/ 2147483647 h 1104"/>
              <a:gd name="T92" fmla="*/ 2147483647 w 888"/>
              <a:gd name="T93" fmla="*/ 2147483647 h 1104"/>
              <a:gd name="T94" fmla="*/ 2147483647 w 888"/>
              <a:gd name="T95" fmla="*/ 2147483647 h 11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88"/>
              <a:gd name="T145" fmla="*/ 0 h 1104"/>
              <a:gd name="T146" fmla="*/ 888 w 888"/>
              <a:gd name="T147" fmla="*/ 1104 h 110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88" h="1104">
                <a:moveTo>
                  <a:pt x="42" y="114"/>
                </a:moveTo>
                <a:lnTo>
                  <a:pt x="42" y="120"/>
                </a:lnTo>
                <a:lnTo>
                  <a:pt x="48" y="120"/>
                </a:lnTo>
                <a:lnTo>
                  <a:pt x="54" y="114"/>
                </a:lnTo>
                <a:lnTo>
                  <a:pt x="66" y="108"/>
                </a:lnTo>
                <a:lnTo>
                  <a:pt x="72" y="102"/>
                </a:lnTo>
                <a:lnTo>
                  <a:pt x="72" y="96"/>
                </a:lnTo>
                <a:lnTo>
                  <a:pt x="66" y="84"/>
                </a:lnTo>
                <a:lnTo>
                  <a:pt x="66" y="78"/>
                </a:lnTo>
                <a:lnTo>
                  <a:pt x="60" y="66"/>
                </a:lnTo>
                <a:lnTo>
                  <a:pt x="96" y="36"/>
                </a:lnTo>
                <a:lnTo>
                  <a:pt x="102" y="24"/>
                </a:lnTo>
                <a:lnTo>
                  <a:pt x="102" y="18"/>
                </a:lnTo>
                <a:lnTo>
                  <a:pt x="96" y="12"/>
                </a:lnTo>
                <a:lnTo>
                  <a:pt x="96" y="6"/>
                </a:lnTo>
                <a:lnTo>
                  <a:pt x="90" y="0"/>
                </a:lnTo>
                <a:lnTo>
                  <a:pt x="84" y="6"/>
                </a:lnTo>
                <a:lnTo>
                  <a:pt x="72" y="12"/>
                </a:lnTo>
                <a:lnTo>
                  <a:pt x="66" y="18"/>
                </a:lnTo>
                <a:lnTo>
                  <a:pt x="54" y="24"/>
                </a:lnTo>
                <a:lnTo>
                  <a:pt x="54" y="42"/>
                </a:lnTo>
                <a:lnTo>
                  <a:pt x="36" y="42"/>
                </a:lnTo>
                <a:lnTo>
                  <a:pt x="36" y="60"/>
                </a:lnTo>
                <a:lnTo>
                  <a:pt x="42" y="114"/>
                </a:lnTo>
                <a:close/>
                <a:moveTo>
                  <a:pt x="876" y="546"/>
                </a:moveTo>
                <a:lnTo>
                  <a:pt x="852" y="546"/>
                </a:lnTo>
                <a:lnTo>
                  <a:pt x="840" y="534"/>
                </a:lnTo>
                <a:lnTo>
                  <a:pt x="828" y="534"/>
                </a:lnTo>
                <a:lnTo>
                  <a:pt x="828" y="546"/>
                </a:lnTo>
                <a:lnTo>
                  <a:pt x="804" y="552"/>
                </a:lnTo>
                <a:lnTo>
                  <a:pt x="774" y="546"/>
                </a:lnTo>
                <a:lnTo>
                  <a:pt x="768" y="564"/>
                </a:lnTo>
                <a:lnTo>
                  <a:pt x="762" y="558"/>
                </a:lnTo>
                <a:lnTo>
                  <a:pt x="756" y="558"/>
                </a:lnTo>
                <a:lnTo>
                  <a:pt x="750" y="552"/>
                </a:lnTo>
                <a:lnTo>
                  <a:pt x="750" y="528"/>
                </a:lnTo>
                <a:lnTo>
                  <a:pt x="756" y="522"/>
                </a:lnTo>
                <a:lnTo>
                  <a:pt x="756" y="510"/>
                </a:lnTo>
                <a:lnTo>
                  <a:pt x="762" y="498"/>
                </a:lnTo>
                <a:lnTo>
                  <a:pt x="762" y="480"/>
                </a:lnTo>
                <a:lnTo>
                  <a:pt x="756" y="474"/>
                </a:lnTo>
                <a:lnTo>
                  <a:pt x="744" y="450"/>
                </a:lnTo>
                <a:lnTo>
                  <a:pt x="732" y="432"/>
                </a:lnTo>
                <a:lnTo>
                  <a:pt x="726" y="414"/>
                </a:lnTo>
                <a:lnTo>
                  <a:pt x="726" y="402"/>
                </a:lnTo>
                <a:lnTo>
                  <a:pt x="732" y="396"/>
                </a:lnTo>
                <a:lnTo>
                  <a:pt x="732" y="384"/>
                </a:lnTo>
                <a:lnTo>
                  <a:pt x="726" y="360"/>
                </a:lnTo>
                <a:lnTo>
                  <a:pt x="732" y="354"/>
                </a:lnTo>
                <a:lnTo>
                  <a:pt x="738" y="342"/>
                </a:lnTo>
                <a:lnTo>
                  <a:pt x="738" y="330"/>
                </a:lnTo>
                <a:lnTo>
                  <a:pt x="732" y="318"/>
                </a:lnTo>
                <a:lnTo>
                  <a:pt x="720" y="306"/>
                </a:lnTo>
                <a:lnTo>
                  <a:pt x="714" y="288"/>
                </a:lnTo>
                <a:lnTo>
                  <a:pt x="726" y="270"/>
                </a:lnTo>
                <a:lnTo>
                  <a:pt x="726" y="246"/>
                </a:lnTo>
                <a:lnTo>
                  <a:pt x="636" y="246"/>
                </a:lnTo>
                <a:lnTo>
                  <a:pt x="636" y="222"/>
                </a:lnTo>
                <a:lnTo>
                  <a:pt x="624" y="216"/>
                </a:lnTo>
                <a:lnTo>
                  <a:pt x="612" y="216"/>
                </a:lnTo>
                <a:lnTo>
                  <a:pt x="612" y="222"/>
                </a:lnTo>
                <a:lnTo>
                  <a:pt x="564" y="222"/>
                </a:lnTo>
                <a:lnTo>
                  <a:pt x="558" y="228"/>
                </a:lnTo>
                <a:lnTo>
                  <a:pt x="558" y="234"/>
                </a:lnTo>
                <a:lnTo>
                  <a:pt x="564" y="240"/>
                </a:lnTo>
                <a:lnTo>
                  <a:pt x="570" y="252"/>
                </a:lnTo>
                <a:lnTo>
                  <a:pt x="570" y="264"/>
                </a:lnTo>
                <a:lnTo>
                  <a:pt x="558" y="264"/>
                </a:lnTo>
                <a:lnTo>
                  <a:pt x="558" y="270"/>
                </a:lnTo>
                <a:lnTo>
                  <a:pt x="552" y="276"/>
                </a:lnTo>
                <a:lnTo>
                  <a:pt x="552" y="294"/>
                </a:lnTo>
                <a:lnTo>
                  <a:pt x="510" y="300"/>
                </a:lnTo>
                <a:lnTo>
                  <a:pt x="504" y="294"/>
                </a:lnTo>
                <a:lnTo>
                  <a:pt x="492" y="300"/>
                </a:lnTo>
                <a:lnTo>
                  <a:pt x="468" y="300"/>
                </a:lnTo>
                <a:lnTo>
                  <a:pt x="462" y="312"/>
                </a:lnTo>
                <a:lnTo>
                  <a:pt x="450" y="306"/>
                </a:lnTo>
                <a:lnTo>
                  <a:pt x="420" y="306"/>
                </a:lnTo>
                <a:lnTo>
                  <a:pt x="408" y="282"/>
                </a:lnTo>
                <a:lnTo>
                  <a:pt x="402" y="276"/>
                </a:lnTo>
                <a:lnTo>
                  <a:pt x="402" y="264"/>
                </a:lnTo>
                <a:lnTo>
                  <a:pt x="390" y="252"/>
                </a:lnTo>
                <a:lnTo>
                  <a:pt x="384" y="252"/>
                </a:lnTo>
                <a:lnTo>
                  <a:pt x="378" y="246"/>
                </a:lnTo>
                <a:lnTo>
                  <a:pt x="378" y="240"/>
                </a:lnTo>
                <a:lnTo>
                  <a:pt x="384" y="234"/>
                </a:lnTo>
                <a:lnTo>
                  <a:pt x="384" y="210"/>
                </a:lnTo>
                <a:lnTo>
                  <a:pt x="366" y="192"/>
                </a:lnTo>
                <a:lnTo>
                  <a:pt x="366" y="150"/>
                </a:lnTo>
                <a:lnTo>
                  <a:pt x="354" y="138"/>
                </a:lnTo>
                <a:lnTo>
                  <a:pt x="348" y="126"/>
                </a:lnTo>
                <a:lnTo>
                  <a:pt x="342" y="120"/>
                </a:lnTo>
                <a:lnTo>
                  <a:pt x="324" y="120"/>
                </a:lnTo>
                <a:lnTo>
                  <a:pt x="318" y="126"/>
                </a:lnTo>
                <a:lnTo>
                  <a:pt x="294" y="126"/>
                </a:lnTo>
                <a:lnTo>
                  <a:pt x="276" y="132"/>
                </a:lnTo>
                <a:lnTo>
                  <a:pt x="246" y="132"/>
                </a:lnTo>
                <a:lnTo>
                  <a:pt x="234" y="126"/>
                </a:lnTo>
                <a:lnTo>
                  <a:pt x="222" y="126"/>
                </a:lnTo>
                <a:lnTo>
                  <a:pt x="210" y="132"/>
                </a:lnTo>
                <a:lnTo>
                  <a:pt x="180" y="132"/>
                </a:lnTo>
                <a:lnTo>
                  <a:pt x="168" y="126"/>
                </a:lnTo>
                <a:lnTo>
                  <a:pt x="144" y="132"/>
                </a:lnTo>
                <a:lnTo>
                  <a:pt x="132" y="126"/>
                </a:lnTo>
                <a:lnTo>
                  <a:pt x="126" y="132"/>
                </a:lnTo>
                <a:lnTo>
                  <a:pt x="102" y="126"/>
                </a:lnTo>
                <a:lnTo>
                  <a:pt x="54" y="150"/>
                </a:lnTo>
                <a:lnTo>
                  <a:pt x="48" y="156"/>
                </a:lnTo>
                <a:lnTo>
                  <a:pt x="54" y="168"/>
                </a:lnTo>
                <a:lnTo>
                  <a:pt x="60" y="174"/>
                </a:lnTo>
                <a:lnTo>
                  <a:pt x="66" y="186"/>
                </a:lnTo>
                <a:lnTo>
                  <a:pt x="90" y="210"/>
                </a:lnTo>
                <a:lnTo>
                  <a:pt x="84" y="234"/>
                </a:lnTo>
                <a:lnTo>
                  <a:pt x="90" y="246"/>
                </a:lnTo>
                <a:lnTo>
                  <a:pt x="108" y="270"/>
                </a:lnTo>
                <a:lnTo>
                  <a:pt x="120" y="300"/>
                </a:lnTo>
                <a:lnTo>
                  <a:pt x="126" y="330"/>
                </a:lnTo>
                <a:lnTo>
                  <a:pt x="120" y="354"/>
                </a:lnTo>
                <a:lnTo>
                  <a:pt x="108" y="378"/>
                </a:lnTo>
                <a:lnTo>
                  <a:pt x="102" y="384"/>
                </a:lnTo>
                <a:lnTo>
                  <a:pt x="102" y="408"/>
                </a:lnTo>
                <a:lnTo>
                  <a:pt x="114" y="408"/>
                </a:lnTo>
                <a:lnTo>
                  <a:pt x="114" y="438"/>
                </a:lnTo>
                <a:lnTo>
                  <a:pt x="126" y="474"/>
                </a:lnTo>
                <a:lnTo>
                  <a:pt x="150" y="510"/>
                </a:lnTo>
                <a:lnTo>
                  <a:pt x="162" y="552"/>
                </a:lnTo>
                <a:lnTo>
                  <a:pt x="162" y="582"/>
                </a:lnTo>
                <a:lnTo>
                  <a:pt x="156" y="594"/>
                </a:lnTo>
                <a:lnTo>
                  <a:pt x="150" y="612"/>
                </a:lnTo>
                <a:lnTo>
                  <a:pt x="144" y="618"/>
                </a:lnTo>
                <a:lnTo>
                  <a:pt x="138" y="630"/>
                </a:lnTo>
                <a:lnTo>
                  <a:pt x="144" y="642"/>
                </a:lnTo>
                <a:lnTo>
                  <a:pt x="144" y="660"/>
                </a:lnTo>
                <a:lnTo>
                  <a:pt x="138" y="666"/>
                </a:lnTo>
                <a:lnTo>
                  <a:pt x="126" y="672"/>
                </a:lnTo>
                <a:lnTo>
                  <a:pt x="108" y="672"/>
                </a:lnTo>
                <a:lnTo>
                  <a:pt x="96" y="690"/>
                </a:lnTo>
                <a:lnTo>
                  <a:pt x="102" y="714"/>
                </a:lnTo>
                <a:lnTo>
                  <a:pt x="78" y="714"/>
                </a:lnTo>
                <a:lnTo>
                  <a:pt x="66" y="720"/>
                </a:lnTo>
                <a:lnTo>
                  <a:pt x="66" y="750"/>
                </a:lnTo>
                <a:lnTo>
                  <a:pt x="60" y="762"/>
                </a:lnTo>
                <a:lnTo>
                  <a:pt x="60" y="774"/>
                </a:lnTo>
                <a:lnTo>
                  <a:pt x="48" y="786"/>
                </a:lnTo>
                <a:lnTo>
                  <a:pt x="48" y="858"/>
                </a:lnTo>
                <a:lnTo>
                  <a:pt x="36" y="864"/>
                </a:lnTo>
                <a:lnTo>
                  <a:pt x="30" y="870"/>
                </a:lnTo>
                <a:lnTo>
                  <a:pt x="30" y="912"/>
                </a:lnTo>
                <a:lnTo>
                  <a:pt x="6" y="930"/>
                </a:lnTo>
                <a:lnTo>
                  <a:pt x="6" y="966"/>
                </a:lnTo>
                <a:lnTo>
                  <a:pt x="18" y="984"/>
                </a:lnTo>
                <a:lnTo>
                  <a:pt x="0" y="1002"/>
                </a:lnTo>
                <a:lnTo>
                  <a:pt x="0" y="1044"/>
                </a:lnTo>
                <a:lnTo>
                  <a:pt x="18" y="1044"/>
                </a:lnTo>
                <a:lnTo>
                  <a:pt x="36" y="1038"/>
                </a:lnTo>
                <a:lnTo>
                  <a:pt x="42" y="1044"/>
                </a:lnTo>
                <a:lnTo>
                  <a:pt x="72" y="1044"/>
                </a:lnTo>
                <a:lnTo>
                  <a:pt x="90" y="1026"/>
                </a:lnTo>
                <a:lnTo>
                  <a:pt x="90" y="1020"/>
                </a:lnTo>
                <a:lnTo>
                  <a:pt x="120" y="1020"/>
                </a:lnTo>
                <a:lnTo>
                  <a:pt x="126" y="1026"/>
                </a:lnTo>
                <a:lnTo>
                  <a:pt x="132" y="1038"/>
                </a:lnTo>
                <a:lnTo>
                  <a:pt x="156" y="1050"/>
                </a:lnTo>
                <a:lnTo>
                  <a:pt x="168" y="1050"/>
                </a:lnTo>
                <a:lnTo>
                  <a:pt x="174" y="1056"/>
                </a:lnTo>
                <a:lnTo>
                  <a:pt x="480" y="1056"/>
                </a:lnTo>
                <a:lnTo>
                  <a:pt x="480" y="1062"/>
                </a:lnTo>
                <a:lnTo>
                  <a:pt x="504" y="1086"/>
                </a:lnTo>
                <a:lnTo>
                  <a:pt x="540" y="1086"/>
                </a:lnTo>
                <a:lnTo>
                  <a:pt x="546" y="1098"/>
                </a:lnTo>
                <a:lnTo>
                  <a:pt x="618" y="1092"/>
                </a:lnTo>
                <a:lnTo>
                  <a:pt x="624" y="1104"/>
                </a:lnTo>
                <a:lnTo>
                  <a:pt x="696" y="1104"/>
                </a:lnTo>
                <a:lnTo>
                  <a:pt x="732" y="1098"/>
                </a:lnTo>
                <a:lnTo>
                  <a:pt x="780" y="1092"/>
                </a:lnTo>
                <a:lnTo>
                  <a:pt x="816" y="1080"/>
                </a:lnTo>
                <a:lnTo>
                  <a:pt x="828" y="1074"/>
                </a:lnTo>
                <a:lnTo>
                  <a:pt x="738" y="984"/>
                </a:lnTo>
                <a:lnTo>
                  <a:pt x="738" y="966"/>
                </a:lnTo>
                <a:lnTo>
                  <a:pt x="732" y="954"/>
                </a:lnTo>
                <a:lnTo>
                  <a:pt x="732" y="702"/>
                </a:lnTo>
                <a:lnTo>
                  <a:pt x="858" y="708"/>
                </a:lnTo>
                <a:lnTo>
                  <a:pt x="864" y="708"/>
                </a:lnTo>
                <a:lnTo>
                  <a:pt x="876" y="696"/>
                </a:lnTo>
                <a:lnTo>
                  <a:pt x="876" y="672"/>
                </a:lnTo>
                <a:lnTo>
                  <a:pt x="870" y="666"/>
                </a:lnTo>
                <a:lnTo>
                  <a:pt x="870" y="660"/>
                </a:lnTo>
                <a:lnTo>
                  <a:pt x="888" y="654"/>
                </a:lnTo>
                <a:lnTo>
                  <a:pt x="876" y="642"/>
                </a:lnTo>
                <a:lnTo>
                  <a:pt x="876" y="588"/>
                </a:lnTo>
                <a:lnTo>
                  <a:pt x="882" y="588"/>
                </a:lnTo>
                <a:lnTo>
                  <a:pt x="888" y="582"/>
                </a:lnTo>
                <a:lnTo>
                  <a:pt x="888" y="564"/>
                </a:lnTo>
                <a:lnTo>
                  <a:pt x="876" y="552"/>
                </a:lnTo>
                <a:lnTo>
                  <a:pt x="876" y="546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5" name="Andorra"/>
          <p:cNvSpPr>
            <a:spLocks/>
          </p:cNvSpPr>
          <p:nvPr/>
        </p:nvSpPr>
        <p:spPr bwMode="gray">
          <a:xfrm>
            <a:off x="4079146" y="2878805"/>
            <a:ext cx="12700" cy="6350"/>
          </a:xfrm>
          <a:custGeom>
            <a:avLst/>
            <a:gdLst>
              <a:gd name="T0" fmla="*/ 2147483647 w 30"/>
              <a:gd name="T1" fmla="*/ 2147483647 h 18"/>
              <a:gd name="T2" fmla="*/ 2147483647 w 30"/>
              <a:gd name="T3" fmla="*/ 2147483647 h 18"/>
              <a:gd name="T4" fmla="*/ 2147483647 w 30"/>
              <a:gd name="T5" fmla="*/ 2147483647 h 18"/>
              <a:gd name="T6" fmla="*/ 2147483647 w 30"/>
              <a:gd name="T7" fmla="*/ 0 h 18"/>
              <a:gd name="T8" fmla="*/ 0 w 30"/>
              <a:gd name="T9" fmla="*/ 0 h 18"/>
              <a:gd name="T10" fmla="*/ 2147483647 w 30"/>
              <a:gd name="T11" fmla="*/ 2147483647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0"/>
              <a:gd name="T19" fmla="*/ 0 h 18"/>
              <a:gd name="T20" fmla="*/ 30 w 30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0" h="18">
                <a:moveTo>
                  <a:pt x="6" y="18"/>
                </a:moveTo>
                <a:lnTo>
                  <a:pt x="18" y="12"/>
                </a:lnTo>
                <a:lnTo>
                  <a:pt x="30" y="12"/>
                </a:lnTo>
                <a:lnTo>
                  <a:pt x="30" y="0"/>
                </a:lnTo>
                <a:lnTo>
                  <a:pt x="0" y="0"/>
                </a:lnTo>
                <a:lnTo>
                  <a:pt x="6" y="1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86" name="Algeria"/>
          <p:cNvSpPr>
            <a:spLocks/>
          </p:cNvSpPr>
          <p:nvPr/>
        </p:nvSpPr>
        <p:spPr bwMode="gray">
          <a:xfrm>
            <a:off x="3763233" y="3055018"/>
            <a:ext cx="595313" cy="587375"/>
          </a:xfrm>
          <a:custGeom>
            <a:avLst/>
            <a:gdLst>
              <a:gd name="T0" fmla="*/ 2147483647 w 1476"/>
              <a:gd name="T1" fmla="*/ 2147483647 h 1464"/>
              <a:gd name="T2" fmla="*/ 2147483647 w 1476"/>
              <a:gd name="T3" fmla="*/ 2147483647 h 1464"/>
              <a:gd name="T4" fmla="*/ 2147483647 w 1476"/>
              <a:gd name="T5" fmla="*/ 2147483647 h 1464"/>
              <a:gd name="T6" fmla="*/ 2147483647 w 1476"/>
              <a:gd name="T7" fmla="*/ 2147483647 h 1464"/>
              <a:gd name="T8" fmla="*/ 2147483647 w 1476"/>
              <a:gd name="T9" fmla="*/ 2147483647 h 1464"/>
              <a:gd name="T10" fmla="*/ 2147483647 w 1476"/>
              <a:gd name="T11" fmla="*/ 2147483647 h 1464"/>
              <a:gd name="T12" fmla="*/ 2147483647 w 1476"/>
              <a:gd name="T13" fmla="*/ 2147483647 h 1464"/>
              <a:gd name="T14" fmla="*/ 2147483647 w 1476"/>
              <a:gd name="T15" fmla="*/ 2147483647 h 1464"/>
              <a:gd name="T16" fmla="*/ 2147483647 w 1476"/>
              <a:gd name="T17" fmla="*/ 2147483647 h 1464"/>
              <a:gd name="T18" fmla="*/ 2147483647 w 1476"/>
              <a:gd name="T19" fmla="*/ 2147483647 h 1464"/>
              <a:gd name="T20" fmla="*/ 2147483647 w 1476"/>
              <a:gd name="T21" fmla="*/ 2147483647 h 1464"/>
              <a:gd name="T22" fmla="*/ 2147483647 w 1476"/>
              <a:gd name="T23" fmla="*/ 2147483647 h 1464"/>
              <a:gd name="T24" fmla="*/ 2147483647 w 1476"/>
              <a:gd name="T25" fmla="*/ 2147483647 h 1464"/>
              <a:gd name="T26" fmla="*/ 2147483647 w 1476"/>
              <a:gd name="T27" fmla="*/ 2147483647 h 1464"/>
              <a:gd name="T28" fmla="*/ 2147483647 w 1476"/>
              <a:gd name="T29" fmla="*/ 2147483647 h 1464"/>
              <a:gd name="T30" fmla="*/ 2147483647 w 1476"/>
              <a:gd name="T31" fmla="*/ 2147483647 h 1464"/>
              <a:gd name="T32" fmla="*/ 2147483647 w 1476"/>
              <a:gd name="T33" fmla="*/ 2147483647 h 1464"/>
              <a:gd name="T34" fmla="*/ 2147483647 w 1476"/>
              <a:gd name="T35" fmla="*/ 2147483647 h 1464"/>
              <a:gd name="T36" fmla="*/ 2147483647 w 1476"/>
              <a:gd name="T37" fmla="*/ 2147483647 h 1464"/>
              <a:gd name="T38" fmla="*/ 2147483647 w 1476"/>
              <a:gd name="T39" fmla="*/ 2147483647 h 1464"/>
              <a:gd name="T40" fmla="*/ 2147483647 w 1476"/>
              <a:gd name="T41" fmla="*/ 2147483647 h 1464"/>
              <a:gd name="T42" fmla="*/ 2147483647 w 1476"/>
              <a:gd name="T43" fmla="*/ 2147483647 h 1464"/>
              <a:gd name="T44" fmla="*/ 2147483647 w 1476"/>
              <a:gd name="T45" fmla="*/ 2147483647 h 1464"/>
              <a:gd name="T46" fmla="*/ 2147483647 w 1476"/>
              <a:gd name="T47" fmla="*/ 2147483647 h 1464"/>
              <a:gd name="T48" fmla="*/ 2147483647 w 1476"/>
              <a:gd name="T49" fmla="*/ 2147483647 h 1464"/>
              <a:gd name="T50" fmla="*/ 2147483647 w 1476"/>
              <a:gd name="T51" fmla="*/ 2147483647 h 1464"/>
              <a:gd name="T52" fmla="*/ 2147483647 w 1476"/>
              <a:gd name="T53" fmla="*/ 2147483647 h 1464"/>
              <a:gd name="T54" fmla="*/ 2147483647 w 1476"/>
              <a:gd name="T55" fmla="*/ 2147483647 h 1464"/>
              <a:gd name="T56" fmla="*/ 2147483647 w 1476"/>
              <a:gd name="T57" fmla="*/ 2147483647 h 1464"/>
              <a:gd name="T58" fmla="*/ 2147483647 w 1476"/>
              <a:gd name="T59" fmla="*/ 2147483647 h 1464"/>
              <a:gd name="T60" fmla="*/ 2147483647 w 1476"/>
              <a:gd name="T61" fmla="*/ 2147483647 h 1464"/>
              <a:gd name="T62" fmla="*/ 2147483647 w 1476"/>
              <a:gd name="T63" fmla="*/ 2147483647 h 1464"/>
              <a:gd name="T64" fmla="*/ 2147483647 w 1476"/>
              <a:gd name="T65" fmla="*/ 2147483647 h 1464"/>
              <a:gd name="T66" fmla="*/ 2147483647 w 1476"/>
              <a:gd name="T67" fmla="*/ 2147483647 h 1464"/>
              <a:gd name="T68" fmla="*/ 2147483647 w 1476"/>
              <a:gd name="T69" fmla="*/ 2147483647 h 1464"/>
              <a:gd name="T70" fmla="*/ 2147483647 w 1476"/>
              <a:gd name="T71" fmla="*/ 2147483647 h 1464"/>
              <a:gd name="T72" fmla="*/ 2147483647 w 1476"/>
              <a:gd name="T73" fmla="*/ 2147483647 h 1464"/>
              <a:gd name="T74" fmla="*/ 2147483647 w 1476"/>
              <a:gd name="T75" fmla="*/ 2147483647 h 1464"/>
              <a:gd name="T76" fmla="*/ 2147483647 w 1476"/>
              <a:gd name="T77" fmla="*/ 2147483647 h 1464"/>
              <a:gd name="T78" fmla="*/ 2147483647 w 1476"/>
              <a:gd name="T79" fmla="*/ 2147483647 h 1464"/>
              <a:gd name="T80" fmla="*/ 2147483647 w 1476"/>
              <a:gd name="T81" fmla="*/ 2147483647 h 1464"/>
              <a:gd name="T82" fmla="*/ 2147483647 w 1476"/>
              <a:gd name="T83" fmla="*/ 2147483647 h 1464"/>
              <a:gd name="T84" fmla="*/ 2147483647 w 1476"/>
              <a:gd name="T85" fmla="*/ 2147483647 h 1464"/>
              <a:gd name="T86" fmla="*/ 2147483647 w 1476"/>
              <a:gd name="T87" fmla="*/ 2147483647 h 1464"/>
              <a:gd name="T88" fmla="*/ 2147483647 w 1476"/>
              <a:gd name="T89" fmla="*/ 2147483647 h 1464"/>
              <a:gd name="T90" fmla="*/ 2147483647 w 1476"/>
              <a:gd name="T91" fmla="*/ 2147483647 h 1464"/>
              <a:gd name="T92" fmla="*/ 2147483647 w 1476"/>
              <a:gd name="T93" fmla="*/ 2147483647 h 1464"/>
              <a:gd name="T94" fmla="*/ 2147483647 w 1476"/>
              <a:gd name="T95" fmla="*/ 2147483647 h 1464"/>
              <a:gd name="T96" fmla="*/ 2147483647 w 1476"/>
              <a:gd name="T97" fmla="*/ 2147483647 h 1464"/>
              <a:gd name="T98" fmla="*/ 2147483647 w 1476"/>
              <a:gd name="T99" fmla="*/ 2147483647 h 1464"/>
              <a:gd name="T100" fmla="*/ 2147483647 w 1476"/>
              <a:gd name="T101" fmla="*/ 2147483647 h 1464"/>
              <a:gd name="T102" fmla="*/ 2147483647 w 1476"/>
              <a:gd name="T103" fmla="*/ 2147483647 h 1464"/>
              <a:gd name="T104" fmla="*/ 2147483647 w 1476"/>
              <a:gd name="T105" fmla="*/ 2147483647 h 146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476"/>
              <a:gd name="T160" fmla="*/ 0 h 1464"/>
              <a:gd name="T161" fmla="*/ 1476 w 1476"/>
              <a:gd name="T162" fmla="*/ 1464 h 146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476" h="1464">
                <a:moveTo>
                  <a:pt x="360" y="534"/>
                </a:moveTo>
                <a:lnTo>
                  <a:pt x="318" y="534"/>
                </a:lnTo>
                <a:lnTo>
                  <a:pt x="312" y="546"/>
                </a:lnTo>
                <a:lnTo>
                  <a:pt x="306" y="552"/>
                </a:lnTo>
                <a:lnTo>
                  <a:pt x="294" y="576"/>
                </a:lnTo>
                <a:lnTo>
                  <a:pt x="282" y="588"/>
                </a:lnTo>
                <a:lnTo>
                  <a:pt x="258" y="588"/>
                </a:lnTo>
                <a:lnTo>
                  <a:pt x="246" y="582"/>
                </a:lnTo>
                <a:lnTo>
                  <a:pt x="234" y="582"/>
                </a:lnTo>
                <a:lnTo>
                  <a:pt x="228" y="594"/>
                </a:lnTo>
                <a:lnTo>
                  <a:pt x="204" y="600"/>
                </a:lnTo>
                <a:lnTo>
                  <a:pt x="204" y="606"/>
                </a:lnTo>
                <a:lnTo>
                  <a:pt x="198" y="618"/>
                </a:lnTo>
                <a:lnTo>
                  <a:pt x="186" y="618"/>
                </a:lnTo>
                <a:lnTo>
                  <a:pt x="180" y="612"/>
                </a:lnTo>
                <a:lnTo>
                  <a:pt x="168" y="606"/>
                </a:lnTo>
                <a:lnTo>
                  <a:pt x="138" y="624"/>
                </a:lnTo>
                <a:lnTo>
                  <a:pt x="120" y="624"/>
                </a:lnTo>
                <a:lnTo>
                  <a:pt x="120" y="630"/>
                </a:lnTo>
                <a:lnTo>
                  <a:pt x="90" y="660"/>
                </a:lnTo>
                <a:lnTo>
                  <a:pt x="78" y="666"/>
                </a:lnTo>
                <a:lnTo>
                  <a:pt x="72" y="672"/>
                </a:lnTo>
                <a:lnTo>
                  <a:pt x="60" y="678"/>
                </a:lnTo>
                <a:lnTo>
                  <a:pt x="54" y="708"/>
                </a:lnTo>
                <a:lnTo>
                  <a:pt x="54" y="768"/>
                </a:lnTo>
                <a:lnTo>
                  <a:pt x="0" y="768"/>
                </a:lnTo>
                <a:lnTo>
                  <a:pt x="54" y="768"/>
                </a:lnTo>
                <a:lnTo>
                  <a:pt x="54" y="804"/>
                </a:lnTo>
                <a:lnTo>
                  <a:pt x="312" y="984"/>
                </a:lnTo>
                <a:lnTo>
                  <a:pt x="720" y="1296"/>
                </a:lnTo>
                <a:lnTo>
                  <a:pt x="720" y="1320"/>
                </a:lnTo>
                <a:lnTo>
                  <a:pt x="744" y="1320"/>
                </a:lnTo>
                <a:lnTo>
                  <a:pt x="750" y="1326"/>
                </a:lnTo>
                <a:lnTo>
                  <a:pt x="750" y="1344"/>
                </a:lnTo>
                <a:lnTo>
                  <a:pt x="762" y="1356"/>
                </a:lnTo>
                <a:lnTo>
                  <a:pt x="798" y="1356"/>
                </a:lnTo>
                <a:lnTo>
                  <a:pt x="804" y="1386"/>
                </a:lnTo>
                <a:lnTo>
                  <a:pt x="810" y="1386"/>
                </a:lnTo>
                <a:lnTo>
                  <a:pt x="816" y="1380"/>
                </a:lnTo>
                <a:lnTo>
                  <a:pt x="846" y="1380"/>
                </a:lnTo>
                <a:lnTo>
                  <a:pt x="858" y="1386"/>
                </a:lnTo>
                <a:lnTo>
                  <a:pt x="870" y="1410"/>
                </a:lnTo>
                <a:lnTo>
                  <a:pt x="870" y="1428"/>
                </a:lnTo>
                <a:lnTo>
                  <a:pt x="852" y="1446"/>
                </a:lnTo>
                <a:lnTo>
                  <a:pt x="852" y="1452"/>
                </a:lnTo>
                <a:lnTo>
                  <a:pt x="858" y="1458"/>
                </a:lnTo>
                <a:lnTo>
                  <a:pt x="870" y="1464"/>
                </a:lnTo>
                <a:lnTo>
                  <a:pt x="900" y="1464"/>
                </a:lnTo>
                <a:lnTo>
                  <a:pt x="906" y="1458"/>
                </a:lnTo>
                <a:lnTo>
                  <a:pt x="924" y="1458"/>
                </a:lnTo>
                <a:lnTo>
                  <a:pt x="954" y="1452"/>
                </a:lnTo>
                <a:lnTo>
                  <a:pt x="984" y="1440"/>
                </a:lnTo>
                <a:lnTo>
                  <a:pt x="1020" y="1434"/>
                </a:lnTo>
                <a:lnTo>
                  <a:pt x="1038" y="1434"/>
                </a:lnTo>
                <a:lnTo>
                  <a:pt x="1062" y="1416"/>
                </a:lnTo>
                <a:lnTo>
                  <a:pt x="1098" y="1386"/>
                </a:lnTo>
                <a:lnTo>
                  <a:pt x="1128" y="1350"/>
                </a:lnTo>
                <a:lnTo>
                  <a:pt x="1158" y="1326"/>
                </a:lnTo>
                <a:lnTo>
                  <a:pt x="1182" y="1314"/>
                </a:lnTo>
                <a:lnTo>
                  <a:pt x="1224" y="1284"/>
                </a:lnTo>
                <a:lnTo>
                  <a:pt x="1272" y="1248"/>
                </a:lnTo>
                <a:lnTo>
                  <a:pt x="1332" y="1206"/>
                </a:lnTo>
                <a:lnTo>
                  <a:pt x="1386" y="1170"/>
                </a:lnTo>
                <a:lnTo>
                  <a:pt x="1434" y="1134"/>
                </a:lnTo>
                <a:lnTo>
                  <a:pt x="1464" y="1110"/>
                </a:lnTo>
                <a:lnTo>
                  <a:pt x="1476" y="1104"/>
                </a:lnTo>
                <a:lnTo>
                  <a:pt x="1476" y="1098"/>
                </a:lnTo>
                <a:lnTo>
                  <a:pt x="1470" y="1092"/>
                </a:lnTo>
                <a:lnTo>
                  <a:pt x="1464" y="1080"/>
                </a:lnTo>
                <a:lnTo>
                  <a:pt x="1458" y="1062"/>
                </a:lnTo>
                <a:lnTo>
                  <a:pt x="1452" y="1050"/>
                </a:lnTo>
                <a:lnTo>
                  <a:pt x="1452" y="1044"/>
                </a:lnTo>
                <a:lnTo>
                  <a:pt x="1440" y="1032"/>
                </a:lnTo>
                <a:lnTo>
                  <a:pt x="1428" y="1032"/>
                </a:lnTo>
                <a:lnTo>
                  <a:pt x="1392" y="1014"/>
                </a:lnTo>
                <a:lnTo>
                  <a:pt x="1386" y="1014"/>
                </a:lnTo>
                <a:lnTo>
                  <a:pt x="1362" y="1026"/>
                </a:lnTo>
                <a:lnTo>
                  <a:pt x="1338" y="1002"/>
                </a:lnTo>
                <a:lnTo>
                  <a:pt x="1338" y="960"/>
                </a:lnTo>
                <a:lnTo>
                  <a:pt x="1332" y="954"/>
                </a:lnTo>
                <a:lnTo>
                  <a:pt x="1326" y="942"/>
                </a:lnTo>
                <a:lnTo>
                  <a:pt x="1314" y="930"/>
                </a:lnTo>
                <a:lnTo>
                  <a:pt x="1308" y="912"/>
                </a:lnTo>
                <a:lnTo>
                  <a:pt x="1296" y="900"/>
                </a:lnTo>
                <a:lnTo>
                  <a:pt x="1290" y="888"/>
                </a:lnTo>
                <a:lnTo>
                  <a:pt x="1290" y="882"/>
                </a:lnTo>
                <a:lnTo>
                  <a:pt x="1296" y="876"/>
                </a:lnTo>
                <a:lnTo>
                  <a:pt x="1308" y="876"/>
                </a:lnTo>
                <a:lnTo>
                  <a:pt x="1320" y="870"/>
                </a:lnTo>
                <a:lnTo>
                  <a:pt x="1326" y="864"/>
                </a:lnTo>
                <a:lnTo>
                  <a:pt x="1332" y="852"/>
                </a:lnTo>
                <a:lnTo>
                  <a:pt x="1332" y="840"/>
                </a:lnTo>
                <a:lnTo>
                  <a:pt x="1326" y="834"/>
                </a:lnTo>
                <a:lnTo>
                  <a:pt x="1326" y="828"/>
                </a:lnTo>
                <a:lnTo>
                  <a:pt x="1320" y="774"/>
                </a:lnTo>
                <a:lnTo>
                  <a:pt x="1332" y="750"/>
                </a:lnTo>
                <a:lnTo>
                  <a:pt x="1326" y="732"/>
                </a:lnTo>
                <a:lnTo>
                  <a:pt x="1326" y="726"/>
                </a:lnTo>
                <a:lnTo>
                  <a:pt x="1332" y="720"/>
                </a:lnTo>
                <a:lnTo>
                  <a:pt x="1332" y="690"/>
                </a:lnTo>
                <a:lnTo>
                  <a:pt x="1338" y="678"/>
                </a:lnTo>
                <a:lnTo>
                  <a:pt x="1338" y="672"/>
                </a:lnTo>
                <a:lnTo>
                  <a:pt x="1326" y="648"/>
                </a:lnTo>
                <a:lnTo>
                  <a:pt x="1302" y="588"/>
                </a:lnTo>
                <a:lnTo>
                  <a:pt x="1290" y="570"/>
                </a:lnTo>
                <a:lnTo>
                  <a:pt x="1296" y="564"/>
                </a:lnTo>
                <a:lnTo>
                  <a:pt x="1308" y="558"/>
                </a:lnTo>
                <a:lnTo>
                  <a:pt x="1296" y="528"/>
                </a:lnTo>
                <a:lnTo>
                  <a:pt x="1284" y="480"/>
                </a:lnTo>
                <a:lnTo>
                  <a:pt x="1278" y="438"/>
                </a:lnTo>
                <a:lnTo>
                  <a:pt x="1272" y="414"/>
                </a:lnTo>
                <a:lnTo>
                  <a:pt x="1266" y="408"/>
                </a:lnTo>
                <a:lnTo>
                  <a:pt x="1260" y="396"/>
                </a:lnTo>
                <a:lnTo>
                  <a:pt x="1236" y="384"/>
                </a:lnTo>
                <a:lnTo>
                  <a:pt x="1230" y="378"/>
                </a:lnTo>
                <a:lnTo>
                  <a:pt x="1224" y="378"/>
                </a:lnTo>
                <a:lnTo>
                  <a:pt x="1224" y="336"/>
                </a:lnTo>
                <a:lnTo>
                  <a:pt x="1212" y="324"/>
                </a:lnTo>
                <a:lnTo>
                  <a:pt x="1194" y="318"/>
                </a:lnTo>
                <a:lnTo>
                  <a:pt x="1182" y="318"/>
                </a:lnTo>
                <a:lnTo>
                  <a:pt x="1182" y="288"/>
                </a:lnTo>
                <a:lnTo>
                  <a:pt x="1170" y="288"/>
                </a:lnTo>
                <a:lnTo>
                  <a:pt x="1170" y="246"/>
                </a:lnTo>
                <a:lnTo>
                  <a:pt x="1194" y="222"/>
                </a:lnTo>
                <a:lnTo>
                  <a:pt x="1218" y="204"/>
                </a:lnTo>
                <a:lnTo>
                  <a:pt x="1218" y="198"/>
                </a:lnTo>
                <a:lnTo>
                  <a:pt x="1224" y="192"/>
                </a:lnTo>
                <a:lnTo>
                  <a:pt x="1224" y="180"/>
                </a:lnTo>
                <a:lnTo>
                  <a:pt x="1230" y="168"/>
                </a:lnTo>
                <a:lnTo>
                  <a:pt x="1230" y="126"/>
                </a:lnTo>
                <a:lnTo>
                  <a:pt x="1224" y="114"/>
                </a:lnTo>
                <a:lnTo>
                  <a:pt x="1224" y="78"/>
                </a:lnTo>
                <a:lnTo>
                  <a:pt x="1230" y="66"/>
                </a:lnTo>
                <a:lnTo>
                  <a:pt x="1230" y="54"/>
                </a:lnTo>
                <a:lnTo>
                  <a:pt x="1212" y="48"/>
                </a:lnTo>
                <a:lnTo>
                  <a:pt x="1254" y="30"/>
                </a:lnTo>
                <a:lnTo>
                  <a:pt x="1254" y="18"/>
                </a:lnTo>
                <a:lnTo>
                  <a:pt x="1242" y="18"/>
                </a:lnTo>
                <a:lnTo>
                  <a:pt x="1236" y="12"/>
                </a:lnTo>
                <a:lnTo>
                  <a:pt x="1224" y="12"/>
                </a:lnTo>
                <a:lnTo>
                  <a:pt x="1206" y="24"/>
                </a:lnTo>
                <a:lnTo>
                  <a:pt x="1170" y="6"/>
                </a:lnTo>
                <a:lnTo>
                  <a:pt x="1152" y="6"/>
                </a:lnTo>
                <a:lnTo>
                  <a:pt x="1152" y="18"/>
                </a:lnTo>
                <a:lnTo>
                  <a:pt x="1116" y="18"/>
                </a:lnTo>
                <a:lnTo>
                  <a:pt x="1092" y="0"/>
                </a:lnTo>
                <a:lnTo>
                  <a:pt x="1086" y="30"/>
                </a:lnTo>
                <a:lnTo>
                  <a:pt x="1056" y="18"/>
                </a:lnTo>
                <a:lnTo>
                  <a:pt x="1026" y="42"/>
                </a:lnTo>
                <a:lnTo>
                  <a:pt x="1002" y="30"/>
                </a:lnTo>
                <a:lnTo>
                  <a:pt x="984" y="30"/>
                </a:lnTo>
                <a:lnTo>
                  <a:pt x="966" y="24"/>
                </a:lnTo>
                <a:lnTo>
                  <a:pt x="948" y="24"/>
                </a:lnTo>
                <a:lnTo>
                  <a:pt x="924" y="30"/>
                </a:lnTo>
                <a:lnTo>
                  <a:pt x="906" y="30"/>
                </a:lnTo>
                <a:lnTo>
                  <a:pt x="900" y="36"/>
                </a:lnTo>
                <a:lnTo>
                  <a:pt x="888" y="36"/>
                </a:lnTo>
                <a:lnTo>
                  <a:pt x="876" y="42"/>
                </a:lnTo>
                <a:lnTo>
                  <a:pt x="816" y="42"/>
                </a:lnTo>
                <a:lnTo>
                  <a:pt x="810" y="48"/>
                </a:lnTo>
                <a:lnTo>
                  <a:pt x="750" y="48"/>
                </a:lnTo>
                <a:lnTo>
                  <a:pt x="744" y="54"/>
                </a:lnTo>
                <a:lnTo>
                  <a:pt x="726" y="54"/>
                </a:lnTo>
                <a:lnTo>
                  <a:pt x="714" y="60"/>
                </a:lnTo>
                <a:lnTo>
                  <a:pt x="696" y="66"/>
                </a:lnTo>
                <a:lnTo>
                  <a:pt x="684" y="78"/>
                </a:lnTo>
                <a:lnTo>
                  <a:pt x="678" y="90"/>
                </a:lnTo>
                <a:lnTo>
                  <a:pt x="666" y="102"/>
                </a:lnTo>
                <a:lnTo>
                  <a:pt x="666" y="108"/>
                </a:lnTo>
                <a:lnTo>
                  <a:pt x="636" y="108"/>
                </a:lnTo>
                <a:lnTo>
                  <a:pt x="624" y="114"/>
                </a:lnTo>
                <a:lnTo>
                  <a:pt x="606" y="114"/>
                </a:lnTo>
                <a:lnTo>
                  <a:pt x="594" y="120"/>
                </a:lnTo>
                <a:lnTo>
                  <a:pt x="588" y="126"/>
                </a:lnTo>
                <a:lnTo>
                  <a:pt x="588" y="132"/>
                </a:lnTo>
                <a:lnTo>
                  <a:pt x="558" y="162"/>
                </a:lnTo>
                <a:lnTo>
                  <a:pt x="546" y="168"/>
                </a:lnTo>
                <a:lnTo>
                  <a:pt x="522" y="168"/>
                </a:lnTo>
                <a:lnTo>
                  <a:pt x="528" y="174"/>
                </a:lnTo>
                <a:lnTo>
                  <a:pt x="534" y="186"/>
                </a:lnTo>
                <a:lnTo>
                  <a:pt x="546" y="192"/>
                </a:lnTo>
                <a:lnTo>
                  <a:pt x="540" y="198"/>
                </a:lnTo>
                <a:lnTo>
                  <a:pt x="540" y="210"/>
                </a:lnTo>
                <a:lnTo>
                  <a:pt x="552" y="210"/>
                </a:lnTo>
                <a:lnTo>
                  <a:pt x="546" y="276"/>
                </a:lnTo>
                <a:lnTo>
                  <a:pt x="558" y="294"/>
                </a:lnTo>
                <a:lnTo>
                  <a:pt x="546" y="324"/>
                </a:lnTo>
                <a:lnTo>
                  <a:pt x="564" y="324"/>
                </a:lnTo>
                <a:lnTo>
                  <a:pt x="564" y="354"/>
                </a:lnTo>
                <a:lnTo>
                  <a:pt x="588" y="372"/>
                </a:lnTo>
                <a:lnTo>
                  <a:pt x="570" y="390"/>
                </a:lnTo>
                <a:lnTo>
                  <a:pt x="570" y="402"/>
                </a:lnTo>
                <a:lnTo>
                  <a:pt x="516" y="408"/>
                </a:lnTo>
                <a:lnTo>
                  <a:pt x="504" y="402"/>
                </a:lnTo>
                <a:lnTo>
                  <a:pt x="486" y="402"/>
                </a:lnTo>
                <a:lnTo>
                  <a:pt x="486" y="408"/>
                </a:lnTo>
                <a:lnTo>
                  <a:pt x="480" y="414"/>
                </a:lnTo>
                <a:lnTo>
                  <a:pt x="474" y="408"/>
                </a:lnTo>
                <a:lnTo>
                  <a:pt x="462" y="408"/>
                </a:lnTo>
                <a:lnTo>
                  <a:pt x="462" y="414"/>
                </a:lnTo>
                <a:lnTo>
                  <a:pt x="456" y="420"/>
                </a:lnTo>
                <a:lnTo>
                  <a:pt x="456" y="432"/>
                </a:lnTo>
                <a:lnTo>
                  <a:pt x="432" y="432"/>
                </a:lnTo>
                <a:lnTo>
                  <a:pt x="420" y="438"/>
                </a:lnTo>
                <a:lnTo>
                  <a:pt x="396" y="438"/>
                </a:lnTo>
                <a:lnTo>
                  <a:pt x="390" y="444"/>
                </a:lnTo>
                <a:lnTo>
                  <a:pt x="390" y="456"/>
                </a:lnTo>
                <a:lnTo>
                  <a:pt x="396" y="462"/>
                </a:lnTo>
                <a:lnTo>
                  <a:pt x="402" y="474"/>
                </a:lnTo>
                <a:lnTo>
                  <a:pt x="414" y="492"/>
                </a:lnTo>
                <a:lnTo>
                  <a:pt x="390" y="504"/>
                </a:lnTo>
                <a:lnTo>
                  <a:pt x="390" y="510"/>
                </a:lnTo>
                <a:lnTo>
                  <a:pt x="378" y="522"/>
                </a:lnTo>
                <a:lnTo>
                  <a:pt x="366" y="528"/>
                </a:lnTo>
                <a:lnTo>
                  <a:pt x="360" y="534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7" name="Albania"/>
          <p:cNvSpPr>
            <a:spLocks/>
          </p:cNvSpPr>
          <p:nvPr/>
        </p:nvSpPr>
        <p:spPr bwMode="gray">
          <a:xfrm>
            <a:off x="4536346" y="2878805"/>
            <a:ext cx="58737" cy="98425"/>
          </a:xfrm>
          <a:custGeom>
            <a:avLst/>
            <a:gdLst>
              <a:gd name="T0" fmla="*/ 2147483647 w 144"/>
              <a:gd name="T1" fmla="*/ 2147483647 h 246"/>
              <a:gd name="T2" fmla="*/ 2147483647 w 144"/>
              <a:gd name="T3" fmla="*/ 2147483647 h 246"/>
              <a:gd name="T4" fmla="*/ 2147483647 w 144"/>
              <a:gd name="T5" fmla="*/ 2147483647 h 246"/>
              <a:gd name="T6" fmla="*/ 2147483647 w 144"/>
              <a:gd name="T7" fmla="*/ 2147483647 h 246"/>
              <a:gd name="T8" fmla="*/ 2147483647 w 144"/>
              <a:gd name="T9" fmla="*/ 2147483647 h 246"/>
              <a:gd name="T10" fmla="*/ 2147483647 w 144"/>
              <a:gd name="T11" fmla="*/ 2147483647 h 246"/>
              <a:gd name="T12" fmla="*/ 2147483647 w 144"/>
              <a:gd name="T13" fmla="*/ 2147483647 h 246"/>
              <a:gd name="T14" fmla="*/ 2147483647 w 144"/>
              <a:gd name="T15" fmla="*/ 2147483647 h 246"/>
              <a:gd name="T16" fmla="*/ 2147483647 w 144"/>
              <a:gd name="T17" fmla="*/ 2147483647 h 246"/>
              <a:gd name="T18" fmla="*/ 2147483647 w 144"/>
              <a:gd name="T19" fmla="*/ 2147483647 h 246"/>
              <a:gd name="T20" fmla="*/ 2147483647 w 144"/>
              <a:gd name="T21" fmla="*/ 2147483647 h 246"/>
              <a:gd name="T22" fmla="*/ 2147483647 w 144"/>
              <a:gd name="T23" fmla="*/ 2147483647 h 246"/>
              <a:gd name="T24" fmla="*/ 2147483647 w 144"/>
              <a:gd name="T25" fmla="*/ 2147483647 h 246"/>
              <a:gd name="T26" fmla="*/ 2147483647 w 144"/>
              <a:gd name="T27" fmla="*/ 2147483647 h 246"/>
              <a:gd name="T28" fmla="*/ 2147483647 w 144"/>
              <a:gd name="T29" fmla="*/ 2147483647 h 246"/>
              <a:gd name="T30" fmla="*/ 2147483647 w 144"/>
              <a:gd name="T31" fmla="*/ 2147483647 h 246"/>
              <a:gd name="T32" fmla="*/ 2147483647 w 144"/>
              <a:gd name="T33" fmla="*/ 2147483647 h 246"/>
              <a:gd name="T34" fmla="*/ 2147483647 w 144"/>
              <a:gd name="T35" fmla="*/ 2147483647 h 246"/>
              <a:gd name="T36" fmla="*/ 2147483647 w 144"/>
              <a:gd name="T37" fmla="*/ 2147483647 h 246"/>
              <a:gd name="T38" fmla="*/ 2147483647 w 144"/>
              <a:gd name="T39" fmla="*/ 0 h 246"/>
              <a:gd name="T40" fmla="*/ 2147483647 w 144"/>
              <a:gd name="T41" fmla="*/ 2147483647 h 246"/>
              <a:gd name="T42" fmla="*/ 2147483647 w 144"/>
              <a:gd name="T43" fmla="*/ 2147483647 h 246"/>
              <a:gd name="T44" fmla="*/ 0 w 144"/>
              <a:gd name="T45" fmla="*/ 2147483647 h 246"/>
              <a:gd name="T46" fmla="*/ 2147483647 w 144"/>
              <a:gd name="T47" fmla="*/ 2147483647 h 246"/>
              <a:gd name="T48" fmla="*/ 2147483647 w 144"/>
              <a:gd name="T49" fmla="*/ 2147483647 h 246"/>
              <a:gd name="T50" fmla="*/ 2147483647 w 144"/>
              <a:gd name="T51" fmla="*/ 2147483647 h 246"/>
              <a:gd name="T52" fmla="*/ 2147483647 w 144"/>
              <a:gd name="T53" fmla="*/ 2147483647 h 246"/>
              <a:gd name="T54" fmla="*/ 2147483647 w 144"/>
              <a:gd name="T55" fmla="*/ 2147483647 h 246"/>
              <a:gd name="T56" fmla="*/ 2147483647 w 144"/>
              <a:gd name="T57" fmla="*/ 2147483647 h 246"/>
              <a:gd name="T58" fmla="*/ 2147483647 w 144"/>
              <a:gd name="T59" fmla="*/ 2147483647 h 246"/>
              <a:gd name="T60" fmla="*/ 2147483647 w 144"/>
              <a:gd name="T61" fmla="*/ 2147483647 h 246"/>
              <a:gd name="T62" fmla="*/ 2147483647 w 144"/>
              <a:gd name="T63" fmla="*/ 2147483647 h 246"/>
              <a:gd name="T64" fmla="*/ 2147483647 w 144"/>
              <a:gd name="T65" fmla="*/ 2147483647 h 246"/>
              <a:gd name="T66" fmla="*/ 2147483647 w 144"/>
              <a:gd name="T67" fmla="*/ 2147483647 h 246"/>
              <a:gd name="T68" fmla="*/ 2147483647 w 144"/>
              <a:gd name="T69" fmla="*/ 2147483647 h 246"/>
              <a:gd name="T70" fmla="*/ 2147483647 w 144"/>
              <a:gd name="T71" fmla="*/ 2147483647 h 246"/>
              <a:gd name="T72" fmla="*/ 2147483647 w 144"/>
              <a:gd name="T73" fmla="*/ 2147483647 h 246"/>
              <a:gd name="T74" fmla="*/ 2147483647 w 144"/>
              <a:gd name="T75" fmla="*/ 2147483647 h 246"/>
              <a:gd name="T76" fmla="*/ 2147483647 w 144"/>
              <a:gd name="T77" fmla="*/ 2147483647 h 246"/>
              <a:gd name="T78" fmla="*/ 2147483647 w 144"/>
              <a:gd name="T79" fmla="*/ 2147483647 h 246"/>
              <a:gd name="T80" fmla="*/ 2147483647 w 144"/>
              <a:gd name="T81" fmla="*/ 2147483647 h 246"/>
              <a:gd name="T82" fmla="*/ 2147483647 w 144"/>
              <a:gd name="T83" fmla="*/ 2147483647 h 246"/>
              <a:gd name="T84" fmla="*/ 2147483647 w 144"/>
              <a:gd name="T85" fmla="*/ 2147483647 h 246"/>
              <a:gd name="T86" fmla="*/ 2147483647 w 144"/>
              <a:gd name="T87" fmla="*/ 2147483647 h 246"/>
              <a:gd name="T88" fmla="*/ 2147483647 w 144"/>
              <a:gd name="T89" fmla="*/ 2147483647 h 24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44"/>
              <a:gd name="T136" fmla="*/ 0 h 246"/>
              <a:gd name="T137" fmla="*/ 144 w 144"/>
              <a:gd name="T138" fmla="*/ 246 h 24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44" h="246">
                <a:moveTo>
                  <a:pt x="96" y="210"/>
                </a:moveTo>
                <a:lnTo>
                  <a:pt x="96" y="204"/>
                </a:lnTo>
                <a:lnTo>
                  <a:pt x="108" y="204"/>
                </a:lnTo>
                <a:lnTo>
                  <a:pt x="120" y="198"/>
                </a:lnTo>
                <a:lnTo>
                  <a:pt x="120" y="174"/>
                </a:lnTo>
                <a:lnTo>
                  <a:pt x="138" y="174"/>
                </a:lnTo>
                <a:lnTo>
                  <a:pt x="144" y="168"/>
                </a:lnTo>
                <a:lnTo>
                  <a:pt x="144" y="138"/>
                </a:lnTo>
                <a:lnTo>
                  <a:pt x="120" y="144"/>
                </a:lnTo>
                <a:lnTo>
                  <a:pt x="120" y="126"/>
                </a:lnTo>
                <a:lnTo>
                  <a:pt x="114" y="126"/>
                </a:lnTo>
                <a:lnTo>
                  <a:pt x="108" y="120"/>
                </a:lnTo>
                <a:lnTo>
                  <a:pt x="108" y="96"/>
                </a:lnTo>
                <a:lnTo>
                  <a:pt x="102" y="84"/>
                </a:lnTo>
                <a:lnTo>
                  <a:pt x="102" y="42"/>
                </a:lnTo>
                <a:lnTo>
                  <a:pt x="96" y="24"/>
                </a:lnTo>
                <a:lnTo>
                  <a:pt x="84" y="24"/>
                </a:lnTo>
                <a:lnTo>
                  <a:pt x="72" y="6"/>
                </a:lnTo>
                <a:lnTo>
                  <a:pt x="66" y="12"/>
                </a:lnTo>
                <a:lnTo>
                  <a:pt x="36" y="0"/>
                </a:lnTo>
                <a:lnTo>
                  <a:pt x="36" y="18"/>
                </a:lnTo>
                <a:lnTo>
                  <a:pt x="24" y="24"/>
                </a:lnTo>
                <a:lnTo>
                  <a:pt x="0" y="24"/>
                </a:lnTo>
                <a:lnTo>
                  <a:pt x="18" y="36"/>
                </a:lnTo>
                <a:lnTo>
                  <a:pt x="24" y="30"/>
                </a:lnTo>
                <a:lnTo>
                  <a:pt x="30" y="48"/>
                </a:lnTo>
                <a:lnTo>
                  <a:pt x="18" y="60"/>
                </a:lnTo>
                <a:lnTo>
                  <a:pt x="24" y="66"/>
                </a:lnTo>
                <a:lnTo>
                  <a:pt x="48" y="66"/>
                </a:lnTo>
                <a:lnTo>
                  <a:pt x="48" y="84"/>
                </a:lnTo>
                <a:lnTo>
                  <a:pt x="42" y="96"/>
                </a:lnTo>
                <a:lnTo>
                  <a:pt x="42" y="114"/>
                </a:lnTo>
                <a:lnTo>
                  <a:pt x="36" y="132"/>
                </a:lnTo>
                <a:lnTo>
                  <a:pt x="36" y="156"/>
                </a:lnTo>
                <a:lnTo>
                  <a:pt x="24" y="180"/>
                </a:lnTo>
                <a:lnTo>
                  <a:pt x="24" y="186"/>
                </a:lnTo>
                <a:lnTo>
                  <a:pt x="42" y="204"/>
                </a:lnTo>
                <a:lnTo>
                  <a:pt x="54" y="210"/>
                </a:lnTo>
                <a:lnTo>
                  <a:pt x="60" y="216"/>
                </a:lnTo>
                <a:lnTo>
                  <a:pt x="60" y="234"/>
                </a:lnTo>
                <a:lnTo>
                  <a:pt x="66" y="240"/>
                </a:lnTo>
                <a:lnTo>
                  <a:pt x="84" y="240"/>
                </a:lnTo>
                <a:lnTo>
                  <a:pt x="90" y="246"/>
                </a:lnTo>
                <a:lnTo>
                  <a:pt x="96" y="246"/>
                </a:lnTo>
                <a:lnTo>
                  <a:pt x="96" y="21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8" name="Afghanistan"/>
          <p:cNvSpPr>
            <a:spLocks/>
          </p:cNvSpPr>
          <p:nvPr/>
        </p:nvSpPr>
        <p:spPr bwMode="gray">
          <a:xfrm>
            <a:off x="5669821" y="3010568"/>
            <a:ext cx="365125" cy="296862"/>
          </a:xfrm>
          <a:custGeom>
            <a:avLst/>
            <a:gdLst>
              <a:gd name="T0" fmla="*/ 2147483647 w 906"/>
              <a:gd name="T1" fmla="*/ 2147483647 h 738"/>
              <a:gd name="T2" fmla="*/ 2147483647 w 906"/>
              <a:gd name="T3" fmla="*/ 2147483647 h 738"/>
              <a:gd name="T4" fmla="*/ 2147483647 w 906"/>
              <a:gd name="T5" fmla="*/ 2147483647 h 738"/>
              <a:gd name="T6" fmla="*/ 2147483647 w 906"/>
              <a:gd name="T7" fmla="*/ 2147483647 h 738"/>
              <a:gd name="T8" fmla="*/ 2147483647 w 906"/>
              <a:gd name="T9" fmla="*/ 2147483647 h 738"/>
              <a:gd name="T10" fmla="*/ 2147483647 w 906"/>
              <a:gd name="T11" fmla="*/ 0 h 738"/>
              <a:gd name="T12" fmla="*/ 2147483647 w 906"/>
              <a:gd name="T13" fmla="*/ 2147483647 h 738"/>
              <a:gd name="T14" fmla="*/ 2147483647 w 906"/>
              <a:gd name="T15" fmla="*/ 2147483647 h 738"/>
              <a:gd name="T16" fmla="*/ 2147483647 w 906"/>
              <a:gd name="T17" fmla="*/ 2147483647 h 738"/>
              <a:gd name="T18" fmla="*/ 2147483647 w 906"/>
              <a:gd name="T19" fmla="*/ 2147483647 h 738"/>
              <a:gd name="T20" fmla="*/ 2147483647 w 906"/>
              <a:gd name="T21" fmla="*/ 2147483647 h 738"/>
              <a:gd name="T22" fmla="*/ 2147483647 w 906"/>
              <a:gd name="T23" fmla="*/ 2147483647 h 738"/>
              <a:gd name="T24" fmla="*/ 2147483647 w 906"/>
              <a:gd name="T25" fmla="*/ 2147483647 h 738"/>
              <a:gd name="T26" fmla="*/ 2147483647 w 906"/>
              <a:gd name="T27" fmla="*/ 2147483647 h 738"/>
              <a:gd name="T28" fmla="*/ 2147483647 w 906"/>
              <a:gd name="T29" fmla="*/ 2147483647 h 738"/>
              <a:gd name="T30" fmla="*/ 2147483647 w 906"/>
              <a:gd name="T31" fmla="*/ 2147483647 h 738"/>
              <a:gd name="T32" fmla="*/ 2147483647 w 906"/>
              <a:gd name="T33" fmla="*/ 2147483647 h 738"/>
              <a:gd name="T34" fmla="*/ 2147483647 w 906"/>
              <a:gd name="T35" fmla="*/ 2147483647 h 738"/>
              <a:gd name="T36" fmla="*/ 2147483647 w 906"/>
              <a:gd name="T37" fmla="*/ 2147483647 h 738"/>
              <a:gd name="T38" fmla="*/ 2147483647 w 906"/>
              <a:gd name="T39" fmla="*/ 2147483647 h 738"/>
              <a:gd name="T40" fmla="*/ 2147483647 w 906"/>
              <a:gd name="T41" fmla="*/ 2147483647 h 738"/>
              <a:gd name="T42" fmla="*/ 2147483647 w 906"/>
              <a:gd name="T43" fmla="*/ 2147483647 h 738"/>
              <a:gd name="T44" fmla="*/ 2147483647 w 906"/>
              <a:gd name="T45" fmla="*/ 2147483647 h 738"/>
              <a:gd name="T46" fmla="*/ 0 w 906"/>
              <a:gd name="T47" fmla="*/ 2147483647 h 738"/>
              <a:gd name="T48" fmla="*/ 2147483647 w 906"/>
              <a:gd name="T49" fmla="*/ 2147483647 h 738"/>
              <a:gd name="T50" fmla="*/ 2147483647 w 906"/>
              <a:gd name="T51" fmla="*/ 2147483647 h 738"/>
              <a:gd name="T52" fmla="*/ 2147483647 w 906"/>
              <a:gd name="T53" fmla="*/ 2147483647 h 738"/>
              <a:gd name="T54" fmla="*/ 2147483647 w 906"/>
              <a:gd name="T55" fmla="*/ 2147483647 h 738"/>
              <a:gd name="T56" fmla="*/ 2147483647 w 906"/>
              <a:gd name="T57" fmla="*/ 2147483647 h 738"/>
              <a:gd name="T58" fmla="*/ 2147483647 w 906"/>
              <a:gd name="T59" fmla="*/ 2147483647 h 738"/>
              <a:gd name="T60" fmla="*/ 2147483647 w 906"/>
              <a:gd name="T61" fmla="*/ 2147483647 h 738"/>
              <a:gd name="T62" fmla="*/ 2147483647 w 906"/>
              <a:gd name="T63" fmla="*/ 2147483647 h 738"/>
              <a:gd name="T64" fmla="*/ 2147483647 w 906"/>
              <a:gd name="T65" fmla="*/ 2147483647 h 738"/>
              <a:gd name="T66" fmla="*/ 2147483647 w 906"/>
              <a:gd name="T67" fmla="*/ 2147483647 h 738"/>
              <a:gd name="T68" fmla="*/ 2147483647 w 906"/>
              <a:gd name="T69" fmla="*/ 2147483647 h 738"/>
              <a:gd name="T70" fmla="*/ 2147483647 w 906"/>
              <a:gd name="T71" fmla="*/ 2147483647 h 738"/>
              <a:gd name="T72" fmla="*/ 2147483647 w 906"/>
              <a:gd name="T73" fmla="*/ 2147483647 h 738"/>
              <a:gd name="T74" fmla="*/ 2147483647 w 906"/>
              <a:gd name="T75" fmla="*/ 2147483647 h 738"/>
              <a:gd name="T76" fmla="*/ 2147483647 w 906"/>
              <a:gd name="T77" fmla="*/ 2147483647 h 738"/>
              <a:gd name="T78" fmla="*/ 2147483647 w 906"/>
              <a:gd name="T79" fmla="*/ 2147483647 h 738"/>
              <a:gd name="T80" fmla="*/ 2147483647 w 906"/>
              <a:gd name="T81" fmla="*/ 2147483647 h 738"/>
              <a:gd name="T82" fmla="*/ 2147483647 w 906"/>
              <a:gd name="T83" fmla="*/ 2147483647 h 738"/>
              <a:gd name="T84" fmla="*/ 2147483647 w 906"/>
              <a:gd name="T85" fmla="*/ 2147483647 h 738"/>
              <a:gd name="T86" fmla="*/ 2147483647 w 906"/>
              <a:gd name="T87" fmla="*/ 2147483647 h 738"/>
              <a:gd name="T88" fmla="*/ 2147483647 w 906"/>
              <a:gd name="T89" fmla="*/ 2147483647 h 738"/>
              <a:gd name="T90" fmla="*/ 2147483647 w 906"/>
              <a:gd name="T91" fmla="*/ 2147483647 h 738"/>
              <a:gd name="T92" fmla="*/ 2147483647 w 906"/>
              <a:gd name="T93" fmla="*/ 2147483647 h 738"/>
              <a:gd name="T94" fmla="*/ 2147483647 w 906"/>
              <a:gd name="T95" fmla="*/ 2147483647 h 738"/>
              <a:gd name="T96" fmla="*/ 2147483647 w 906"/>
              <a:gd name="T97" fmla="*/ 2147483647 h 738"/>
              <a:gd name="T98" fmla="*/ 2147483647 w 906"/>
              <a:gd name="T99" fmla="*/ 2147483647 h 738"/>
              <a:gd name="T100" fmla="*/ 2147483647 w 906"/>
              <a:gd name="T101" fmla="*/ 2147483647 h 738"/>
              <a:gd name="T102" fmla="*/ 2147483647 w 906"/>
              <a:gd name="T103" fmla="*/ 2147483647 h 738"/>
              <a:gd name="T104" fmla="*/ 2147483647 w 906"/>
              <a:gd name="T105" fmla="*/ 2147483647 h 738"/>
              <a:gd name="T106" fmla="*/ 2147483647 w 906"/>
              <a:gd name="T107" fmla="*/ 2147483647 h 738"/>
              <a:gd name="T108" fmla="*/ 2147483647 w 906"/>
              <a:gd name="T109" fmla="*/ 2147483647 h 73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906"/>
              <a:gd name="T166" fmla="*/ 0 h 738"/>
              <a:gd name="T167" fmla="*/ 906 w 906"/>
              <a:gd name="T168" fmla="*/ 738 h 73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906" h="738">
                <a:moveTo>
                  <a:pt x="894" y="108"/>
                </a:moveTo>
                <a:lnTo>
                  <a:pt x="894" y="96"/>
                </a:lnTo>
                <a:lnTo>
                  <a:pt x="906" y="96"/>
                </a:lnTo>
                <a:lnTo>
                  <a:pt x="900" y="90"/>
                </a:lnTo>
                <a:lnTo>
                  <a:pt x="876" y="90"/>
                </a:lnTo>
                <a:lnTo>
                  <a:pt x="840" y="102"/>
                </a:lnTo>
                <a:lnTo>
                  <a:pt x="840" y="84"/>
                </a:lnTo>
                <a:lnTo>
                  <a:pt x="816" y="84"/>
                </a:lnTo>
                <a:lnTo>
                  <a:pt x="792" y="96"/>
                </a:lnTo>
                <a:lnTo>
                  <a:pt x="786" y="102"/>
                </a:lnTo>
                <a:lnTo>
                  <a:pt x="780" y="114"/>
                </a:lnTo>
                <a:lnTo>
                  <a:pt x="774" y="120"/>
                </a:lnTo>
                <a:lnTo>
                  <a:pt x="756" y="120"/>
                </a:lnTo>
                <a:lnTo>
                  <a:pt x="750" y="126"/>
                </a:lnTo>
                <a:lnTo>
                  <a:pt x="744" y="138"/>
                </a:lnTo>
                <a:lnTo>
                  <a:pt x="732" y="144"/>
                </a:lnTo>
                <a:lnTo>
                  <a:pt x="726" y="150"/>
                </a:lnTo>
                <a:lnTo>
                  <a:pt x="720" y="150"/>
                </a:lnTo>
                <a:lnTo>
                  <a:pt x="690" y="120"/>
                </a:lnTo>
                <a:lnTo>
                  <a:pt x="690" y="114"/>
                </a:lnTo>
                <a:lnTo>
                  <a:pt x="678" y="48"/>
                </a:lnTo>
                <a:lnTo>
                  <a:pt x="660" y="48"/>
                </a:lnTo>
                <a:lnTo>
                  <a:pt x="660" y="18"/>
                </a:lnTo>
                <a:lnTo>
                  <a:pt x="642" y="0"/>
                </a:lnTo>
                <a:lnTo>
                  <a:pt x="624" y="0"/>
                </a:lnTo>
                <a:lnTo>
                  <a:pt x="618" y="6"/>
                </a:lnTo>
                <a:lnTo>
                  <a:pt x="618" y="30"/>
                </a:lnTo>
                <a:lnTo>
                  <a:pt x="612" y="36"/>
                </a:lnTo>
                <a:lnTo>
                  <a:pt x="606" y="36"/>
                </a:lnTo>
                <a:lnTo>
                  <a:pt x="594" y="48"/>
                </a:lnTo>
                <a:lnTo>
                  <a:pt x="594" y="54"/>
                </a:lnTo>
                <a:lnTo>
                  <a:pt x="600" y="60"/>
                </a:lnTo>
                <a:lnTo>
                  <a:pt x="606" y="60"/>
                </a:lnTo>
                <a:lnTo>
                  <a:pt x="600" y="84"/>
                </a:lnTo>
                <a:lnTo>
                  <a:pt x="588" y="72"/>
                </a:lnTo>
                <a:lnTo>
                  <a:pt x="570" y="72"/>
                </a:lnTo>
                <a:lnTo>
                  <a:pt x="558" y="78"/>
                </a:lnTo>
                <a:lnTo>
                  <a:pt x="546" y="90"/>
                </a:lnTo>
                <a:lnTo>
                  <a:pt x="546" y="120"/>
                </a:lnTo>
                <a:lnTo>
                  <a:pt x="540" y="120"/>
                </a:lnTo>
                <a:lnTo>
                  <a:pt x="534" y="114"/>
                </a:lnTo>
                <a:lnTo>
                  <a:pt x="528" y="102"/>
                </a:lnTo>
                <a:lnTo>
                  <a:pt x="522" y="96"/>
                </a:lnTo>
                <a:lnTo>
                  <a:pt x="510" y="96"/>
                </a:lnTo>
                <a:lnTo>
                  <a:pt x="504" y="102"/>
                </a:lnTo>
                <a:lnTo>
                  <a:pt x="492" y="108"/>
                </a:lnTo>
                <a:lnTo>
                  <a:pt x="474" y="126"/>
                </a:lnTo>
                <a:lnTo>
                  <a:pt x="468" y="126"/>
                </a:lnTo>
                <a:lnTo>
                  <a:pt x="456" y="114"/>
                </a:lnTo>
                <a:lnTo>
                  <a:pt x="444" y="108"/>
                </a:lnTo>
                <a:lnTo>
                  <a:pt x="438" y="102"/>
                </a:lnTo>
                <a:lnTo>
                  <a:pt x="426" y="102"/>
                </a:lnTo>
                <a:lnTo>
                  <a:pt x="414" y="108"/>
                </a:lnTo>
                <a:lnTo>
                  <a:pt x="396" y="84"/>
                </a:lnTo>
                <a:lnTo>
                  <a:pt x="384" y="96"/>
                </a:lnTo>
                <a:lnTo>
                  <a:pt x="342" y="96"/>
                </a:lnTo>
                <a:lnTo>
                  <a:pt x="330" y="90"/>
                </a:lnTo>
                <a:lnTo>
                  <a:pt x="324" y="84"/>
                </a:lnTo>
                <a:lnTo>
                  <a:pt x="312" y="78"/>
                </a:lnTo>
                <a:lnTo>
                  <a:pt x="300" y="78"/>
                </a:lnTo>
                <a:lnTo>
                  <a:pt x="300" y="102"/>
                </a:lnTo>
                <a:lnTo>
                  <a:pt x="264" y="102"/>
                </a:lnTo>
                <a:lnTo>
                  <a:pt x="252" y="108"/>
                </a:lnTo>
                <a:lnTo>
                  <a:pt x="246" y="120"/>
                </a:lnTo>
                <a:lnTo>
                  <a:pt x="246" y="180"/>
                </a:lnTo>
                <a:lnTo>
                  <a:pt x="234" y="180"/>
                </a:lnTo>
                <a:lnTo>
                  <a:pt x="222" y="186"/>
                </a:lnTo>
                <a:lnTo>
                  <a:pt x="216" y="198"/>
                </a:lnTo>
                <a:lnTo>
                  <a:pt x="180" y="216"/>
                </a:lnTo>
                <a:lnTo>
                  <a:pt x="168" y="216"/>
                </a:lnTo>
                <a:lnTo>
                  <a:pt x="168" y="228"/>
                </a:lnTo>
                <a:lnTo>
                  <a:pt x="156" y="252"/>
                </a:lnTo>
                <a:lnTo>
                  <a:pt x="150" y="258"/>
                </a:lnTo>
                <a:lnTo>
                  <a:pt x="138" y="264"/>
                </a:lnTo>
                <a:lnTo>
                  <a:pt x="114" y="264"/>
                </a:lnTo>
                <a:lnTo>
                  <a:pt x="90" y="240"/>
                </a:lnTo>
                <a:lnTo>
                  <a:pt x="84" y="240"/>
                </a:lnTo>
                <a:lnTo>
                  <a:pt x="78" y="246"/>
                </a:lnTo>
                <a:lnTo>
                  <a:pt x="66" y="246"/>
                </a:lnTo>
                <a:lnTo>
                  <a:pt x="60" y="240"/>
                </a:lnTo>
                <a:lnTo>
                  <a:pt x="48" y="240"/>
                </a:lnTo>
                <a:lnTo>
                  <a:pt x="42" y="234"/>
                </a:lnTo>
                <a:lnTo>
                  <a:pt x="36" y="240"/>
                </a:lnTo>
                <a:lnTo>
                  <a:pt x="30" y="252"/>
                </a:lnTo>
                <a:lnTo>
                  <a:pt x="30" y="258"/>
                </a:lnTo>
                <a:lnTo>
                  <a:pt x="36" y="270"/>
                </a:lnTo>
                <a:lnTo>
                  <a:pt x="36" y="294"/>
                </a:lnTo>
                <a:lnTo>
                  <a:pt x="42" y="300"/>
                </a:lnTo>
                <a:lnTo>
                  <a:pt x="42" y="306"/>
                </a:lnTo>
                <a:lnTo>
                  <a:pt x="18" y="312"/>
                </a:lnTo>
                <a:lnTo>
                  <a:pt x="30" y="330"/>
                </a:lnTo>
                <a:lnTo>
                  <a:pt x="24" y="330"/>
                </a:lnTo>
                <a:lnTo>
                  <a:pt x="18" y="336"/>
                </a:lnTo>
                <a:lnTo>
                  <a:pt x="6" y="342"/>
                </a:lnTo>
                <a:lnTo>
                  <a:pt x="0" y="348"/>
                </a:lnTo>
                <a:lnTo>
                  <a:pt x="0" y="354"/>
                </a:lnTo>
                <a:lnTo>
                  <a:pt x="12" y="366"/>
                </a:lnTo>
                <a:lnTo>
                  <a:pt x="12" y="396"/>
                </a:lnTo>
                <a:lnTo>
                  <a:pt x="36" y="396"/>
                </a:lnTo>
                <a:lnTo>
                  <a:pt x="42" y="402"/>
                </a:lnTo>
                <a:lnTo>
                  <a:pt x="42" y="408"/>
                </a:lnTo>
                <a:lnTo>
                  <a:pt x="24" y="426"/>
                </a:lnTo>
                <a:lnTo>
                  <a:pt x="18" y="438"/>
                </a:lnTo>
                <a:lnTo>
                  <a:pt x="30" y="462"/>
                </a:lnTo>
                <a:lnTo>
                  <a:pt x="42" y="480"/>
                </a:lnTo>
                <a:lnTo>
                  <a:pt x="54" y="504"/>
                </a:lnTo>
                <a:lnTo>
                  <a:pt x="60" y="510"/>
                </a:lnTo>
                <a:lnTo>
                  <a:pt x="60" y="564"/>
                </a:lnTo>
                <a:lnTo>
                  <a:pt x="66" y="570"/>
                </a:lnTo>
                <a:lnTo>
                  <a:pt x="72" y="570"/>
                </a:lnTo>
                <a:lnTo>
                  <a:pt x="84" y="576"/>
                </a:lnTo>
                <a:lnTo>
                  <a:pt x="120" y="576"/>
                </a:lnTo>
                <a:lnTo>
                  <a:pt x="126" y="582"/>
                </a:lnTo>
                <a:lnTo>
                  <a:pt x="138" y="606"/>
                </a:lnTo>
                <a:lnTo>
                  <a:pt x="114" y="654"/>
                </a:lnTo>
                <a:lnTo>
                  <a:pt x="108" y="660"/>
                </a:lnTo>
                <a:lnTo>
                  <a:pt x="102" y="672"/>
                </a:lnTo>
                <a:lnTo>
                  <a:pt x="84" y="690"/>
                </a:lnTo>
                <a:lnTo>
                  <a:pt x="84" y="702"/>
                </a:lnTo>
                <a:lnTo>
                  <a:pt x="120" y="702"/>
                </a:lnTo>
                <a:lnTo>
                  <a:pt x="132" y="708"/>
                </a:lnTo>
                <a:lnTo>
                  <a:pt x="150" y="720"/>
                </a:lnTo>
                <a:lnTo>
                  <a:pt x="168" y="726"/>
                </a:lnTo>
                <a:lnTo>
                  <a:pt x="192" y="738"/>
                </a:lnTo>
                <a:lnTo>
                  <a:pt x="210" y="738"/>
                </a:lnTo>
                <a:lnTo>
                  <a:pt x="228" y="732"/>
                </a:lnTo>
                <a:lnTo>
                  <a:pt x="234" y="732"/>
                </a:lnTo>
                <a:lnTo>
                  <a:pt x="240" y="726"/>
                </a:lnTo>
                <a:lnTo>
                  <a:pt x="294" y="726"/>
                </a:lnTo>
                <a:lnTo>
                  <a:pt x="294" y="732"/>
                </a:lnTo>
                <a:lnTo>
                  <a:pt x="318" y="732"/>
                </a:lnTo>
                <a:lnTo>
                  <a:pt x="324" y="726"/>
                </a:lnTo>
                <a:lnTo>
                  <a:pt x="348" y="726"/>
                </a:lnTo>
                <a:lnTo>
                  <a:pt x="366" y="720"/>
                </a:lnTo>
                <a:lnTo>
                  <a:pt x="396" y="720"/>
                </a:lnTo>
                <a:lnTo>
                  <a:pt x="444" y="696"/>
                </a:lnTo>
                <a:lnTo>
                  <a:pt x="450" y="696"/>
                </a:lnTo>
                <a:lnTo>
                  <a:pt x="456" y="690"/>
                </a:lnTo>
                <a:lnTo>
                  <a:pt x="456" y="660"/>
                </a:lnTo>
                <a:lnTo>
                  <a:pt x="450" y="654"/>
                </a:lnTo>
                <a:lnTo>
                  <a:pt x="450" y="636"/>
                </a:lnTo>
                <a:lnTo>
                  <a:pt x="444" y="624"/>
                </a:lnTo>
                <a:lnTo>
                  <a:pt x="444" y="606"/>
                </a:lnTo>
                <a:lnTo>
                  <a:pt x="450" y="594"/>
                </a:lnTo>
                <a:lnTo>
                  <a:pt x="462" y="588"/>
                </a:lnTo>
                <a:lnTo>
                  <a:pt x="468" y="576"/>
                </a:lnTo>
                <a:lnTo>
                  <a:pt x="486" y="576"/>
                </a:lnTo>
                <a:lnTo>
                  <a:pt x="486" y="588"/>
                </a:lnTo>
                <a:lnTo>
                  <a:pt x="528" y="588"/>
                </a:lnTo>
                <a:lnTo>
                  <a:pt x="534" y="582"/>
                </a:lnTo>
                <a:lnTo>
                  <a:pt x="534" y="576"/>
                </a:lnTo>
                <a:lnTo>
                  <a:pt x="528" y="570"/>
                </a:lnTo>
                <a:lnTo>
                  <a:pt x="522" y="570"/>
                </a:lnTo>
                <a:lnTo>
                  <a:pt x="522" y="564"/>
                </a:lnTo>
                <a:lnTo>
                  <a:pt x="528" y="558"/>
                </a:lnTo>
                <a:lnTo>
                  <a:pt x="534" y="558"/>
                </a:lnTo>
                <a:lnTo>
                  <a:pt x="546" y="552"/>
                </a:lnTo>
                <a:lnTo>
                  <a:pt x="552" y="546"/>
                </a:lnTo>
                <a:lnTo>
                  <a:pt x="564" y="540"/>
                </a:lnTo>
                <a:lnTo>
                  <a:pt x="594" y="540"/>
                </a:lnTo>
                <a:lnTo>
                  <a:pt x="594" y="552"/>
                </a:lnTo>
                <a:lnTo>
                  <a:pt x="600" y="558"/>
                </a:lnTo>
                <a:lnTo>
                  <a:pt x="612" y="558"/>
                </a:lnTo>
                <a:lnTo>
                  <a:pt x="624" y="552"/>
                </a:lnTo>
                <a:lnTo>
                  <a:pt x="630" y="540"/>
                </a:lnTo>
                <a:lnTo>
                  <a:pt x="636" y="534"/>
                </a:lnTo>
                <a:lnTo>
                  <a:pt x="636" y="528"/>
                </a:lnTo>
                <a:lnTo>
                  <a:pt x="630" y="522"/>
                </a:lnTo>
                <a:lnTo>
                  <a:pt x="630" y="510"/>
                </a:lnTo>
                <a:lnTo>
                  <a:pt x="624" y="498"/>
                </a:lnTo>
                <a:lnTo>
                  <a:pt x="624" y="480"/>
                </a:lnTo>
                <a:lnTo>
                  <a:pt x="630" y="474"/>
                </a:lnTo>
                <a:lnTo>
                  <a:pt x="636" y="474"/>
                </a:lnTo>
                <a:lnTo>
                  <a:pt x="636" y="438"/>
                </a:lnTo>
                <a:lnTo>
                  <a:pt x="642" y="432"/>
                </a:lnTo>
                <a:lnTo>
                  <a:pt x="660" y="432"/>
                </a:lnTo>
                <a:lnTo>
                  <a:pt x="690" y="414"/>
                </a:lnTo>
                <a:lnTo>
                  <a:pt x="684" y="414"/>
                </a:lnTo>
                <a:lnTo>
                  <a:pt x="672" y="408"/>
                </a:lnTo>
                <a:lnTo>
                  <a:pt x="672" y="402"/>
                </a:lnTo>
                <a:lnTo>
                  <a:pt x="666" y="396"/>
                </a:lnTo>
                <a:lnTo>
                  <a:pt x="666" y="390"/>
                </a:lnTo>
                <a:lnTo>
                  <a:pt x="654" y="384"/>
                </a:lnTo>
                <a:lnTo>
                  <a:pt x="642" y="372"/>
                </a:lnTo>
                <a:lnTo>
                  <a:pt x="642" y="360"/>
                </a:lnTo>
                <a:lnTo>
                  <a:pt x="660" y="360"/>
                </a:lnTo>
                <a:lnTo>
                  <a:pt x="666" y="366"/>
                </a:lnTo>
                <a:lnTo>
                  <a:pt x="684" y="372"/>
                </a:lnTo>
                <a:lnTo>
                  <a:pt x="690" y="372"/>
                </a:lnTo>
                <a:lnTo>
                  <a:pt x="696" y="366"/>
                </a:lnTo>
                <a:lnTo>
                  <a:pt x="714" y="366"/>
                </a:lnTo>
                <a:lnTo>
                  <a:pt x="714" y="336"/>
                </a:lnTo>
                <a:lnTo>
                  <a:pt x="708" y="330"/>
                </a:lnTo>
                <a:lnTo>
                  <a:pt x="708" y="318"/>
                </a:lnTo>
                <a:lnTo>
                  <a:pt x="714" y="306"/>
                </a:lnTo>
                <a:lnTo>
                  <a:pt x="738" y="282"/>
                </a:lnTo>
                <a:lnTo>
                  <a:pt x="738" y="276"/>
                </a:lnTo>
                <a:lnTo>
                  <a:pt x="732" y="264"/>
                </a:lnTo>
                <a:lnTo>
                  <a:pt x="726" y="258"/>
                </a:lnTo>
                <a:lnTo>
                  <a:pt x="726" y="228"/>
                </a:lnTo>
                <a:lnTo>
                  <a:pt x="696" y="198"/>
                </a:lnTo>
                <a:lnTo>
                  <a:pt x="696" y="192"/>
                </a:lnTo>
                <a:lnTo>
                  <a:pt x="702" y="186"/>
                </a:lnTo>
                <a:lnTo>
                  <a:pt x="708" y="174"/>
                </a:lnTo>
                <a:lnTo>
                  <a:pt x="714" y="168"/>
                </a:lnTo>
                <a:lnTo>
                  <a:pt x="738" y="156"/>
                </a:lnTo>
                <a:lnTo>
                  <a:pt x="744" y="150"/>
                </a:lnTo>
                <a:lnTo>
                  <a:pt x="768" y="138"/>
                </a:lnTo>
                <a:lnTo>
                  <a:pt x="774" y="138"/>
                </a:lnTo>
                <a:lnTo>
                  <a:pt x="780" y="132"/>
                </a:lnTo>
                <a:lnTo>
                  <a:pt x="822" y="132"/>
                </a:lnTo>
                <a:lnTo>
                  <a:pt x="828" y="126"/>
                </a:lnTo>
                <a:lnTo>
                  <a:pt x="852" y="126"/>
                </a:lnTo>
                <a:lnTo>
                  <a:pt x="864" y="132"/>
                </a:lnTo>
                <a:lnTo>
                  <a:pt x="876" y="132"/>
                </a:lnTo>
                <a:lnTo>
                  <a:pt x="882" y="126"/>
                </a:lnTo>
                <a:lnTo>
                  <a:pt x="894" y="126"/>
                </a:lnTo>
                <a:lnTo>
                  <a:pt x="900" y="120"/>
                </a:lnTo>
                <a:lnTo>
                  <a:pt x="894" y="114"/>
                </a:lnTo>
                <a:lnTo>
                  <a:pt x="894" y="108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89" name="Sudan"/>
          <p:cNvSpPr>
            <a:spLocks/>
          </p:cNvSpPr>
          <p:nvPr/>
        </p:nvSpPr>
        <p:spPr bwMode="gray">
          <a:xfrm>
            <a:off x="4685571" y="3896393"/>
            <a:ext cx="358775" cy="252412"/>
          </a:xfrm>
          <a:custGeom>
            <a:avLst/>
            <a:gdLst>
              <a:gd name="T0" fmla="*/ 204 w 10000"/>
              <a:gd name="T1" fmla="*/ 1948 h 10000"/>
              <a:gd name="T2" fmla="*/ 0 w 10000"/>
              <a:gd name="T3" fmla="*/ 2805 h 10000"/>
              <a:gd name="T4" fmla="*/ 134 w 10000"/>
              <a:gd name="T5" fmla="*/ 2994 h 10000"/>
              <a:gd name="T6" fmla="*/ 608 w 10000"/>
              <a:gd name="T7" fmla="*/ 3846 h 10000"/>
              <a:gd name="T8" fmla="*/ 1217 w 10000"/>
              <a:gd name="T9" fmla="*/ 4318 h 10000"/>
              <a:gd name="T10" fmla="*/ 1554 w 10000"/>
              <a:gd name="T11" fmla="*/ 4606 h 10000"/>
              <a:gd name="T12" fmla="*/ 1484 w 10000"/>
              <a:gd name="T13" fmla="*/ 4789 h 10000"/>
              <a:gd name="T14" fmla="*/ 1554 w 10000"/>
              <a:gd name="T15" fmla="*/ 5074 h 10000"/>
              <a:gd name="T16" fmla="*/ 1892 w 10000"/>
              <a:gd name="T17" fmla="*/ 5268 h 10000"/>
              <a:gd name="T18" fmla="*/ 2160 w 10000"/>
              <a:gd name="T19" fmla="*/ 5735 h 10000"/>
              <a:gd name="T20" fmla="*/ 2436 w 10000"/>
              <a:gd name="T21" fmla="*/ 5928 h 10000"/>
              <a:gd name="T22" fmla="*/ 2300 w 10000"/>
              <a:gd name="T23" fmla="*/ 6213 h 10000"/>
              <a:gd name="T24" fmla="*/ 2705 w 10000"/>
              <a:gd name="T25" fmla="*/ 6781 h 10000"/>
              <a:gd name="T26" fmla="*/ 2973 w 10000"/>
              <a:gd name="T27" fmla="*/ 7066 h 10000"/>
              <a:gd name="T28" fmla="*/ 3109 w 10000"/>
              <a:gd name="T29" fmla="*/ 7819 h 10000"/>
              <a:gd name="T30" fmla="*/ 3988 w 10000"/>
              <a:gd name="T31" fmla="*/ 8957 h 10000"/>
              <a:gd name="T32" fmla="*/ 4191 w 10000"/>
              <a:gd name="T33" fmla="*/ 8579 h 10000"/>
              <a:gd name="T34" fmla="*/ 4463 w 10000"/>
              <a:gd name="T35" fmla="*/ 8768 h 10000"/>
              <a:gd name="T36" fmla="*/ 4795 w 10000"/>
              <a:gd name="T37" fmla="*/ 8675 h 10000"/>
              <a:gd name="T38" fmla="*/ 4999 w 10000"/>
              <a:gd name="T39" fmla="*/ 8487 h 10000"/>
              <a:gd name="T40" fmla="*/ 5271 w 10000"/>
              <a:gd name="T41" fmla="*/ 9052 h 10000"/>
              <a:gd name="T42" fmla="*/ 5611 w 10000"/>
              <a:gd name="T43" fmla="*/ 9433 h 10000"/>
              <a:gd name="T44" fmla="*/ 5946 w 10000"/>
              <a:gd name="T45" fmla="*/ 9812 h 10000"/>
              <a:gd name="T46" fmla="*/ 6351 w 10000"/>
              <a:gd name="T47" fmla="*/ 9620 h 10000"/>
              <a:gd name="T48" fmla="*/ 6622 w 10000"/>
              <a:gd name="T49" fmla="*/ 9620 h 10000"/>
              <a:gd name="T50" fmla="*/ 7028 w 10000"/>
              <a:gd name="T51" fmla="*/ 10000 h 10000"/>
              <a:gd name="T52" fmla="*/ 7638 w 10000"/>
              <a:gd name="T53" fmla="*/ 9433 h 10000"/>
              <a:gd name="T54" fmla="*/ 7840 w 10000"/>
              <a:gd name="T55" fmla="*/ 9620 h 10000"/>
              <a:gd name="T56" fmla="*/ 8313 w 10000"/>
              <a:gd name="T57" fmla="*/ 9245 h 10000"/>
              <a:gd name="T58" fmla="*/ 8511 w 10000"/>
              <a:gd name="T59" fmla="*/ 9052 h 10000"/>
              <a:gd name="T60" fmla="*/ 10000 w 10000"/>
              <a:gd name="T61" fmla="*/ 8389 h 10000"/>
              <a:gd name="T62" fmla="*/ 9867 w 10000"/>
              <a:gd name="T63" fmla="*/ 7631 h 10000"/>
              <a:gd name="T64" fmla="*/ 9461 w 10000"/>
              <a:gd name="T65" fmla="*/ 7443 h 10000"/>
              <a:gd name="T66" fmla="*/ 9123 w 10000"/>
              <a:gd name="T67" fmla="*/ 6496 h 10000"/>
              <a:gd name="T68" fmla="*/ 8924 w 10000"/>
              <a:gd name="T69" fmla="*/ 5552 h 10000"/>
              <a:gd name="T70" fmla="*/ 8583 w 10000"/>
              <a:gd name="T71" fmla="*/ 5074 h 10000"/>
              <a:gd name="T72" fmla="*/ 8246 w 10000"/>
              <a:gd name="T73" fmla="*/ 4698 h 10000"/>
              <a:gd name="T74" fmla="*/ 7772 w 10000"/>
              <a:gd name="T75" fmla="*/ 4505 h 10000"/>
              <a:gd name="T76" fmla="*/ 7772 w 10000"/>
              <a:gd name="T77" fmla="*/ 4128 h 10000"/>
              <a:gd name="T78" fmla="*/ 8177 w 10000"/>
              <a:gd name="T79" fmla="*/ 3657 h 10000"/>
              <a:gd name="T80" fmla="*/ 8447 w 10000"/>
              <a:gd name="T81" fmla="*/ 3657 h 10000"/>
              <a:gd name="T82" fmla="*/ 7649 w 10000"/>
              <a:gd name="T83" fmla="*/ 2500 h 10000"/>
              <a:gd name="T84" fmla="*/ 4076 w 10000"/>
              <a:gd name="T85" fmla="*/ 2500 h 10000"/>
              <a:gd name="T86" fmla="*/ 0 w 10000"/>
              <a:gd name="T87" fmla="*/ 0 h 10000"/>
              <a:gd name="T88" fmla="*/ 10000 w 10000"/>
              <a:gd name="T89" fmla="*/ 10000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T86" t="T87" r="T88" b="T89"/>
            <a:pathLst>
              <a:path w="10000" h="10000">
                <a:moveTo>
                  <a:pt x="4076" y="2500"/>
                </a:moveTo>
                <a:lnTo>
                  <a:pt x="2290" y="2500"/>
                </a:lnTo>
                <a:cubicBezTo>
                  <a:pt x="2313" y="2558"/>
                  <a:pt x="180" y="1892"/>
                  <a:pt x="204" y="1948"/>
                </a:cubicBezTo>
                <a:cubicBezTo>
                  <a:pt x="181" y="2138"/>
                  <a:pt x="157" y="2328"/>
                  <a:pt x="134" y="2518"/>
                </a:cubicBezTo>
                <a:cubicBezTo>
                  <a:pt x="113" y="2580"/>
                  <a:pt x="91" y="2646"/>
                  <a:pt x="70" y="2710"/>
                </a:cubicBezTo>
                <a:cubicBezTo>
                  <a:pt x="48" y="2743"/>
                  <a:pt x="22" y="2772"/>
                  <a:pt x="0" y="2805"/>
                </a:cubicBezTo>
                <a:lnTo>
                  <a:pt x="0" y="2896"/>
                </a:lnTo>
                <a:cubicBezTo>
                  <a:pt x="22" y="2933"/>
                  <a:pt x="48" y="2958"/>
                  <a:pt x="70" y="2994"/>
                </a:cubicBezTo>
                <a:lnTo>
                  <a:pt x="134" y="2994"/>
                </a:lnTo>
                <a:cubicBezTo>
                  <a:pt x="113" y="3090"/>
                  <a:pt x="91" y="3182"/>
                  <a:pt x="70" y="3275"/>
                </a:cubicBezTo>
                <a:lnTo>
                  <a:pt x="608" y="3372"/>
                </a:lnTo>
                <a:lnTo>
                  <a:pt x="608" y="3846"/>
                </a:lnTo>
                <a:lnTo>
                  <a:pt x="878" y="4034"/>
                </a:lnTo>
                <a:lnTo>
                  <a:pt x="1217" y="4034"/>
                </a:lnTo>
                <a:lnTo>
                  <a:pt x="1217" y="4318"/>
                </a:lnTo>
                <a:lnTo>
                  <a:pt x="1284" y="4318"/>
                </a:lnTo>
                <a:cubicBezTo>
                  <a:pt x="1330" y="4348"/>
                  <a:pt x="1376" y="4377"/>
                  <a:pt x="1419" y="4417"/>
                </a:cubicBezTo>
                <a:cubicBezTo>
                  <a:pt x="1465" y="4478"/>
                  <a:pt x="1510" y="4538"/>
                  <a:pt x="1554" y="4606"/>
                </a:cubicBezTo>
                <a:lnTo>
                  <a:pt x="1554" y="4698"/>
                </a:lnTo>
                <a:lnTo>
                  <a:pt x="1484" y="4698"/>
                </a:lnTo>
                <a:lnTo>
                  <a:pt x="1484" y="4789"/>
                </a:lnTo>
                <a:lnTo>
                  <a:pt x="1419" y="4789"/>
                </a:lnTo>
                <a:lnTo>
                  <a:pt x="1419" y="4887"/>
                </a:lnTo>
                <a:cubicBezTo>
                  <a:pt x="1466" y="4949"/>
                  <a:pt x="1510" y="5015"/>
                  <a:pt x="1554" y="5074"/>
                </a:cubicBezTo>
                <a:cubicBezTo>
                  <a:pt x="1599" y="5107"/>
                  <a:pt x="1648" y="5135"/>
                  <a:pt x="1691" y="5173"/>
                </a:cubicBezTo>
                <a:lnTo>
                  <a:pt x="1759" y="5173"/>
                </a:lnTo>
                <a:cubicBezTo>
                  <a:pt x="1802" y="5204"/>
                  <a:pt x="1848" y="5234"/>
                  <a:pt x="1892" y="5268"/>
                </a:cubicBezTo>
                <a:cubicBezTo>
                  <a:pt x="1940" y="5329"/>
                  <a:pt x="1985" y="5392"/>
                  <a:pt x="2028" y="5455"/>
                </a:cubicBezTo>
                <a:cubicBezTo>
                  <a:pt x="2048" y="5517"/>
                  <a:pt x="2073" y="5578"/>
                  <a:pt x="2095" y="5647"/>
                </a:cubicBezTo>
                <a:cubicBezTo>
                  <a:pt x="2118" y="5677"/>
                  <a:pt x="2141" y="5702"/>
                  <a:pt x="2160" y="5735"/>
                </a:cubicBezTo>
                <a:lnTo>
                  <a:pt x="2160" y="5837"/>
                </a:lnTo>
                <a:lnTo>
                  <a:pt x="2366" y="5837"/>
                </a:lnTo>
                <a:cubicBezTo>
                  <a:pt x="2387" y="5865"/>
                  <a:pt x="2413" y="5894"/>
                  <a:pt x="2436" y="5928"/>
                </a:cubicBezTo>
                <a:lnTo>
                  <a:pt x="2436" y="6116"/>
                </a:lnTo>
                <a:lnTo>
                  <a:pt x="2300" y="6116"/>
                </a:lnTo>
                <a:lnTo>
                  <a:pt x="2300" y="6213"/>
                </a:lnTo>
                <a:cubicBezTo>
                  <a:pt x="2346" y="6279"/>
                  <a:pt x="2389" y="6338"/>
                  <a:pt x="2436" y="6401"/>
                </a:cubicBezTo>
                <a:lnTo>
                  <a:pt x="2436" y="6685"/>
                </a:lnTo>
                <a:lnTo>
                  <a:pt x="2705" y="6781"/>
                </a:lnTo>
                <a:cubicBezTo>
                  <a:pt x="2726" y="6817"/>
                  <a:pt x="2750" y="6845"/>
                  <a:pt x="2770" y="6876"/>
                </a:cubicBezTo>
                <a:cubicBezTo>
                  <a:pt x="2818" y="6905"/>
                  <a:pt x="2863" y="6940"/>
                  <a:pt x="2908" y="6968"/>
                </a:cubicBezTo>
                <a:cubicBezTo>
                  <a:pt x="2928" y="7002"/>
                  <a:pt x="2950" y="7035"/>
                  <a:pt x="2973" y="7066"/>
                </a:cubicBezTo>
                <a:cubicBezTo>
                  <a:pt x="2998" y="7129"/>
                  <a:pt x="3021" y="7190"/>
                  <a:pt x="3043" y="7251"/>
                </a:cubicBezTo>
                <a:lnTo>
                  <a:pt x="3043" y="7631"/>
                </a:lnTo>
                <a:cubicBezTo>
                  <a:pt x="3062" y="7693"/>
                  <a:pt x="3089" y="7758"/>
                  <a:pt x="3109" y="7819"/>
                </a:cubicBezTo>
                <a:lnTo>
                  <a:pt x="3446" y="8203"/>
                </a:lnTo>
                <a:lnTo>
                  <a:pt x="3446" y="8579"/>
                </a:lnTo>
                <a:lnTo>
                  <a:pt x="3988" y="8957"/>
                </a:lnTo>
                <a:cubicBezTo>
                  <a:pt x="4012" y="8924"/>
                  <a:pt x="4032" y="8893"/>
                  <a:pt x="4054" y="8860"/>
                </a:cubicBezTo>
                <a:cubicBezTo>
                  <a:pt x="4078" y="8799"/>
                  <a:pt x="4101" y="8742"/>
                  <a:pt x="4125" y="8675"/>
                </a:cubicBezTo>
                <a:cubicBezTo>
                  <a:pt x="4145" y="8640"/>
                  <a:pt x="4166" y="8616"/>
                  <a:pt x="4191" y="8579"/>
                </a:cubicBezTo>
                <a:lnTo>
                  <a:pt x="4326" y="8579"/>
                </a:lnTo>
                <a:cubicBezTo>
                  <a:pt x="4367" y="8616"/>
                  <a:pt x="4414" y="8640"/>
                  <a:pt x="4463" y="8675"/>
                </a:cubicBezTo>
                <a:lnTo>
                  <a:pt x="4463" y="8768"/>
                </a:lnTo>
                <a:cubicBezTo>
                  <a:pt x="4506" y="8799"/>
                  <a:pt x="4550" y="8834"/>
                  <a:pt x="4594" y="8860"/>
                </a:cubicBezTo>
                <a:lnTo>
                  <a:pt x="4662" y="8860"/>
                </a:lnTo>
                <a:cubicBezTo>
                  <a:pt x="4709" y="8799"/>
                  <a:pt x="4752" y="8737"/>
                  <a:pt x="4795" y="8675"/>
                </a:cubicBezTo>
                <a:lnTo>
                  <a:pt x="4795" y="8579"/>
                </a:lnTo>
                <a:cubicBezTo>
                  <a:pt x="4842" y="8513"/>
                  <a:pt x="4891" y="8452"/>
                  <a:pt x="4934" y="8389"/>
                </a:cubicBezTo>
                <a:cubicBezTo>
                  <a:pt x="4957" y="8419"/>
                  <a:pt x="4978" y="8453"/>
                  <a:pt x="4999" y="8487"/>
                </a:cubicBezTo>
                <a:cubicBezTo>
                  <a:pt x="5045" y="8519"/>
                  <a:pt x="5094" y="8546"/>
                  <a:pt x="5135" y="8579"/>
                </a:cubicBezTo>
                <a:cubicBezTo>
                  <a:pt x="5158" y="8675"/>
                  <a:pt x="5183" y="8766"/>
                  <a:pt x="5201" y="8860"/>
                </a:cubicBezTo>
                <a:cubicBezTo>
                  <a:pt x="5226" y="8924"/>
                  <a:pt x="5247" y="8993"/>
                  <a:pt x="5271" y="9052"/>
                </a:cubicBezTo>
                <a:cubicBezTo>
                  <a:pt x="5317" y="9109"/>
                  <a:pt x="5363" y="9182"/>
                  <a:pt x="5408" y="9245"/>
                </a:cubicBezTo>
                <a:cubicBezTo>
                  <a:pt x="5452" y="9278"/>
                  <a:pt x="5497" y="9308"/>
                  <a:pt x="5543" y="9338"/>
                </a:cubicBezTo>
                <a:cubicBezTo>
                  <a:pt x="5564" y="9372"/>
                  <a:pt x="5587" y="9401"/>
                  <a:pt x="5611" y="9433"/>
                </a:cubicBezTo>
                <a:lnTo>
                  <a:pt x="5676" y="9433"/>
                </a:lnTo>
                <a:cubicBezTo>
                  <a:pt x="5699" y="9557"/>
                  <a:pt x="5723" y="9685"/>
                  <a:pt x="5744" y="9812"/>
                </a:cubicBezTo>
                <a:lnTo>
                  <a:pt x="5946" y="9812"/>
                </a:lnTo>
                <a:cubicBezTo>
                  <a:pt x="6011" y="9709"/>
                  <a:pt x="6082" y="9623"/>
                  <a:pt x="6149" y="9526"/>
                </a:cubicBezTo>
                <a:lnTo>
                  <a:pt x="6287" y="9526"/>
                </a:lnTo>
                <a:cubicBezTo>
                  <a:pt x="6306" y="9557"/>
                  <a:pt x="6331" y="9590"/>
                  <a:pt x="6351" y="9620"/>
                </a:cubicBezTo>
                <a:cubicBezTo>
                  <a:pt x="6396" y="9650"/>
                  <a:pt x="6443" y="9680"/>
                  <a:pt x="6488" y="9709"/>
                </a:cubicBezTo>
                <a:lnTo>
                  <a:pt x="6622" y="9709"/>
                </a:lnTo>
                <a:lnTo>
                  <a:pt x="6622" y="9620"/>
                </a:lnTo>
                <a:cubicBezTo>
                  <a:pt x="6645" y="9590"/>
                  <a:pt x="6668" y="9557"/>
                  <a:pt x="6689" y="9526"/>
                </a:cubicBezTo>
                <a:lnTo>
                  <a:pt x="6761" y="9526"/>
                </a:lnTo>
                <a:cubicBezTo>
                  <a:pt x="6849" y="9688"/>
                  <a:pt x="6939" y="9839"/>
                  <a:pt x="7028" y="10000"/>
                </a:cubicBezTo>
                <a:cubicBezTo>
                  <a:pt x="7094" y="9875"/>
                  <a:pt x="7164" y="9749"/>
                  <a:pt x="7231" y="9620"/>
                </a:cubicBezTo>
                <a:lnTo>
                  <a:pt x="7501" y="9620"/>
                </a:lnTo>
                <a:cubicBezTo>
                  <a:pt x="7546" y="9555"/>
                  <a:pt x="7591" y="9493"/>
                  <a:pt x="7638" y="9433"/>
                </a:cubicBezTo>
                <a:lnTo>
                  <a:pt x="7772" y="9433"/>
                </a:lnTo>
                <a:lnTo>
                  <a:pt x="7772" y="9526"/>
                </a:lnTo>
                <a:cubicBezTo>
                  <a:pt x="7792" y="9557"/>
                  <a:pt x="7816" y="9590"/>
                  <a:pt x="7840" y="9620"/>
                </a:cubicBezTo>
                <a:lnTo>
                  <a:pt x="8110" y="9620"/>
                </a:lnTo>
                <a:cubicBezTo>
                  <a:pt x="8179" y="9522"/>
                  <a:pt x="8247" y="9434"/>
                  <a:pt x="8313" y="9338"/>
                </a:cubicBezTo>
                <a:lnTo>
                  <a:pt x="8313" y="9245"/>
                </a:lnTo>
                <a:cubicBezTo>
                  <a:pt x="8335" y="9209"/>
                  <a:pt x="8359" y="9182"/>
                  <a:pt x="8380" y="9149"/>
                </a:cubicBezTo>
                <a:lnTo>
                  <a:pt x="8380" y="9052"/>
                </a:lnTo>
                <a:lnTo>
                  <a:pt x="8511" y="9052"/>
                </a:lnTo>
                <a:cubicBezTo>
                  <a:pt x="8582" y="8893"/>
                  <a:pt x="8649" y="8741"/>
                  <a:pt x="8718" y="8579"/>
                </a:cubicBezTo>
                <a:lnTo>
                  <a:pt x="9729" y="8579"/>
                </a:lnTo>
                <a:lnTo>
                  <a:pt x="10000" y="8389"/>
                </a:lnTo>
                <a:cubicBezTo>
                  <a:pt x="9978" y="8296"/>
                  <a:pt x="9955" y="8203"/>
                  <a:pt x="9935" y="8106"/>
                </a:cubicBezTo>
                <a:lnTo>
                  <a:pt x="9935" y="7819"/>
                </a:lnTo>
                <a:cubicBezTo>
                  <a:pt x="9911" y="7759"/>
                  <a:pt x="9888" y="7696"/>
                  <a:pt x="9867" y="7631"/>
                </a:cubicBezTo>
                <a:cubicBezTo>
                  <a:pt x="9841" y="7598"/>
                  <a:pt x="9821" y="7571"/>
                  <a:pt x="9801" y="7534"/>
                </a:cubicBezTo>
                <a:lnTo>
                  <a:pt x="9594" y="7534"/>
                </a:lnTo>
                <a:cubicBezTo>
                  <a:pt x="9551" y="7500"/>
                  <a:pt x="9506" y="7473"/>
                  <a:pt x="9461" y="7443"/>
                </a:cubicBezTo>
                <a:cubicBezTo>
                  <a:pt x="9394" y="7256"/>
                  <a:pt x="9325" y="7066"/>
                  <a:pt x="9258" y="6876"/>
                </a:cubicBezTo>
                <a:lnTo>
                  <a:pt x="9258" y="6585"/>
                </a:lnTo>
                <a:cubicBezTo>
                  <a:pt x="9212" y="6564"/>
                  <a:pt x="9167" y="6524"/>
                  <a:pt x="9123" y="6496"/>
                </a:cubicBezTo>
                <a:lnTo>
                  <a:pt x="9123" y="5928"/>
                </a:lnTo>
                <a:lnTo>
                  <a:pt x="8986" y="5928"/>
                </a:lnTo>
                <a:cubicBezTo>
                  <a:pt x="8964" y="5804"/>
                  <a:pt x="8942" y="5679"/>
                  <a:pt x="8924" y="5552"/>
                </a:cubicBezTo>
                <a:lnTo>
                  <a:pt x="8649" y="5552"/>
                </a:lnTo>
                <a:cubicBezTo>
                  <a:pt x="8626" y="5488"/>
                  <a:pt x="8605" y="5418"/>
                  <a:pt x="8583" y="5359"/>
                </a:cubicBezTo>
                <a:lnTo>
                  <a:pt x="8583" y="5074"/>
                </a:lnTo>
                <a:cubicBezTo>
                  <a:pt x="8540" y="5043"/>
                  <a:pt x="8491" y="5010"/>
                  <a:pt x="8447" y="4984"/>
                </a:cubicBezTo>
                <a:cubicBezTo>
                  <a:pt x="8425" y="4917"/>
                  <a:pt x="8402" y="4859"/>
                  <a:pt x="8380" y="4789"/>
                </a:cubicBezTo>
                <a:cubicBezTo>
                  <a:pt x="8336" y="4762"/>
                  <a:pt x="8288" y="4727"/>
                  <a:pt x="8246" y="4698"/>
                </a:cubicBezTo>
                <a:cubicBezTo>
                  <a:pt x="8223" y="4663"/>
                  <a:pt x="8198" y="4637"/>
                  <a:pt x="8177" y="4606"/>
                </a:cubicBezTo>
                <a:lnTo>
                  <a:pt x="7908" y="4606"/>
                </a:lnTo>
                <a:cubicBezTo>
                  <a:pt x="7863" y="4569"/>
                  <a:pt x="7816" y="4538"/>
                  <a:pt x="7772" y="4505"/>
                </a:cubicBezTo>
                <a:lnTo>
                  <a:pt x="7704" y="4505"/>
                </a:lnTo>
                <a:lnTo>
                  <a:pt x="7704" y="4318"/>
                </a:lnTo>
                <a:cubicBezTo>
                  <a:pt x="7726" y="4257"/>
                  <a:pt x="7748" y="4193"/>
                  <a:pt x="7772" y="4128"/>
                </a:cubicBezTo>
                <a:cubicBezTo>
                  <a:pt x="7792" y="4094"/>
                  <a:pt x="7817" y="4067"/>
                  <a:pt x="7840" y="4034"/>
                </a:cubicBezTo>
                <a:cubicBezTo>
                  <a:pt x="7817" y="3910"/>
                  <a:pt x="7792" y="3783"/>
                  <a:pt x="7772" y="3657"/>
                </a:cubicBezTo>
                <a:lnTo>
                  <a:pt x="8177" y="3657"/>
                </a:lnTo>
                <a:cubicBezTo>
                  <a:pt x="8198" y="3692"/>
                  <a:pt x="8223" y="3717"/>
                  <a:pt x="8246" y="3747"/>
                </a:cubicBezTo>
                <a:cubicBezTo>
                  <a:pt x="8265" y="3717"/>
                  <a:pt x="8289" y="3692"/>
                  <a:pt x="8313" y="3657"/>
                </a:cubicBezTo>
                <a:lnTo>
                  <a:pt x="8447" y="3657"/>
                </a:lnTo>
                <a:cubicBezTo>
                  <a:pt x="8468" y="3624"/>
                  <a:pt x="8491" y="3587"/>
                  <a:pt x="8511" y="3562"/>
                </a:cubicBezTo>
                <a:lnTo>
                  <a:pt x="8511" y="3372"/>
                </a:lnTo>
                <a:cubicBezTo>
                  <a:pt x="8511" y="3198"/>
                  <a:pt x="7660" y="2705"/>
                  <a:pt x="7649" y="2500"/>
                </a:cubicBezTo>
                <a:cubicBezTo>
                  <a:pt x="7628" y="2373"/>
                  <a:pt x="7670" y="126"/>
                  <a:pt x="7649" y="0"/>
                </a:cubicBezTo>
                <a:lnTo>
                  <a:pt x="5862" y="2500"/>
                </a:lnTo>
                <a:lnTo>
                  <a:pt x="4076" y="2500"/>
                </a:lnTo>
                <a:close/>
              </a:path>
            </a:pathLst>
          </a:custGeom>
          <a:solidFill>
            <a:srgbClr val="009EE0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567856" y="4005085"/>
            <a:ext cx="87385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dirty="0" smtClean="0">
                <a:solidFill>
                  <a:srgbClr val="262626"/>
                </a:solidFill>
              </a:rPr>
              <a:t>Asia</a:t>
            </a:r>
            <a:endParaRPr lang="en-US" sz="1100" dirty="0" smtClean="0">
              <a:solidFill>
                <a:srgbClr val="262626"/>
              </a:solidFill>
            </a:endParaRPr>
          </a:p>
          <a:p>
            <a:r>
              <a:rPr lang="en-US" sz="1100" b="1" dirty="0">
                <a:solidFill>
                  <a:srgbClr val="92D050"/>
                </a:solidFill>
              </a:rPr>
              <a:t>Indonesia</a:t>
            </a:r>
          </a:p>
          <a:p>
            <a:r>
              <a:rPr lang="en-US" sz="1100" b="1" dirty="0">
                <a:solidFill>
                  <a:srgbClr val="FFC000"/>
                </a:solidFill>
              </a:rPr>
              <a:t>India</a:t>
            </a:r>
          </a:p>
          <a:p>
            <a:pPr lvl="0"/>
            <a:r>
              <a:rPr lang="en-US" sz="1100" b="1" dirty="0">
                <a:solidFill>
                  <a:srgbClr val="FFC000"/>
                </a:solidFill>
              </a:rPr>
              <a:t>Sri Lanka</a:t>
            </a:r>
          </a:p>
          <a:p>
            <a:pPr lvl="0"/>
            <a:r>
              <a:rPr lang="en-US" sz="1100" b="1" dirty="0">
                <a:solidFill>
                  <a:srgbClr val="FFC000"/>
                </a:solidFill>
              </a:rPr>
              <a:t>Thailand</a:t>
            </a:r>
          </a:p>
        </p:txBody>
      </p:sp>
      <p:sp>
        <p:nvSpPr>
          <p:cNvPr id="192" name="Rectangle 191"/>
          <p:cNvSpPr/>
          <p:nvPr/>
        </p:nvSpPr>
        <p:spPr>
          <a:xfrm>
            <a:off x="4971227" y="5225639"/>
            <a:ext cx="1108667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dirty="0" smtClean="0">
                <a:solidFill>
                  <a:srgbClr val="262626"/>
                </a:solidFill>
              </a:rPr>
              <a:t>East and South Africa</a:t>
            </a:r>
            <a:endParaRPr lang="en-US" sz="1100" dirty="0" smtClean="0">
              <a:solidFill>
                <a:srgbClr val="262626"/>
              </a:solidFill>
            </a:endParaRPr>
          </a:p>
          <a:p>
            <a:pPr lvl="0"/>
            <a:r>
              <a:rPr lang="en-US" sz="1100" b="1" dirty="0">
                <a:solidFill>
                  <a:srgbClr val="92D050"/>
                </a:solidFill>
              </a:rPr>
              <a:t>Nigeria</a:t>
            </a:r>
          </a:p>
          <a:p>
            <a:pPr lvl="0"/>
            <a:r>
              <a:rPr lang="en-US" sz="1100" b="1" dirty="0">
                <a:solidFill>
                  <a:srgbClr val="92D050"/>
                </a:solidFill>
              </a:rPr>
              <a:t>South Africa</a:t>
            </a:r>
          </a:p>
          <a:p>
            <a:pPr lvl="0"/>
            <a:r>
              <a:rPr lang="en-US" sz="1100" b="1" dirty="0">
                <a:solidFill>
                  <a:srgbClr val="92D050"/>
                </a:solidFill>
              </a:rPr>
              <a:t>Rwanda</a:t>
            </a:r>
          </a:p>
          <a:p>
            <a:pPr lvl="0"/>
            <a:r>
              <a:rPr lang="en-US" sz="1100" b="1" dirty="0" smtClean="0">
                <a:solidFill>
                  <a:srgbClr val="FFC000"/>
                </a:solidFill>
              </a:rPr>
              <a:t>Uganda </a:t>
            </a:r>
            <a:endParaRPr lang="en-US" sz="1100" b="1" dirty="0">
              <a:solidFill>
                <a:srgbClr val="FFC000"/>
              </a:solidFill>
            </a:endParaRPr>
          </a:p>
          <a:p>
            <a:pPr lvl="0"/>
            <a:r>
              <a:rPr lang="en-US" sz="1100" b="1" dirty="0">
                <a:solidFill>
                  <a:srgbClr val="FFC000"/>
                </a:solidFill>
              </a:rPr>
              <a:t>Madagascar</a:t>
            </a:r>
          </a:p>
        </p:txBody>
      </p:sp>
      <p:sp>
        <p:nvSpPr>
          <p:cNvPr id="190" name="Rectangle 189"/>
          <p:cNvSpPr/>
          <p:nvPr/>
        </p:nvSpPr>
        <p:spPr>
          <a:xfrm>
            <a:off x="2470343" y="3358141"/>
            <a:ext cx="127158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dirty="0" smtClean="0"/>
              <a:t>Middle East &amp; North Africa</a:t>
            </a:r>
            <a:endParaRPr lang="en-US" sz="1100" dirty="0" smtClean="0"/>
          </a:p>
          <a:p>
            <a:pPr lvl="0"/>
            <a:r>
              <a:rPr lang="en-US" sz="1100" b="1" dirty="0">
                <a:solidFill>
                  <a:srgbClr val="92D050"/>
                </a:solidFill>
              </a:rPr>
              <a:t>Jordan</a:t>
            </a:r>
          </a:p>
          <a:p>
            <a:pPr lvl="0"/>
            <a:r>
              <a:rPr lang="en-US" sz="1100" b="1" dirty="0">
                <a:solidFill>
                  <a:srgbClr val="FFC000"/>
                </a:solidFill>
              </a:rPr>
              <a:t>Morocco</a:t>
            </a:r>
          </a:p>
        </p:txBody>
      </p:sp>
      <p:sp>
        <p:nvSpPr>
          <p:cNvPr id="191" name="Rectangle 190"/>
          <p:cNvSpPr/>
          <p:nvPr/>
        </p:nvSpPr>
        <p:spPr>
          <a:xfrm>
            <a:off x="3056002" y="4406965"/>
            <a:ext cx="127158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dirty="0" smtClean="0"/>
              <a:t>West and Central Africa</a:t>
            </a:r>
            <a:endParaRPr lang="en-US" sz="1100" dirty="0" smtClean="0"/>
          </a:p>
          <a:p>
            <a:pPr lvl="0"/>
            <a:r>
              <a:rPr lang="en-US" sz="1100" b="1" dirty="0">
                <a:solidFill>
                  <a:srgbClr val="FFC000"/>
                </a:solidFill>
              </a:rPr>
              <a:t>Cap Verde</a:t>
            </a:r>
          </a:p>
        </p:txBody>
      </p:sp>
      <p:sp>
        <p:nvSpPr>
          <p:cNvPr id="7" name="Rectangle 6"/>
          <p:cNvSpPr/>
          <p:nvPr/>
        </p:nvSpPr>
        <p:spPr>
          <a:xfrm>
            <a:off x="1564546" y="6310745"/>
            <a:ext cx="185737" cy="178312"/>
          </a:xfrm>
          <a:prstGeom prst="rect">
            <a:avLst/>
          </a:prstGeom>
          <a:solidFill>
            <a:srgbClr val="92D050"/>
          </a:solidFill>
          <a:ln w="3175">
            <a:solidFill>
              <a:srgbClr val="92D050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93" name="Rectangle 192"/>
          <p:cNvSpPr/>
          <p:nvPr/>
        </p:nvSpPr>
        <p:spPr>
          <a:xfrm>
            <a:off x="2515468" y="6309320"/>
            <a:ext cx="185737" cy="178312"/>
          </a:xfrm>
          <a:prstGeom prst="rect">
            <a:avLst/>
          </a:prstGeom>
          <a:solidFill>
            <a:srgbClr val="EC7404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chemeClr val="tx1"/>
              </a:solidFill>
              <a:latin typeface="Arial" charset="0"/>
              <a:ea typeface="ＭＳ Ｐゴシック" pitchFamily="-107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809457" y="6275256"/>
            <a:ext cx="6309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262626"/>
                </a:solidFill>
              </a:rPr>
              <a:t>2017</a:t>
            </a:r>
            <a:endParaRPr lang="en-US" sz="1200" dirty="0"/>
          </a:p>
        </p:txBody>
      </p:sp>
      <p:sp>
        <p:nvSpPr>
          <p:cNvPr id="194" name="Rectangle 193"/>
          <p:cNvSpPr/>
          <p:nvPr/>
        </p:nvSpPr>
        <p:spPr>
          <a:xfrm>
            <a:off x="2790660" y="6268890"/>
            <a:ext cx="6309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262626"/>
                </a:solidFill>
              </a:rPr>
              <a:t>2018</a:t>
            </a:r>
            <a:endParaRPr lang="en-US" sz="1200" dirty="0"/>
          </a:p>
        </p:txBody>
      </p:sp>
      <p:pic>
        <p:nvPicPr>
          <p:cNvPr id="195" name="Picture 19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3568" y="404664"/>
            <a:ext cx="1533162" cy="510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8" r="2340" b="4232"/>
          <a:stretch/>
        </p:blipFill>
        <p:spPr bwMode="auto">
          <a:xfrm>
            <a:off x="6732240" y="254068"/>
            <a:ext cx="1728192" cy="693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580834" y="2551234"/>
            <a:ext cx="127158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dirty="0" smtClean="0"/>
              <a:t>Central Eastern Europe and CIS</a:t>
            </a:r>
            <a:endParaRPr lang="en-US" sz="1100" dirty="0" smtClean="0"/>
          </a:p>
          <a:p>
            <a:pPr lvl="0"/>
            <a:r>
              <a:rPr lang="en-US" sz="1100" b="1" dirty="0">
                <a:solidFill>
                  <a:srgbClr val="92D050"/>
                </a:solidFill>
              </a:rPr>
              <a:t>Hungary</a:t>
            </a:r>
            <a:r>
              <a:rPr lang="en-US" sz="1100" dirty="0" smtClean="0"/>
              <a:t> and </a:t>
            </a:r>
            <a:r>
              <a:rPr lang="en-US" sz="1100" b="1" dirty="0">
                <a:solidFill>
                  <a:srgbClr val="FFC000"/>
                </a:solidFill>
              </a:rPr>
              <a:t>Czech Republic</a:t>
            </a:r>
          </a:p>
        </p:txBody>
      </p:sp>
    </p:spTree>
    <p:extLst>
      <p:ext uri="{BB962C8B-B14F-4D97-AF65-F5344CB8AC3E}">
        <p14:creationId xmlns:p14="http://schemas.microsoft.com/office/powerpoint/2010/main" val="1395364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E1wF7K_EG8cvyhwg0E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js.smibkKlyMbIE8ZhM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i2oSt3C0in4gOHyzbI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37W3EpW0iTkyjZjSpy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PDHL_PPT_Template_4to3">
  <a:themeElements>
    <a:clrScheme name="DPDHL_colour_schem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reck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PDHL_colou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FFCC00"/>
        </a:hlink>
        <a:folHlink>
          <a:srgbClr val="D4051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ostyellow 100%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Chart grey yellow 1">
      <a:srgbClr val="5C5D59"/>
    </a:custClr>
    <a:custClr name="Chart grey yellow 2">
      <a:srgbClr val="7F7F7B"/>
    </a:custClr>
    <a:custClr name="Chart grey yellow 3">
      <a:srgbClr val="9B9C96"/>
    </a:custClr>
    <a:custClr name="Chart grey yellow 4">
      <a:srgbClr val="BBBBB3"/>
    </a:custClr>
    <a:custClr name="Chart grey yellow 5">
      <a:srgbClr val="DDDDD7"/>
    </a:custClr>
    <a:custClr name="Chart grey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red 1">
      <a:srgbClr val="666362"/>
    </a:custClr>
    <a:custClr name="Grey tone red 2">
      <a:srgbClr val="827C7A"/>
    </a:custClr>
    <a:custClr name="Grey tone red 3">
      <a:srgbClr val="9F9997"/>
    </a:custClr>
    <a:custClr name="Grey tone red 4">
      <a:srgbClr val="BAB2B0"/>
    </a:custClr>
    <a:custClr name="Grey tone red 5">
      <a:srgbClr val="D6D0CE"/>
    </a:custClr>
    <a:custClr name="Grey tone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cyan 1">
      <a:srgbClr val="545D62"/>
    </a:custClr>
    <a:custClr name="Grey tone cyan 2">
      <a:srgbClr val="747F86"/>
    </a:custClr>
    <a:custClr name="Grey tone cyan 3">
      <a:srgbClr val="97A1A7"/>
    </a:custClr>
    <a:custClr name="Grey tone cyan 4">
      <a:srgbClr val="A6B0B6"/>
    </a:custClr>
    <a:custClr name="Grey tone cyan 5">
      <a:srgbClr val="B5BFC5"/>
    </a:custClr>
    <a:custClr name="Grey tone cyan 6">
      <a:srgbClr val="C8CED2"/>
    </a:custClr>
  </a:custClrLst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DP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</a:theme>
</file>

<file path=ppt/theme/theme4.xml><?xml version="1.0" encoding="utf-8"?>
<a:theme xmlns:a="http://schemas.openxmlformats.org/drawingml/2006/main" name="DPDHL-Group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PDHL_PPT_4x3.potx" id="{5C481435-F3F2-4101-B738-BDAF677356A0}" vid="{EE6F49E3-B01C-4D27-A021-8947DF792B8F}"/>
    </a:ext>
  </a:extLst>
</a:theme>
</file>

<file path=ppt/theme/theme5.xml><?xml version="1.0" encoding="utf-8"?>
<a:theme xmlns:a="http://schemas.openxmlformats.org/drawingml/2006/main" name="2_DPDHL_PPT_Template_4to3">
  <a:themeElements>
    <a:clrScheme name="DPDHL_colour_schem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reck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PDHL_colou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FFCC00"/>
        </a:hlink>
        <a:folHlink>
          <a:srgbClr val="D4051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ostyellow 100%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Chart grey yellow 1">
      <a:srgbClr val="5C5D59"/>
    </a:custClr>
    <a:custClr name="Chart grey yellow 2">
      <a:srgbClr val="7F7F7B"/>
    </a:custClr>
    <a:custClr name="Chart grey yellow 3">
      <a:srgbClr val="9B9C96"/>
    </a:custClr>
    <a:custClr name="Chart grey yellow 4">
      <a:srgbClr val="BBBBB3"/>
    </a:custClr>
    <a:custClr name="Chart grey yellow 5">
      <a:srgbClr val="DDDDD7"/>
    </a:custClr>
    <a:custClr name="Chart grey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red 1">
      <a:srgbClr val="666362"/>
    </a:custClr>
    <a:custClr name="Grey tone red 2">
      <a:srgbClr val="827C7A"/>
    </a:custClr>
    <a:custClr name="Grey tone red 3">
      <a:srgbClr val="9F9997"/>
    </a:custClr>
    <a:custClr name="Grey tone red 4">
      <a:srgbClr val="BAB2B0"/>
    </a:custClr>
    <a:custClr name="Grey tone red 5">
      <a:srgbClr val="D6D0CE"/>
    </a:custClr>
    <a:custClr name="Grey tone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cyan 1">
      <a:srgbClr val="545D62"/>
    </a:custClr>
    <a:custClr name="Grey tone cyan 2">
      <a:srgbClr val="747F86"/>
    </a:custClr>
    <a:custClr name="Grey tone cyan 3">
      <a:srgbClr val="97A1A7"/>
    </a:custClr>
    <a:custClr name="Grey tone cyan 4">
      <a:srgbClr val="A6B0B6"/>
    </a:custClr>
    <a:custClr name="Grey tone cyan 5">
      <a:srgbClr val="B5BFC5"/>
    </a:custClr>
    <a:custClr name="Grey tone cyan 6">
      <a:srgbClr val="C8CED2"/>
    </a:custClr>
  </a:custClrLst>
</a:theme>
</file>

<file path=ppt/theme/theme6.xml><?xml version="1.0" encoding="utf-8"?>
<a:theme xmlns:a="http://schemas.openxmlformats.org/drawingml/2006/main" name="6_DP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PDHL_PPT_Template_4to3</Template>
  <TotalTime>140</TotalTime>
  <Words>590</Words>
  <Application>Microsoft Office PowerPoint</Application>
  <PresentationFormat>Affichage à l'écran (4:3)</PresentationFormat>
  <Paragraphs>123</Paragraphs>
  <Slides>9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21" baseType="lpstr">
      <vt:lpstr>ＭＳ Ｐゴシック</vt:lpstr>
      <vt:lpstr>Arial</vt:lpstr>
      <vt:lpstr>Calibri</vt:lpstr>
      <vt:lpstr>Symbol</vt:lpstr>
      <vt:lpstr>Wingdings</vt:lpstr>
      <vt:lpstr>DPDHL_PPT_Template_4to3</vt:lpstr>
      <vt:lpstr>Benutzerdefiniertes Design</vt:lpstr>
      <vt:lpstr>7_DPDHL_PPT_4x3</vt:lpstr>
      <vt:lpstr>DPDHL-Group_PPT_4x3</vt:lpstr>
      <vt:lpstr>2_DPDHL_PPT_Template_4to3</vt:lpstr>
      <vt:lpstr>6_DPDHL_PPT_4x3</vt:lpstr>
      <vt:lpstr>think-cell Folie</vt:lpstr>
      <vt:lpstr>GoTeach Partnership between Dpdhl &amp; SOS Children’s Villages </vt:lpstr>
      <vt:lpstr>Our Corporate Citizenship priorities</vt:lpstr>
      <vt:lpstr>GoTeach – Partnership with SOS Children‘s Villages</vt:lpstr>
      <vt:lpstr>GoTeach – Partnership Activities</vt:lpstr>
      <vt:lpstr>Partnership development 2011-2015</vt:lpstr>
      <vt:lpstr>Présentation PowerPoint</vt:lpstr>
      <vt:lpstr>        2016 GoTeach Global Figures</vt:lpstr>
      <vt:lpstr>Présentation PowerPoint</vt:lpstr>
      <vt:lpstr>Présentation PowerPoint</vt:lpstr>
    </vt:vector>
  </TitlesOfParts>
  <Company>Deutsche Post DH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 Point® Templates for Deutsche Post DHL Group</dc:title>
  <dc:subject>DPDHL Template 2013</dc:subject>
  <dc:creator>Wollmann, Z, Corp. Citizenship, BN</dc:creator>
  <cp:keywords>4 to 9</cp:keywords>
  <cp:lastModifiedBy>Faneva</cp:lastModifiedBy>
  <cp:revision>253</cp:revision>
  <cp:lastPrinted>2015-07-09T16:15:14Z</cp:lastPrinted>
  <dcterms:created xsi:type="dcterms:W3CDTF">2014-02-05T14:51:37Z</dcterms:created>
  <dcterms:modified xsi:type="dcterms:W3CDTF">2017-11-17T12:30:16Z</dcterms:modified>
  <cp:category>presentation 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1.0</vt:lpwstr>
  </property>
  <property fmtid="{D5CDD505-2E9C-101B-9397-08002B2CF9AE}" pid="4" name="Office">
    <vt:lpwstr>2007/2010</vt:lpwstr>
  </property>
</Properties>
</file>